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tiff" ContentType="image/tiff"/>
  <Default Extension="vml" ContentType="application/vnd.openxmlformats-officedocument.vmlDrawing"/>
  <Default Extension="wdp" ContentType="image/vnd.ms-photo"/>
  <Default Extension="wmf" ContentType="image/x-wmf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theme/theme2.xml" ContentType="application/vnd.openxmlformats-officedocument.theme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theme/theme3.xml" ContentType="application/vnd.openxmlformats-officedocument.theme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theme/theme4.xml" ContentType="application/vnd.openxmlformats-officedocument.theme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theme/theme5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theme/theme6.xml" ContentType="application/vnd.openxmlformats-officedocument.theme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slideLayouts/slideLayout186.xml" ContentType="application/vnd.openxmlformats-officedocument.presentationml.slideLayout+xml"/>
  <Override PartName="/ppt/slideLayouts/slideLayout187.xml" ContentType="application/vnd.openxmlformats-officedocument.presentationml.slideLayout+xml"/>
  <Override PartName="/ppt/slideLayouts/slideLayout188.xml" ContentType="application/vnd.openxmlformats-officedocument.presentationml.slideLayout+xml"/>
  <Override PartName="/ppt/slideLayouts/slideLayout189.xml" ContentType="application/vnd.openxmlformats-officedocument.presentationml.slideLayout+xml"/>
  <Override PartName="/ppt/slideLayouts/slideLayout190.xml" ContentType="application/vnd.openxmlformats-officedocument.presentationml.slideLayout+xml"/>
  <Override PartName="/ppt/slideLayouts/slideLayout191.xml" ContentType="application/vnd.openxmlformats-officedocument.presentationml.slideLayout+xml"/>
  <Override PartName="/ppt/slideLayouts/slideLayout192.xml" ContentType="application/vnd.openxmlformats-officedocument.presentationml.slideLayout+xml"/>
  <Override PartName="/ppt/slideLayouts/slideLayout193.xml" ContentType="application/vnd.openxmlformats-officedocument.presentationml.slideLayout+xml"/>
  <Override PartName="/ppt/slideLayouts/slideLayout194.xml" ContentType="application/vnd.openxmlformats-officedocument.presentationml.slideLayout+xml"/>
  <Override PartName="/ppt/slideLayouts/slideLayout195.xml" ContentType="application/vnd.openxmlformats-officedocument.presentationml.slideLayout+xml"/>
  <Override PartName="/ppt/slideLayouts/slideLayout196.xml" ContentType="application/vnd.openxmlformats-officedocument.presentationml.slideLayout+xml"/>
  <Override PartName="/ppt/slideLayouts/slideLayout197.xml" ContentType="application/vnd.openxmlformats-officedocument.presentationml.slideLayout+xml"/>
  <Override PartName="/ppt/slideLayouts/slideLayout198.xml" ContentType="application/vnd.openxmlformats-officedocument.presentationml.slideLayout+xml"/>
  <Override PartName="/ppt/slideLayouts/slideLayout199.xml" ContentType="application/vnd.openxmlformats-officedocument.presentationml.slideLayout+xml"/>
  <Override PartName="/ppt/slideLayouts/slideLayout200.xml" ContentType="application/vnd.openxmlformats-officedocument.presentationml.slideLayout+xml"/>
  <Override PartName="/ppt/slideLayouts/slideLayout201.xml" ContentType="application/vnd.openxmlformats-officedocument.presentationml.slideLayout+xml"/>
  <Override PartName="/ppt/slideLayouts/slideLayout202.xml" ContentType="application/vnd.openxmlformats-officedocument.presentationml.slideLayout+xml"/>
  <Override PartName="/ppt/slideLayouts/slideLayout203.xml" ContentType="application/vnd.openxmlformats-officedocument.presentationml.slideLayout+xml"/>
  <Override PartName="/ppt/slideLayouts/slideLayout204.xml" ContentType="application/vnd.openxmlformats-officedocument.presentationml.slideLayout+xml"/>
  <Override PartName="/ppt/slideLayouts/slideLayout205.xml" ContentType="application/vnd.openxmlformats-officedocument.presentationml.slideLayout+xml"/>
  <Override PartName="/ppt/slideLayouts/slideLayout206.xml" ContentType="application/vnd.openxmlformats-officedocument.presentationml.slideLayout+xml"/>
  <Override PartName="/ppt/slideLayouts/slideLayout207.xml" ContentType="application/vnd.openxmlformats-officedocument.presentationml.slideLayout+xml"/>
  <Override PartName="/ppt/slideLayouts/slideLayout208.xml" ContentType="application/vnd.openxmlformats-officedocument.presentationml.slideLayout+xml"/>
  <Override PartName="/ppt/slideLayouts/slideLayout209.xml" ContentType="application/vnd.openxmlformats-officedocument.presentationml.slideLayout+xml"/>
  <Override PartName="/ppt/theme/theme7.xml" ContentType="application/vnd.openxmlformats-officedocument.theme+xml"/>
  <Override PartName="/ppt/slideLayouts/slideLayout210.xml" ContentType="application/vnd.openxmlformats-officedocument.presentationml.slideLayout+xml"/>
  <Override PartName="/ppt/slideLayouts/slideLayout211.xml" ContentType="application/vnd.openxmlformats-officedocument.presentationml.slideLayout+xml"/>
  <Override PartName="/ppt/slideLayouts/slideLayout212.xml" ContentType="application/vnd.openxmlformats-officedocument.presentationml.slideLayout+xml"/>
  <Override PartName="/ppt/slideLayouts/slideLayout213.xml" ContentType="application/vnd.openxmlformats-officedocument.presentationml.slideLayout+xml"/>
  <Override PartName="/ppt/slideLayouts/slideLayout214.xml" ContentType="application/vnd.openxmlformats-officedocument.presentationml.slideLayout+xml"/>
  <Override PartName="/ppt/slideLayouts/slideLayout215.xml" ContentType="application/vnd.openxmlformats-officedocument.presentationml.slideLayout+xml"/>
  <Override PartName="/ppt/slideLayouts/slideLayout216.xml" ContentType="application/vnd.openxmlformats-officedocument.presentationml.slideLayout+xml"/>
  <Override PartName="/ppt/slideLayouts/slideLayout217.xml" ContentType="application/vnd.openxmlformats-officedocument.presentationml.slideLayout+xml"/>
  <Override PartName="/ppt/slideLayouts/slideLayout218.xml" ContentType="application/vnd.openxmlformats-officedocument.presentationml.slideLayout+xml"/>
  <Override PartName="/ppt/slideLayouts/slideLayout219.xml" ContentType="application/vnd.openxmlformats-officedocument.presentationml.slideLayout+xml"/>
  <Override PartName="/ppt/slideLayouts/slideLayout220.xml" ContentType="application/vnd.openxmlformats-officedocument.presentationml.slideLayout+xml"/>
  <Override PartName="/ppt/slideLayouts/slideLayout221.xml" ContentType="application/vnd.openxmlformats-officedocument.presentationml.slideLayout+xml"/>
  <Override PartName="/ppt/slideLayouts/slideLayout222.xml" ContentType="application/vnd.openxmlformats-officedocument.presentationml.slideLayout+xml"/>
  <Override PartName="/ppt/slideLayouts/slideLayout223.xml" ContentType="application/vnd.openxmlformats-officedocument.presentationml.slideLayout+xml"/>
  <Override PartName="/ppt/slideLayouts/slideLayout224.xml" ContentType="application/vnd.openxmlformats-officedocument.presentationml.slideLayout+xml"/>
  <Override PartName="/ppt/slideLayouts/slideLayout225.xml" ContentType="application/vnd.openxmlformats-officedocument.presentationml.slideLayout+xml"/>
  <Override PartName="/ppt/slideLayouts/slideLayout226.xml" ContentType="application/vnd.openxmlformats-officedocument.presentationml.slideLayout+xml"/>
  <Override PartName="/ppt/slideLayouts/slideLayout227.xml" ContentType="application/vnd.openxmlformats-officedocument.presentationml.slideLayout+xml"/>
  <Override PartName="/ppt/slideLayouts/slideLayout228.xml" ContentType="application/vnd.openxmlformats-officedocument.presentationml.slideLayout+xml"/>
  <Override PartName="/ppt/slideLayouts/slideLayout229.xml" ContentType="application/vnd.openxmlformats-officedocument.presentationml.slideLayout+xml"/>
  <Override PartName="/ppt/slideLayouts/slideLayout230.xml" ContentType="application/vnd.openxmlformats-officedocument.presentationml.slideLayout+xml"/>
  <Override PartName="/ppt/slideLayouts/slideLayout231.xml" ContentType="application/vnd.openxmlformats-officedocument.presentationml.slideLayout+xml"/>
  <Override PartName="/ppt/slideLayouts/slideLayout232.xml" ContentType="application/vnd.openxmlformats-officedocument.presentationml.slideLayout+xml"/>
  <Override PartName="/ppt/slideLayouts/slideLayout233.xml" ContentType="application/vnd.openxmlformats-officedocument.presentationml.slideLayout+xml"/>
  <Override PartName="/ppt/slideLayouts/slideLayout234.xml" ContentType="application/vnd.openxmlformats-officedocument.presentationml.slideLayout+xml"/>
  <Override PartName="/ppt/slideLayouts/slideLayout235.xml" ContentType="application/vnd.openxmlformats-officedocument.presentationml.slideLayout+xml"/>
  <Override PartName="/ppt/slideLayouts/slideLayout236.xml" ContentType="application/vnd.openxmlformats-officedocument.presentationml.slideLayout+xml"/>
  <Override PartName="/ppt/slideLayouts/slideLayout237.xml" ContentType="application/vnd.openxmlformats-officedocument.presentationml.slideLayout+xml"/>
  <Override PartName="/ppt/slideLayouts/slideLayout238.xml" ContentType="application/vnd.openxmlformats-officedocument.presentationml.slideLayout+xml"/>
  <Override PartName="/ppt/slideLayouts/slideLayout239.xml" ContentType="application/vnd.openxmlformats-officedocument.presentationml.slideLayout+xml"/>
  <Override PartName="/ppt/slideLayouts/slideLayout240.xml" ContentType="application/vnd.openxmlformats-officedocument.presentationml.slideLayout+xml"/>
  <Override PartName="/ppt/theme/theme8.xml" ContentType="application/vnd.openxmlformats-officedocument.theme+xml"/>
  <Override PartName="/ppt/theme/theme9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ppt/notesSlides/notesSlide32.xml" ContentType="application/vnd.openxmlformats-officedocument.presentationml.notesSlide+xml"/>
  <Override PartName="/ppt/notesSlides/notesSlide33.xml" ContentType="application/vnd.openxmlformats-officedocument.presentationml.notesSlide+xml"/>
  <Override PartName="/ppt/notesSlides/notesSlide34.xml" ContentType="application/vnd.openxmlformats-officedocument.presentationml.notesSlide+xml"/>
  <Override PartName="/ppt/notesSlides/notesSlide3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5136" r:id="rId4"/>
    <p:sldMasterId id="2147485168" r:id="rId5"/>
    <p:sldMasterId id="2147485199" r:id="rId6"/>
    <p:sldMasterId id="2147485289" r:id="rId7"/>
    <p:sldMasterId id="2147485384" r:id="rId8"/>
    <p:sldMasterId id="2147485496" r:id="rId9"/>
    <p:sldMasterId id="2147485557" r:id="rId10"/>
    <p:sldMasterId id="2147485616" r:id="rId11"/>
  </p:sldMasterIdLst>
  <p:notesMasterIdLst>
    <p:notesMasterId r:id="rId47"/>
  </p:notesMasterIdLst>
  <p:sldIdLst>
    <p:sldId id="2132735799" r:id="rId12"/>
    <p:sldId id="2132735780" r:id="rId13"/>
    <p:sldId id="2132735774" r:id="rId14"/>
    <p:sldId id="2078557599" r:id="rId15"/>
    <p:sldId id="2078557600" r:id="rId16"/>
    <p:sldId id="2132735777" r:id="rId17"/>
    <p:sldId id="2132735728" r:id="rId18"/>
    <p:sldId id="2132735738" r:id="rId19"/>
    <p:sldId id="2132735725" r:id="rId20"/>
    <p:sldId id="2132735811" r:id="rId21"/>
    <p:sldId id="2132735782" r:id="rId22"/>
    <p:sldId id="2132735727" r:id="rId23"/>
    <p:sldId id="2132735828" r:id="rId24"/>
    <p:sldId id="2132735749" r:id="rId25"/>
    <p:sldId id="2076136502" r:id="rId26"/>
    <p:sldId id="2132735794" r:id="rId27"/>
    <p:sldId id="2132735795" r:id="rId28"/>
    <p:sldId id="2078557724" r:id="rId29"/>
    <p:sldId id="2132735831" r:id="rId30"/>
    <p:sldId id="2078557704" r:id="rId31"/>
    <p:sldId id="2132735792" r:id="rId32"/>
    <p:sldId id="2132735809" r:id="rId33"/>
    <p:sldId id="2132735812" r:id="rId34"/>
    <p:sldId id="2132735773" r:id="rId35"/>
    <p:sldId id="2132735832" r:id="rId36"/>
    <p:sldId id="2132735833" r:id="rId37"/>
    <p:sldId id="2132735834" r:id="rId38"/>
    <p:sldId id="2132735827" r:id="rId39"/>
    <p:sldId id="2132735835" r:id="rId40"/>
    <p:sldId id="2132735836" r:id="rId41"/>
    <p:sldId id="2132735838" r:id="rId42"/>
    <p:sldId id="2132735837" r:id="rId43"/>
    <p:sldId id="2132735808" r:id="rId44"/>
    <p:sldId id="2132735704" r:id="rId45"/>
    <p:sldId id="2076136391" r:id="rId46"/>
  </p:sldIdLst>
  <p:sldSz cx="12192000" cy="6858000"/>
  <p:notesSz cx="9388475" cy="7102475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6160932A-1C2F-4518-96E1-D86C24506AF4}">
          <p14:sldIdLst>
            <p14:sldId id="2132735799"/>
            <p14:sldId id="2132735780"/>
            <p14:sldId id="2132735774"/>
            <p14:sldId id="2078557599"/>
            <p14:sldId id="2078557600"/>
            <p14:sldId id="2132735777"/>
            <p14:sldId id="2132735728"/>
            <p14:sldId id="2132735738"/>
            <p14:sldId id="2132735725"/>
            <p14:sldId id="2132735811"/>
            <p14:sldId id="2132735782"/>
            <p14:sldId id="2132735727"/>
            <p14:sldId id="2132735828"/>
            <p14:sldId id="2132735749"/>
            <p14:sldId id="2076136502"/>
            <p14:sldId id="2132735794"/>
            <p14:sldId id="2132735795"/>
            <p14:sldId id="2078557724"/>
            <p14:sldId id="2132735831"/>
            <p14:sldId id="2078557704"/>
            <p14:sldId id="2132735792"/>
            <p14:sldId id="2132735809"/>
            <p14:sldId id="2132735812"/>
            <p14:sldId id="2132735773"/>
            <p14:sldId id="2132735832"/>
            <p14:sldId id="2132735833"/>
            <p14:sldId id="2132735834"/>
            <p14:sldId id="2132735827"/>
            <p14:sldId id="2132735835"/>
            <p14:sldId id="2132735836"/>
            <p14:sldId id="2132735838"/>
            <p14:sldId id="2132735837"/>
            <p14:sldId id="2132735808"/>
            <p14:sldId id="2132735704"/>
            <p14:sldId id="2076136391"/>
          </p14:sldIdLst>
        </p14:section>
      </p14:sectionLst>
    </p:ext>
    <p:ext uri="{EFAFB233-063F-42B5-8137-9DF3F51BA10A}">
      <p15:sldGuideLst xmlns:p15="http://schemas.microsoft.com/office/powerpoint/2012/main">
        <p15:guide id="1" pos="3840" userDrawn="1">
          <p15:clr>
            <a:srgbClr val="A4A3A4"/>
          </p15:clr>
        </p15:guide>
        <p15:guide id="2" orient="horz" pos="2160" userDrawn="1">
          <p15:clr>
            <a:srgbClr val="A4A3A4"/>
          </p15:clr>
        </p15:guide>
        <p15:guide id="6" orient="horz" pos="4320" userDrawn="1">
          <p15:clr>
            <a:srgbClr val="A4A3A4"/>
          </p15:clr>
        </p15:guide>
        <p15:guide id="7" orient="horz" pos="1865" userDrawn="1">
          <p15:clr>
            <a:srgbClr val="A4A3A4"/>
          </p15:clr>
        </p15:guide>
        <p15:guide id="8" orient="horz" pos="2341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7" name="Nick King (nickkin)" initials="N(" lastIdx="1" clrIdx="2">
    <p:extLst>
      <p:ext uri="{19B8F6BF-5375-455C-9EA6-DF929625EA0E}">
        <p15:presenceInfo xmlns:p15="http://schemas.microsoft.com/office/powerpoint/2012/main" userId="S::nickkin@cisco.com::5b9d5675-164c-4eb4-9001-a65b423553e4" providerId="AD"/>
      </p:ext>
    </p:extLst>
  </p:cmAuthor>
  <p:cmAuthor id="14" name="Srini Namineni (snaminen)" initials="S(" lastIdx="1" clrIdx="10">
    <p:extLst>
      <p:ext uri="{19B8F6BF-5375-455C-9EA6-DF929625EA0E}">
        <p15:presenceInfo xmlns:p15="http://schemas.microsoft.com/office/powerpoint/2012/main" userId="S::snaminen@cisco.com::dd05ca65-b87e-4142-8850-81fe0f54828e" providerId="AD"/>
      </p:ext>
    </p:extLst>
  </p:cmAuthor>
  <p:cmAuthor id="1" name="Jennifer Kroon -X (jkroon - EXPERIS US INC at Cisco)" initials="MSOffice" lastIdx="50" clrIdx="0">
    <p:extLst>
      <p:ext uri="{19B8F6BF-5375-455C-9EA6-DF929625EA0E}">
        <p15:presenceInfo xmlns:p15="http://schemas.microsoft.com/office/powerpoint/2012/main" userId="Jennifer Kroon -X (jkroon - EXPERIS US INC at Cisco)" providerId="None"/>
      </p:ext>
    </p:extLst>
  </p:cmAuthor>
  <p:cmAuthor id="8" name="Paul Raymond (paraymon)" initials="P(" lastIdx="1" clrIdx="4">
    <p:extLst>
      <p:ext uri="{19B8F6BF-5375-455C-9EA6-DF929625EA0E}">
        <p15:presenceInfo xmlns:p15="http://schemas.microsoft.com/office/powerpoint/2012/main" userId="S::paraymon@cisco.com::9a886fac-5e11-4a59-b661-7c83f2cfc580" providerId="AD"/>
      </p:ext>
    </p:extLst>
  </p:cmAuthor>
  <p:cmAuthor id="2" name="Stephanie Condon (c)" initials="SC(" lastIdx="1" clrIdx="1">
    <p:extLst>
      <p:ext uri="{19B8F6BF-5375-455C-9EA6-DF929625EA0E}">
        <p15:presenceInfo xmlns:p15="http://schemas.microsoft.com/office/powerpoint/2012/main" userId="S::scondon@vmware.com::6db6d89e-7d20-47a9-8616-0574fa0e1562" providerId="AD"/>
      </p:ext>
    </p:extLst>
  </p:cmAuthor>
  <p:cmAuthor id="9" name="Linda Michels (lmichels)" initials="L(" lastIdx="19" clrIdx="5">
    <p:extLst>
      <p:ext uri="{19B8F6BF-5375-455C-9EA6-DF929625EA0E}">
        <p15:presenceInfo xmlns:p15="http://schemas.microsoft.com/office/powerpoint/2012/main" userId="S::lmichels@cisco.com::36cc8a11-f765-40a2-b8c5-5e4f1821091b" providerId="AD"/>
      </p:ext>
    </p:extLst>
  </p:cmAuthor>
  <p:cmAuthor id="10" name="Jennifer Kroon -X (jkroon - EXPERIS US INC at Cisco)" initials="JK-(-EUIaC" lastIdx="13" clrIdx="6">
    <p:extLst>
      <p:ext uri="{19B8F6BF-5375-455C-9EA6-DF929625EA0E}">
        <p15:presenceInfo xmlns:p15="http://schemas.microsoft.com/office/powerpoint/2012/main" userId="S::jkroon@cisco.com::a76d38bc-971d-462e-a4c6-59d48161d7f3" providerId="AD"/>
      </p:ext>
    </p:extLst>
  </p:cmAuthor>
  <p:cmAuthor id="11" name="Virginia Runion -X (vrunion - EDITCETERA at Cisco)" initials="VR-(-EaC" lastIdx="8" clrIdx="7">
    <p:extLst>
      <p:ext uri="{19B8F6BF-5375-455C-9EA6-DF929625EA0E}">
        <p15:presenceInfo xmlns:p15="http://schemas.microsoft.com/office/powerpoint/2012/main" userId="S::vrunion@cisco.com::fa8dc9ed-f53d-4649-b76e-63085ae43b89" providerId="AD"/>
      </p:ext>
    </p:extLst>
  </p:cmAuthor>
  <p:cmAuthor id="5" name="Tony Brook (tobrook)" initials="T(" lastIdx="50" clrIdx="3">
    <p:extLst>
      <p:ext uri="{19B8F6BF-5375-455C-9EA6-DF929625EA0E}">
        <p15:presenceInfo xmlns:p15="http://schemas.microsoft.com/office/powerpoint/2012/main" userId="S::tobrook@cisco.com::76daf69b-2afa-467d-98cf-83f52994976f" providerId="AD"/>
      </p:ext>
    </p:extLst>
  </p:cmAuthor>
  <p:cmAuthor id="12" name="Rajat Mishra (rajatmi)" initials="R(" lastIdx="46" clrIdx="8">
    <p:extLst>
      <p:ext uri="{19B8F6BF-5375-455C-9EA6-DF929625EA0E}">
        <p15:presenceInfo xmlns:p15="http://schemas.microsoft.com/office/powerpoint/2012/main" userId="S::rajatmi@cisco.com::eb8840a2-1adf-4ec5-856b-4ee8df3e9650" providerId="AD"/>
      </p:ext>
    </p:extLst>
  </p:cmAuthor>
  <p:cmAuthor id="13" name="Chris Rittler (crittler)" initials="C(" lastIdx="1" clrIdx="9">
    <p:extLst>
      <p:ext uri="{19B8F6BF-5375-455C-9EA6-DF929625EA0E}">
        <p15:presenceInfo xmlns:p15="http://schemas.microsoft.com/office/powerpoint/2012/main" userId="S::crittler@cisco.com::2846cf04-471b-4505-90c5-2af410f367cd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0"/>
    <a:srgbClr val="484848"/>
    <a:srgbClr val="14284A"/>
    <a:srgbClr val="E3241B"/>
    <a:srgbClr val="2F446B"/>
    <a:srgbClr val="F5F6F9"/>
    <a:srgbClr val="FFFFFF"/>
    <a:srgbClr val="ECF3F7"/>
    <a:srgbClr val="FF8700"/>
    <a:srgbClr val="00507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9"/>
    <p:restoredTop sz="68970" autoAdjust="0"/>
  </p:normalViewPr>
  <p:slideViewPr>
    <p:cSldViewPr snapToGrid="0">
      <p:cViewPr varScale="1">
        <p:scale>
          <a:sx n="59" d="100"/>
          <a:sy n="59" d="100"/>
        </p:scale>
        <p:origin x="1589" y="58"/>
      </p:cViewPr>
      <p:guideLst>
        <p:guide pos="3840"/>
        <p:guide orient="horz" pos="2160"/>
        <p:guide orient="horz" pos="4320"/>
        <p:guide orient="horz" pos="1865"/>
        <p:guide orient="horz" pos="2341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2.xml"/><Relationship Id="rId18" Type="http://schemas.openxmlformats.org/officeDocument/2006/relationships/slide" Target="slides/slide7.xml"/><Relationship Id="rId26" Type="http://schemas.openxmlformats.org/officeDocument/2006/relationships/slide" Target="slides/slide15.xml"/><Relationship Id="rId39" Type="http://schemas.openxmlformats.org/officeDocument/2006/relationships/slide" Target="slides/slide28.xml"/><Relationship Id="rId3" Type="http://schemas.openxmlformats.org/officeDocument/2006/relationships/customXml" Target="../customXml/item3.xml"/><Relationship Id="rId21" Type="http://schemas.openxmlformats.org/officeDocument/2006/relationships/slide" Target="slides/slide10.xml"/><Relationship Id="rId34" Type="http://schemas.openxmlformats.org/officeDocument/2006/relationships/slide" Target="slides/slide23.xml"/><Relationship Id="rId42" Type="http://schemas.openxmlformats.org/officeDocument/2006/relationships/slide" Target="slides/slide31.xml"/><Relationship Id="rId47" Type="http://schemas.openxmlformats.org/officeDocument/2006/relationships/notesMaster" Target="notesMasters/notesMaster1.xml"/><Relationship Id="rId50" Type="http://schemas.openxmlformats.org/officeDocument/2006/relationships/viewProps" Target="viewProps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1.xml"/><Relationship Id="rId17" Type="http://schemas.openxmlformats.org/officeDocument/2006/relationships/slide" Target="slides/slide6.xml"/><Relationship Id="rId25" Type="http://schemas.openxmlformats.org/officeDocument/2006/relationships/slide" Target="slides/slide14.xml"/><Relationship Id="rId33" Type="http://schemas.openxmlformats.org/officeDocument/2006/relationships/slide" Target="slides/slide22.xml"/><Relationship Id="rId38" Type="http://schemas.openxmlformats.org/officeDocument/2006/relationships/slide" Target="slides/slide27.xml"/><Relationship Id="rId46" Type="http://schemas.openxmlformats.org/officeDocument/2006/relationships/slide" Target="slides/slide35.xml"/><Relationship Id="rId2" Type="http://schemas.openxmlformats.org/officeDocument/2006/relationships/customXml" Target="../customXml/item2.xml"/><Relationship Id="rId16" Type="http://schemas.openxmlformats.org/officeDocument/2006/relationships/slide" Target="slides/slide5.xml"/><Relationship Id="rId20" Type="http://schemas.openxmlformats.org/officeDocument/2006/relationships/slide" Target="slides/slide9.xml"/><Relationship Id="rId29" Type="http://schemas.openxmlformats.org/officeDocument/2006/relationships/slide" Target="slides/slide18.xml"/><Relationship Id="rId41" Type="http://schemas.openxmlformats.org/officeDocument/2006/relationships/slide" Target="slides/slide30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Master" Target="slideMasters/slideMaster8.xml"/><Relationship Id="rId24" Type="http://schemas.openxmlformats.org/officeDocument/2006/relationships/slide" Target="slides/slide13.xml"/><Relationship Id="rId32" Type="http://schemas.openxmlformats.org/officeDocument/2006/relationships/slide" Target="slides/slide21.xml"/><Relationship Id="rId37" Type="http://schemas.openxmlformats.org/officeDocument/2006/relationships/slide" Target="slides/slide26.xml"/><Relationship Id="rId40" Type="http://schemas.openxmlformats.org/officeDocument/2006/relationships/slide" Target="slides/slide29.xml"/><Relationship Id="rId45" Type="http://schemas.openxmlformats.org/officeDocument/2006/relationships/slide" Target="slides/slide34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4.xml"/><Relationship Id="rId23" Type="http://schemas.openxmlformats.org/officeDocument/2006/relationships/slide" Target="slides/slide12.xml"/><Relationship Id="rId28" Type="http://schemas.openxmlformats.org/officeDocument/2006/relationships/slide" Target="slides/slide17.xml"/><Relationship Id="rId36" Type="http://schemas.openxmlformats.org/officeDocument/2006/relationships/slide" Target="slides/slide25.xml"/><Relationship Id="rId49" Type="http://schemas.openxmlformats.org/officeDocument/2006/relationships/presProps" Target="presProps.xml"/><Relationship Id="rId10" Type="http://schemas.openxmlformats.org/officeDocument/2006/relationships/slideMaster" Target="slideMasters/slideMaster7.xml"/><Relationship Id="rId19" Type="http://schemas.openxmlformats.org/officeDocument/2006/relationships/slide" Target="slides/slide8.xml"/><Relationship Id="rId31" Type="http://schemas.openxmlformats.org/officeDocument/2006/relationships/slide" Target="slides/slide20.xml"/><Relationship Id="rId44" Type="http://schemas.openxmlformats.org/officeDocument/2006/relationships/slide" Target="slides/slide33.xml"/><Relationship Id="rId52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" Target="slides/slide3.xml"/><Relationship Id="rId22" Type="http://schemas.openxmlformats.org/officeDocument/2006/relationships/slide" Target="slides/slide11.xml"/><Relationship Id="rId27" Type="http://schemas.openxmlformats.org/officeDocument/2006/relationships/slide" Target="slides/slide16.xml"/><Relationship Id="rId30" Type="http://schemas.openxmlformats.org/officeDocument/2006/relationships/slide" Target="slides/slide19.xml"/><Relationship Id="rId35" Type="http://schemas.openxmlformats.org/officeDocument/2006/relationships/slide" Target="slides/slide24.xml"/><Relationship Id="rId43" Type="http://schemas.openxmlformats.org/officeDocument/2006/relationships/slide" Target="slides/slide32.xml"/><Relationship Id="rId48" Type="http://schemas.openxmlformats.org/officeDocument/2006/relationships/commentAuthors" Target="commentAuthors.xml"/><Relationship Id="rId8" Type="http://schemas.openxmlformats.org/officeDocument/2006/relationships/slideMaster" Target="slideMasters/slideMaster5.xml"/><Relationship Id="rId51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8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9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4068339" cy="855257"/>
          </a:xfrm>
          <a:prstGeom prst="rect">
            <a:avLst/>
          </a:prstGeom>
        </p:spPr>
        <p:txBody>
          <a:bodyPr vert="horz" lIns="141348" tIns="70674" rIns="141348" bIns="70674" rtlCol="0"/>
          <a:lstStyle>
            <a:lvl1pPr algn="l">
              <a:defRPr sz="19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5317963" y="0"/>
            <a:ext cx="4068339" cy="855257"/>
          </a:xfrm>
          <a:prstGeom prst="rect">
            <a:avLst/>
          </a:prstGeom>
        </p:spPr>
        <p:txBody>
          <a:bodyPr vert="horz" lIns="141348" tIns="70674" rIns="141348" bIns="70674" rtlCol="0"/>
          <a:lstStyle>
            <a:lvl1pPr algn="r">
              <a:defRPr sz="1900"/>
            </a:lvl1pPr>
          </a:lstStyle>
          <a:p>
            <a:fld id="{F8D6B11C-654F-A140-98B0-CCA75CED559C}" type="datetimeFigureOut">
              <a:rPr lang="en-US" smtClean="0"/>
              <a:t>11/30/2020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-419100" y="2130425"/>
            <a:ext cx="10226675" cy="5753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141348" tIns="70674" rIns="141348" bIns="70674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938848" y="8203359"/>
            <a:ext cx="7510780" cy="6711839"/>
          </a:xfrm>
          <a:prstGeom prst="rect">
            <a:avLst/>
          </a:prstGeom>
        </p:spPr>
        <p:txBody>
          <a:bodyPr vert="horz" lIns="141348" tIns="70674" rIns="141348" bIns="70674" rtlCol="0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16190686"/>
            <a:ext cx="4068339" cy="855255"/>
          </a:xfrm>
          <a:prstGeom prst="rect">
            <a:avLst/>
          </a:prstGeom>
        </p:spPr>
        <p:txBody>
          <a:bodyPr vert="horz" lIns="141348" tIns="70674" rIns="141348" bIns="70674" rtlCol="0" anchor="b"/>
          <a:lstStyle>
            <a:lvl1pPr algn="l">
              <a:defRPr sz="19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5317963" y="16190686"/>
            <a:ext cx="4068339" cy="855255"/>
          </a:xfrm>
          <a:prstGeom prst="rect">
            <a:avLst/>
          </a:prstGeom>
        </p:spPr>
        <p:txBody>
          <a:bodyPr vert="horz" lIns="141348" tIns="70674" rIns="141348" bIns="70674" rtlCol="0" anchor="b"/>
          <a:lstStyle>
            <a:lvl1pPr algn="r">
              <a:defRPr sz="1900"/>
            </a:lvl1pPr>
          </a:lstStyle>
          <a:p>
            <a:fld id="{29D5EC54-CB39-8045-A879-7053223B081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4363678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l" defTabSz="141348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fld id="{29D5EC54-CB39-8045-A879-7053223B081A}" type="slidenum">
              <a:rPr kumimoji="0" lang="en-US" sz="1867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cs typeface="Arial"/>
                <a:sym typeface="Arial"/>
              </a:rPr>
              <a:pPr marL="0" marR="0" lvl="0" indent="0" algn="l" defTabSz="141348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t>1</a:t>
            </a:fld>
            <a:endParaRPr kumimoji="0" lang="en-US" sz="1867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702606266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l" defTabSz="7067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fld id="{F97A1FA6-25DE-9E4E-A34D-CF67DE7DBDC7}" type="slidenum">
              <a:rPr kumimoji="0" lang="en-US" sz="36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cs typeface="Arial"/>
                <a:sym typeface="Arial"/>
              </a:rPr>
              <a:pPr marL="0" marR="0" lvl="0" indent="0" algn="l" defTabSz="7067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t>10</a:t>
            </a:fld>
            <a:endParaRPr kumimoji="0" lang="en-US" sz="36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937466473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78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87" name="Google Shape;787;g6c504e7e1d_12_114:notes"/>
          <p:cNvSpPr>
            <a:spLocks noGrp="1" noRot="1" noChangeAspect="1"/>
          </p:cNvSpPr>
          <p:nvPr>
            <p:ph type="sldImg" idx="2"/>
          </p:nvPr>
        </p:nvSpPr>
        <p:spPr>
          <a:xfrm>
            <a:off x="-8035925" y="2620963"/>
            <a:ext cx="23331488" cy="13123862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788" name="Google Shape;788;g6c504e7e1d_12_114:notes"/>
          <p:cNvSpPr txBox="1">
            <a:spLocks noGrp="1"/>
          </p:cNvSpPr>
          <p:nvPr>
            <p:ph type="body" idx="1"/>
          </p:nvPr>
        </p:nvSpPr>
        <p:spPr>
          <a:xfrm>
            <a:off x="726031" y="16620556"/>
            <a:ext cx="5808000" cy="15745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57250" tIns="28600" rIns="57250" bIns="28600" anchor="t" anchorCtr="0">
            <a:noAutofit/>
          </a:bodyPr>
          <a:lstStyle/>
          <a:p>
            <a:endParaRPr lang="en-US" dirty="0"/>
          </a:p>
        </p:txBody>
      </p:sp>
      <p:sp>
        <p:nvSpPr>
          <p:cNvPr id="789" name="Google Shape;789;g6c504e7e1d_12_114:notes"/>
          <p:cNvSpPr txBox="1">
            <a:spLocks noGrp="1"/>
          </p:cNvSpPr>
          <p:nvPr>
            <p:ph type="sldNum" idx="12"/>
          </p:nvPr>
        </p:nvSpPr>
        <p:spPr>
          <a:xfrm>
            <a:off x="4112495" y="33235038"/>
            <a:ext cx="3146100" cy="1750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57250" tIns="28600" rIns="57250" bIns="28600" anchor="b" anchorCtr="0">
            <a:noAutofit/>
          </a:bodyPr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00"/>
              <a:buFont typeface="Arial"/>
              <a:buNone/>
              <a:tabLst/>
              <a:defRPr/>
            </a:pPr>
            <a:fld id="{00000000-1234-1234-1234-123412341234}" type="slidenum">
              <a: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700"/>
                <a:buFont typeface="Arial"/>
                <a:buNone/>
                <a:tabLst/>
                <a:defRPr/>
              </a:pPr>
              <a:t>11</a:t>
            </a:fld>
            <a:endParaRPr kumimoji="0" sz="7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636773111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78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87" name="Google Shape;787;g6c504e7e1d_12_114:notes"/>
          <p:cNvSpPr>
            <a:spLocks noGrp="1" noRot="1" noChangeAspect="1"/>
          </p:cNvSpPr>
          <p:nvPr>
            <p:ph type="sldImg" idx="2"/>
          </p:nvPr>
        </p:nvSpPr>
        <p:spPr>
          <a:xfrm>
            <a:off x="-16776700" y="4886325"/>
            <a:ext cx="43491150" cy="24464963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788" name="Google Shape;788;g6c504e7e1d_12_114:notes"/>
          <p:cNvSpPr txBox="1">
            <a:spLocks noGrp="1"/>
          </p:cNvSpPr>
          <p:nvPr>
            <p:ph type="body" idx="1"/>
          </p:nvPr>
        </p:nvSpPr>
        <p:spPr>
          <a:xfrm>
            <a:off x="993923" y="30983487"/>
            <a:ext cx="7951044" cy="293522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88497" tIns="44210" rIns="88497" bIns="44210" anchor="t" anchorCtr="0">
            <a:noAutofit/>
          </a:bodyPr>
          <a:lstStyle/>
          <a:p>
            <a:endParaRPr lang="en-US" sz="1200" dirty="0">
              <a:solidFill>
                <a:srgbClr val="000000"/>
              </a:solidFill>
              <a:ea typeface="ＭＳ Ｐゴシック" charset="0"/>
            </a:endParaRPr>
          </a:p>
        </p:txBody>
      </p:sp>
      <p:sp>
        <p:nvSpPr>
          <p:cNvPr id="789" name="Google Shape;789;g6c504e7e1d_12_114:notes"/>
          <p:cNvSpPr txBox="1">
            <a:spLocks noGrp="1"/>
          </p:cNvSpPr>
          <p:nvPr>
            <p:ph type="sldNum" idx="12"/>
          </p:nvPr>
        </p:nvSpPr>
        <p:spPr>
          <a:xfrm>
            <a:off x="5629929" y="61955650"/>
            <a:ext cx="4306953" cy="326266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88497" tIns="44210" rIns="88497" bIns="44210" anchor="b" anchorCtr="0">
            <a:noAutofit/>
          </a:bodyPr>
          <a:lstStyle/>
          <a:p>
            <a:pPr defTabSz="706740">
              <a:buClr>
                <a:srgbClr val="000000"/>
              </a:buClr>
              <a:buSzPts val="700"/>
              <a:defRPr/>
            </a:pPr>
            <a:fld id="{00000000-1234-1234-1234-123412341234}" type="slidenum">
              <a:rPr lang="en-US" sz="110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pPr defTabSz="706740">
                <a:buClr>
                  <a:srgbClr val="000000"/>
                </a:buClr>
                <a:buSzPts val="700"/>
                <a:defRPr/>
              </a:pPr>
              <a:t>12</a:t>
            </a:fld>
            <a:endParaRPr sz="110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019785647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fld id="{00000000-1234-1234-1234-123412341234}" type="slidenum">
              <a:rPr kumimoji="0" lang="en-US" sz="12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t>13</a:t>
            </a:fld>
            <a:endParaRPr kumimoji="0" lang="en-US" sz="12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326127368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70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04" name="Google Shape;704;p6:notes"/>
          <p:cNvSpPr>
            <a:spLocks noGrp="1" noRot="1" noChangeAspect="1"/>
          </p:cNvSpPr>
          <p:nvPr>
            <p:ph type="sldImg" idx="2"/>
          </p:nvPr>
        </p:nvSpPr>
        <p:spPr>
          <a:xfrm>
            <a:off x="-81811813" y="19907250"/>
            <a:ext cx="177225326" cy="99690238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705" name="Google Shape;705;p6:notes"/>
          <p:cNvSpPr txBox="1">
            <a:spLocks noGrp="1"/>
          </p:cNvSpPr>
          <p:nvPr>
            <p:ph type="body" idx="1"/>
          </p:nvPr>
        </p:nvSpPr>
        <p:spPr>
          <a:xfrm>
            <a:off x="1360663" y="126247835"/>
            <a:ext cx="10885061" cy="11960032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69735" tIns="84829" rIns="169735" bIns="84829" anchor="t" anchorCtr="0">
            <a:noAutofit/>
          </a:bodyPr>
          <a:lstStyle/>
          <a:p>
            <a:endParaRPr lang="en-US" sz="3700" dirty="0"/>
          </a:p>
        </p:txBody>
      </p:sp>
      <p:sp>
        <p:nvSpPr>
          <p:cNvPr id="706" name="Google Shape;706;p6:notes"/>
          <p:cNvSpPr txBox="1">
            <a:spLocks noGrp="1"/>
          </p:cNvSpPr>
          <p:nvPr>
            <p:ph type="sldNum" idx="12"/>
          </p:nvPr>
        </p:nvSpPr>
        <p:spPr>
          <a:xfrm>
            <a:off x="7707268" y="252449520"/>
            <a:ext cx="5896124" cy="1329412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69735" tIns="84829" rIns="169735" bIns="84829" anchor="b" anchorCtr="0">
            <a:noAutofit/>
          </a:bodyPr>
          <a:lstStyle/>
          <a:p>
            <a:pPr defTabSz="1396361">
              <a:buClr>
                <a:srgbClr val="000000"/>
              </a:buClr>
              <a:buSzPts val="700"/>
              <a:defRPr/>
            </a:pPr>
            <a:fld id="{00000000-1234-1234-1234-123412341234}" type="slidenum">
              <a:rPr lang="en-US" sz="2000">
                <a:solidFill>
                  <a:srgbClr val="000000"/>
                </a:solidFill>
                <a:latin typeface="CiscoSansTT ExtraLight" panose="020B0303020201020303" pitchFamily="34" charset="0"/>
                <a:ea typeface="Calibri"/>
                <a:cs typeface="CiscoSansTT ExtraLight" panose="020B0303020201020303" pitchFamily="34" charset="0"/>
                <a:sym typeface="Calibri"/>
              </a:rPr>
              <a:pPr defTabSz="1396361">
                <a:buClr>
                  <a:srgbClr val="000000"/>
                </a:buClr>
                <a:buSzPts val="700"/>
                <a:defRPr/>
              </a:pPr>
              <a:t>14</a:t>
            </a:fld>
            <a:endParaRPr sz="2000">
              <a:solidFill>
                <a:srgbClr val="000000"/>
              </a:solidFill>
              <a:latin typeface="CiscoSansTT ExtraLight" panose="020B0303020201020303" pitchFamily="34" charset="0"/>
              <a:ea typeface="Calibri"/>
              <a:cs typeface="CiscoSansTT ExtraLight" panose="020B0303020201020303" pitchFamily="34" charset="0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121319075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87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78" name="Google Shape;878;g5e001b735a_7_0:notes"/>
          <p:cNvSpPr>
            <a:spLocks noGrp="1" noRot="1" noChangeAspect="1"/>
          </p:cNvSpPr>
          <p:nvPr>
            <p:ph type="sldImg" idx="2"/>
          </p:nvPr>
        </p:nvSpPr>
        <p:spPr>
          <a:xfrm>
            <a:off x="-987425" y="1277938"/>
            <a:ext cx="11363325" cy="6392862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879" name="Google Shape;879;g5e001b735a_7_0:notes"/>
          <p:cNvSpPr txBox="1">
            <a:spLocks noGrp="1"/>
          </p:cNvSpPr>
          <p:nvPr>
            <p:ph type="body" idx="1"/>
          </p:nvPr>
        </p:nvSpPr>
        <p:spPr>
          <a:xfrm>
            <a:off x="938848" y="8096822"/>
            <a:ext cx="7510780" cy="7670673"/>
          </a:xfrm>
          <a:prstGeom prst="rect">
            <a:avLst/>
          </a:prstGeom>
        </p:spPr>
        <p:txBody>
          <a:bodyPr spcFirstLastPara="1" wrap="square" lIns="141325" tIns="70643" rIns="141325" bIns="70643" anchor="t" anchorCtr="0">
            <a:noAutofit/>
          </a:bodyPr>
          <a:lstStyle/>
          <a:p>
            <a:pPr>
              <a:spcBef>
                <a:spcPts val="556"/>
              </a:spcBef>
            </a:pPr>
            <a:endParaRPr dirty="0"/>
          </a:p>
        </p:txBody>
      </p:sp>
      <p:sp>
        <p:nvSpPr>
          <p:cNvPr id="880" name="Google Shape;880;g5e001b735a_7_0:notes"/>
          <p:cNvSpPr txBox="1">
            <a:spLocks noGrp="1"/>
          </p:cNvSpPr>
          <p:nvPr>
            <p:ph type="sldNum" idx="12"/>
          </p:nvPr>
        </p:nvSpPr>
        <p:spPr>
          <a:xfrm>
            <a:off x="5317963" y="16190685"/>
            <a:ext cx="4068339" cy="852297"/>
          </a:xfrm>
          <a:prstGeom prst="rect">
            <a:avLst/>
          </a:prstGeom>
        </p:spPr>
        <p:txBody>
          <a:bodyPr spcFirstLastPara="1" wrap="square" lIns="141325" tIns="70643" rIns="141325" bIns="70643" anchor="b" anchorCtr="0">
            <a:noAutofit/>
          </a:bodyPr>
          <a:lstStyle/>
          <a:p>
            <a:pPr defTabSz="1413480">
              <a:buClr>
                <a:srgbClr val="000000"/>
              </a:buClr>
              <a:defRPr/>
            </a:pPr>
            <a:fld id="{00000000-1234-1234-1234-123412341234}" type="slidenum">
              <a:rPr lang="en-US" sz="2200" kern="0">
                <a:solidFill>
                  <a:srgbClr val="000000"/>
                </a:solidFill>
                <a:latin typeface="Arial"/>
                <a:cs typeface="Arial"/>
                <a:sym typeface="Arial"/>
              </a:rPr>
              <a:pPr defTabSz="1413480">
                <a:buClr>
                  <a:srgbClr val="000000"/>
                </a:buClr>
                <a:defRPr/>
              </a:pPr>
              <a:t>15</a:t>
            </a:fld>
            <a:endParaRPr sz="2200" kern="0">
              <a:solidFill>
                <a:srgbClr val="000000"/>
              </a:solidFill>
              <a:latin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18246278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9D5EC54-CB39-8045-A879-7053223B081A}" type="slidenum">
              <a:rPr lang="en-US" smtClean="0"/>
              <a:t>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45207319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70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04" name="Google Shape;704;p6:notes"/>
          <p:cNvSpPr>
            <a:spLocks noGrp="1" noRot="1" noChangeAspect="1"/>
          </p:cNvSpPr>
          <p:nvPr>
            <p:ph type="sldImg" idx="2"/>
          </p:nvPr>
        </p:nvSpPr>
        <p:spPr>
          <a:xfrm>
            <a:off x="-81811813" y="19907250"/>
            <a:ext cx="177225326" cy="99690238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705" name="Google Shape;705;p6:notes"/>
          <p:cNvSpPr txBox="1">
            <a:spLocks noGrp="1"/>
          </p:cNvSpPr>
          <p:nvPr>
            <p:ph type="body" idx="1"/>
          </p:nvPr>
        </p:nvSpPr>
        <p:spPr>
          <a:xfrm>
            <a:off x="1360663" y="126247835"/>
            <a:ext cx="10885061" cy="11960032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69735" tIns="84829" rIns="169735" bIns="84829" anchor="t" anchorCtr="0">
            <a:noAutofit/>
          </a:bodyPr>
          <a:lstStyle/>
          <a:p>
            <a:endParaRPr lang="en-US" sz="3700" dirty="0"/>
          </a:p>
        </p:txBody>
      </p:sp>
      <p:sp>
        <p:nvSpPr>
          <p:cNvPr id="706" name="Google Shape;706;p6:notes"/>
          <p:cNvSpPr txBox="1">
            <a:spLocks noGrp="1"/>
          </p:cNvSpPr>
          <p:nvPr>
            <p:ph type="sldNum" idx="12"/>
          </p:nvPr>
        </p:nvSpPr>
        <p:spPr>
          <a:xfrm>
            <a:off x="7707268" y="252449520"/>
            <a:ext cx="5896124" cy="1329412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69735" tIns="84829" rIns="169735" bIns="84829" anchor="b" anchorCtr="0">
            <a:noAutofit/>
          </a:bodyPr>
          <a:lstStyle/>
          <a:p>
            <a:pPr marL="0" marR="0" lvl="0" indent="0" algn="l" defTabSz="13963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00"/>
              <a:buFont typeface="Arial"/>
              <a:buNone/>
              <a:tabLst/>
              <a:defRPr/>
            </a:pPr>
            <a:fld id="{00000000-1234-1234-1234-123412341234}" type="slidenum">
              <a:rPr kumimoji="0" lang="en-US" sz="20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iscoSansTT ExtraLight" panose="020B0303020201020303" pitchFamily="34" charset="0"/>
                <a:ea typeface="Calibri"/>
                <a:cs typeface="CiscoSansTT ExtraLight" panose="020B0303020201020303" pitchFamily="34" charset="0"/>
                <a:sym typeface="Calibri"/>
              </a:rPr>
              <a:pPr marL="0" marR="0" lvl="0" indent="0" algn="l" defTabSz="13963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700"/>
                <a:buFont typeface="Arial"/>
                <a:buNone/>
                <a:tabLst/>
                <a:defRPr/>
              </a:pPr>
              <a:t>17</a:t>
            </a:fld>
            <a:endParaRPr kumimoji="0" sz="20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iscoSansTT ExtraLight" panose="020B0303020201020303" pitchFamily="34" charset="0"/>
              <a:ea typeface="Calibri"/>
              <a:cs typeface="CiscoSansTT ExtraLight" panose="020B0303020201020303" pitchFamily="34" charset="0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197496765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1200" dirty="0">
              <a:solidFill>
                <a:srgbClr val="000000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defTabSz="1413480">
              <a:defRPr/>
            </a:pPr>
            <a:fld id="{29D5EC54-CB39-8045-A879-7053223B081A}" type="slidenum">
              <a:rPr lang="en-US">
                <a:solidFill>
                  <a:prstClr val="black"/>
                </a:solidFill>
                <a:latin typeface="Calibri" panose="020F0502020204030204"/>
              </a:rPr>
              <a:pPr defTabSz="1413480">
                <a:defRPr/>
              </a:pPr>
              <a:t>18</a:t>
            </a:fld>
            <a:endParaRPr lang="en-US">
              <a:solidFill>
                <a:prstClr val="black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3104347537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70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04" name="Google Shape;704;p6:notes"/>
          <p:cNvSpPr>
            <a:spLocks noGrp="1" noRot="1" noChangeAspect="1"/>
          </p:cNvSpPr>
          <p:nvPr>
            <p:ph type="sldImg" idx="2"/>
          </p:nvPr>
        </p:nvSpPr>
        <p:spPr>
          <a:xfrm>
            <a:off x="-81811813" y="19907250"/>
            <a:ext cx="177225326" cy="99690238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705" name="Google Shape;705;p6:notes"/>
          <p:cNvSpPr txBox="1">
            <a:spLocks noGrp="1"/>
          </p:cNvSpPr>
          <p:nvPr>
            <p:ph type="body" idx="1"/>
          </p:nvPr>
        </p:nvSpPr>
        <p:spPr>
          <a:xfrm>
            <a:off x="1360663" y="126247835"/>
            <a:ext cx="10885061" cy="11960032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69735" tIns="84829" rIns="169735" bIns="84829" anchor="t" anchorCtr="0">
            <a:noAutofit/>
          </a:bodyPr>
          <a:lstStyle/>
          <a:p>
            <a:endParaRPr lang="en-US" sz="1200" dirty="0">
              <a:solidFill>
                <a:srgbClr val="000000"/>
              </a:solidFill>
              <a:ea typeface="CiscoSans" charset="0"/>
              <a:cs typeface="Calibri"/>
            </a:endParaRPr>
          </a:p>
        </p:txBody>
      </p:sp>
      <p:sp>
        <p:nvSpPr>
          <p:cNvPr id="706" name="Google Shape;706;p6:notes"/>
          <p:cNvSpPr txBox="1">
            <a:spLocks noGrp="1"/>
          </p:cNvSpPr>
          <p:nvPr>
            <p:ph type="sldNum" idx="12"/>
          </p:nvPr>
        </p:nvSpPr>
        <p:spPr>
          <a:xfrm>
            <a:off x="7707268" y="252449520"/>
            <a:ext cx="5896124" cy="1329412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69735" tIns="84829" rIns="169735" bIns="84829" anchor="b" anchorCtr="0">
            <a:noAutofit/>
          </a:bodyPr>
          <a:lstStyle/>
          <a:p>
            <a:pPr marL="0" marR="0" lvl="0" indent="0" algn="l" defTabSz="13963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00"/>
              <a:buFont typeface="Arial"/>
              <a:buNone/>
              <a:tabLst/>
              <a:defRPr/>
            </a:pPr>
            <a:fld id="{00000000-1234-1234-1234-123412341234}" type="slidenum">
              <a:rPr kumimoji="0" lang="en-US" sz="20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iscoSansTT ExtraLight" panose="020B0303020201020303" pitchFamily="34" charset="0"/>
                <a:ea typeface="Calibri"/>
                <a:cs typeface="CiscoSansTT ExtraLight" panose="020B0303020201020303" pitchFamily="34" charset="0"/>
                <a:sym typeface="Calibri"/>
              </a:rPr>
              <a:pPr marL="0" marR="0" lvl="0" indent="0" algn="l" defTabSz="13963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700"/>
                <a:buFont typeface="Arial"/>
                <a:buNone/>
                <a:tabLst/>
                <a:defRPr/>
              </a:pPr>
              <a:t>19</a:t>
            </a:fld>
            <a:endParaRPr kumimoji="0" sz="20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iscoSansTT ExtraLight" panose="020B0303020201020303" pitchFamily="34" charset="0"/>
              <a:ea typeface="Calibri"/>
              <a:cs typeface="CiscoSansTT ExtraLight" panose="020B0303020201020303" pitchFamily="34" charset="0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02973681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marR="0" lvl="0" indent="0" algn="r" defTabSz="141348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fld id="{00000000-1234-1234-1234-123412341234}" type="slidenum">
              <a:rPr kumimoji="0" lang="en-US" sz="19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rPr>
              <a:pPr marL="0" marR="0" lvl="0" indent="0" algn="r" defTabSz="141348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t>2</a:t>
            </a:fld>
            <a:endParaRPr kumimoji="0" lang="en-US" sz="19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670807300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defTabSz="1413480">
              <a:defRPr/>
            </a:pPr>
            <a:fld id="{00000000-1234-1234-1234-123412341234}" type="slidenum">
              <a:rPr lang="en-US">
                <a:solidFill>
                  <a:prstClr val="black"/>
                </a:solidFill>
                <a:latin typeface="Calibri"/>
                <a:ea typeface="Calibri"/>
                <a:cs typeface="Calibri"/>
                <a:sym typeface="Calibri"/>
              </a:rPr>
              <a:pPr defTabSz="1413480">
                <a:defRPr/>
              </a:pPr>
              <a:t>20</a:t>
            </a:fld>
            <a:endParaRPr lang="en-US">
              <a:solidFill>
                <a:prstClr val="black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825734326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1200" dirty="0">
              <a:solidFill>
                <a:srgbClr val="000000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marR="0" lvl="0" indent="0" algn="r" defTabSz="7067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Tx/>
              <a:buNone/>
              <a:tabLst/>
              <a:defRPr/>
            </a:pPr>
            <a:fld id="{00000000-1234-1234-1234-123412341234}" type="slidenum">
              <a:rPr kumimoji="0" lang="en-US" sz="19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rPr>
              <a:pPr marL="0" marR="0" lvl="0" indent="0" algn="r" defTabSz="7067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200"/>
                <a:buFontTx/>
                <a:buNone/>
                <a:tabLst/>
                <a:defRPr/>
              </a:pPr>
              <a:t>21</a:t>
            </a:fld>
            <a:endParaRPr kumimoji="0" lang="en-US" sz="19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102136905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70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04" name="Google Shape;704;p6:notes"/>
          <p:cNvSpPr>
            <a:spLocks noGrp="1" noRot="1" noChangeAspect="1"/>
          </p:cNvSpPr>
          <p:nvPr>
            <p:ph type="sldImg" idx="2"/>
          </p:nvPr>
        </p:nvSpPr>
        <p:spPr>
          <a:xfrm>
            <a:off x="-81811813" y="19907250"/>
            <a:ext cx="177225326" cy="99690238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705" name="Google Shape;705;p6:notes"/>
          <p:cNvSpPr txBox="1">
            <a:spLocks noGrp="1"/>
          </p:cNvSpPr>
          <p:nvPr>
            <p:ph type="body" idx="1"/>
          </p:nvPr>
        </p:nvSpPr>
        <p:spPr>
          <a:xfrm>
            <a:off x="1360663" y="126247835"/>
            <a:ext cx="10885061" cy="11960032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69735" tIns="84829" rIns="169735" bIns="84829" anchor="t" anchorCtr="0">
            <a:noAutofit/>
          </a:bodyPr>
          <a:lstStyle/>
          <a:p>
            <a:pPr defTabSz="706740" eaLnBrk="0" fontAlgn="base" hangingPunct="0">
              <a:defRPr/>
            </a:pPr>
            <a:endParaRPr lang="en-US" sz="1200" dirty="0">
              <a:solidFill>
                <a:srgbClr val="000000"/>
              </a:solidFill>
            </a:endParaRPr>
          </a:p>
        </p:txBody>
      </p:sp>
      <p:sp>
        <p:nvSpPr>
          <p:cNvPr id="706" name="Google Shape;706;p6:notes"/>
          <p:cNvSpPr txBox="1">
            <a:spLocks noGrp="1"/>
          </p:cNvSpPr>
          <p:nvPr>
            <p:ph type="sldNum" idx="12"/>
          </p:nvPr>
        </p:nvSpPr>
        <p:spPr>
          <a:xfrm>
            <a:off x="7707268" y="252449520"/>
            <a:ext cx="5896124" cy="1329412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69735" tIns="84829" rIns="169735" bIns="84829" anchor="b" anchorCtr="0">
            <a:noAutofit/>
          </a:bodyPr>
          <a:lstStyle/>
          <a:p>
            <a:pPr marL="0" marR="0" lvl="0" indent="0" algn="l" defTabSz="13963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00"/>
              <a:buFont typeface="Arial"/>
              <a:buNone/>
              <a:tabLst/>
              <a:defRPr/>
            </a:pPr>
            <a:fld id="{00000000-1234-1234-1234-123412341234}" type="slidenum">
              <a:rPr kumimoji="0" lang="en-US" sz="20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iscoSansTT ExtraLight" panose="020B0303020201020303" pitchFamily="34" charset="0"/>
                <a:ea typeface="Calibri"/>
                <a:cs typeface="CiscoSansTT ExtraLight" panose="020B0303020201020303" pitchFamily="34" charset="0"/>
                <a:sym typeface="Calibri"/>
              </a:rPr>
              <a:pPr marL="0" marR="0" lvl="0" indent="0" algn="l" defTabSz="13963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700"/>
                <a:buFont typeface="Arial"/>
                <a:buNone/>
                <a:tabLst/>
                <a:defRPr/>
              </a:pPr>
              <a:t>22</a:t>
            </a:fld>
            <a:endParaRPr kumimoji="0" sz="20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iscoSansTT ExtraLight" panose="020B0303020201020303" pitchFamily="34" charset="0"/>
              <a:ea typeface="Calibri"/>
              <a:cs typeface="CiscoSansTT ExtraLight" panose="020B0303020201020303" pitchFamily="34" charset="0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495052435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78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87" name="Google Shape;787;g6c504e7e1d_12_114:notes"/>
          <p:cNvSpPr>
            <a:spLocks noGrp="1" noRot="1" noChangeAspect="1"/>
          </p:cNvSpPr>
          <p:nvPr>
            <p:ph type="sldImg" idx="2"/>
          </p:nvPr>
        </p:nvSpPr>
        <p:spPr>
          <a:xfrm>
            <a:off x="-8035925" y="2620963"/>
            <a:ext cx="23331488" cy="13123862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788" name="Google Shape;788;g6c504e7e1d_12_114:notes"/>
          <p:cNvSpPr txBox="1">
            <a:spLocks noGrp="1"/>
          </p:cNvSpPr>
          <p:nvPr>
            <p:ph type="body" idx="1"/>
          </p:nvPr>
        </p:nvSpPr>
        <p:spPr>
          <a:xfrm>
            <a:off x="726031" y="16620556"/>
            <a:ext cx="5808000" cy="15745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57250" tIns="28600" rIns="57250" bIns="28600" anchor="t" anchorCtr="0">
            <a:noAutofit/>
          </a:bodyPr>
          <a:lstStyle/>
          <a:p>
            <a:endParaRPr lang="en-US" dirty="0"/>
          </a:p>
        </p:txBody>
      </p:sp>
      <p:sp>
        <p:nvSpPr>
          <p:cNvPr id="789" name="Google Shape;789;g6c504e7e1d_12_114:notes"/>
          <p:cNvSpPr txBox="1">
            <a:spLocks noGrp="1"/>
          </p:cNvSpPr>
          <p:nvPr>
            <p:ph type="sldNum" idx="12"/>
          </p:nvPr>
        </p:nvSpPr>
        <p:spPr>
          <a:xfrm>
            <a:off x="4112495" y="33235038"/>
            <a:ext cx="3146100" cy="1750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57250" tIns="28600" rIns="57250" bIns="28600" anchor="b" anchorCtr="0">
            <a:noAutofit/>
          </a:bodyPr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00"/>
              <a:buFont typeface="Arial"/>
              <a:buNone/>
              <a:tabLst/>
              <a:defRPr/>
            </a:pPr>
            <a:fld id="{00000000-1234-1234-1234-123412341234}" type="slidenum">
              <a: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700"/>
                <a:buFont typeface="Arial"/>
                <a:buNone/>
                <a:tabLst/>
                <a:defRPr/>
              </a:pPr>
              <a:t>23</a:t>
            </a:fld>
            <a:endParaRPr kumimoji="0" sz="7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636773111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defTabSz="1413480">
              <a:defRPr/>
            </a:pP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70672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9D5EC54-CB39-8045-A879-7053223B081A}" type="slidenum">
              <a:rPr kumimoji="0" lang="en-US" sz="3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70672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4</a:t>
            </a:fld>
            <a:endParaRPr kumimoji="0" lang="en-US" sz="36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29367447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70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04" name="Google Shape;704;p6:notes"/>
          <p:cNvSpPr>
            <a:spLocks noGrp="1" noRot="1" noChangeAspect="1"/>
          </p:cNvSpPr>
          <p:nvPr>
            <p:ph type="sldImg" idx="2"/>
          </p:nvPr>
        </p:nvSpPr>
        <p:spPr>
          <a:xfrm>
            <a:off x="-81811813" y="19907250"/>
            <a:ext cx="177225326" cy="99690238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705" name="Google Shape;705;p6:notes"/>
          <p:cNvSpPr txBox="1">
            <a:spLocks noGrp="1"/>
          </p:cNvSpPr>
          <p:nvPr>
            <p:ph type="body" idx="1"/>
          </p:nvPr>
        </p:nvSpPr>
        <p:spPr>
          <a:xfrm>
            <a:off x="1360663" y="126247835"/>
            <a:ext cx="10885061" cy="11960032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69735" tIns="84829" rIns="169735" bIns="84829" anchor="t" anchorCtr="0">
            <a:noAutofit/>
          </a:bodyPr>
          <a:lstStyle/>
          <a:p>
            <a:endParaRPr lang="en-US" sz="1200" dirty="0">
              <a:solidFill>
                <a:srgbClr val="000000"/>
              </a:solidFill>
            </a:endParaRPr>
          </a:p>
          <a:p>
            <a:pPr defTabSz="1410173">
              <a:buClr>
                <a:prstClr val="black"/>
              </a:buClr>
              <a:buSzPct val="80000"/>
              <a:defRPr/>
            </a:pPr>
            <a:endParaRPr lang="en-US" sz="1900" dirty="0">
              <a:solidFill>
                <a:prstClr val="black"/>
              </a:solidFill>
              <a:ea typeface="CiscoSans" charset="0"/>
              <a:cs typeface="Calibri"/>
            </a:endParaRPr>
          </a:p>
        </p:txBody>
      </p:sp>
      <p:sp>
        <p:nvSpPr>
          <p:cNvPr id="706" name="Google Shape;706;p6:notes"/>
          <p:cNvSpPr txBox="1">
            <a:spLocks noGrp="1"/>
          </p:cNvSpPr>
          <p:nvPr>
            <p:ph type="sldNum" idx="12"/>
          </p:nvPr>
        </p:nvSpPr>
        <p:spPr>
          <a:xfrm>
            <a:off x="7707268" y="252449520"/>
            <a:ext cx="5896124" cy="1329412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69735" tIns="84829" rIns="169735" bIns="84829" anchor="b" anchorCtr="0">
            <a:noAutofit/>
          </a:bodyPr>
          <a:lstStyle/>
          <a:p>
            <a:pPr marL="0" marR="0" lvl="0" indent="0" algn="l" defTabSz="13963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00"/>
              <a:buFont typeface="Arial"/>
              <a:buNone/>
              <a:tabLst/>
              <a:defRPr/>
            </a:pPr>
            <a:fld id="{00000000-1234-1234-1234-123412341234}" type="slidenum">
              <a:rPr kumimoji="0" lang="en-US" sz="20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iscoSansTT ExtraLight" panose="020B0303020201020303" pitchFamily="34" charset="0"/>
                <a:ea typeface="Calibri"/>
                <a:cs typeface="CiscoSansTT ExtraLight" panose="020B0303020201020303" pitchFamily="34" charset="0"/>
                <a:sym typeface="Calibri"/>
              </a:rPr>
              <a:pPr marL="0" marR="0" lvl="0" indent="0" algn="l" defTabSz="139636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700"/>
                <a:buFont typeface="Arial"/>
                <a:buNone/>
                <a:tabLst/>
                <a:defRPr/>
              </a:pPr>
              <a:t>25</a:t>
            </a:fld>
            <a:endParaRPr kumimoji="0" sz="20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iscoSansTT ExtraLight" panose="020B0303020201020303" pitchFamily="34" charset="0"/>
              <a:ea typeface="Calibri"/>
              <a:cs typeface="CiscoSansTT ExtraLight" panose="020B0303020201020303" pitchFamily="34" charset="0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123110051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marR="0" lvl="0" indent="0" algn="r" defTabSz="141348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en-US" sz="19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rPr>
              <a:pPr marL="0" marR="0" lvl="0" indent="0" algn="r" defTabSz="141348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6</a:t>
            </a:fld>
            <a:endParaRPr kumimoji="0" lang="en-US" sz="19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814659266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marR="0" lvl="0" indent="0" algn="r" defTabSz="141348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en-US" sz="19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rPr>
              <a:pPr marL="0" marR="0" lvl="0" indent="0" algn="r" defTabSz="141348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7</a:t>
            </a:fld>
            <a:endParaRPr kumimoji="0" lang="en-US" sz="19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971680923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587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381000" y="685800"/>
            <a:ext cx="6096000" cy="3429000"/>
          </a:xfrm>
          <a:ln/>
        </p:spPr>
      </p:sp>
      <p:sp>
        <p:nvSpPr>
          <p:cNvPr id="975875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685638" y="4343914"/>
            <a:ext cx="5486727" cy="4114361"/>
          </a:xfrm>
        </p:spPr>
        <p:txBody>
          <a:bodyPr/>
          <a:lstStyle/>
          <a:p>
            <a:endParaRPr lang="en-GB" noProof="1"/>
          </a:p>
        </p:txBody>
      </p:sp>
    </p:spTree>
    <p:extLst>
      <p:ext uri="{BB962C8B-B14F-4D97-AF65-F5344CB8AC3E}">
        <p14:creationId xmlns:p14="http://schemas.microsoft.com/office/powerpoint/2010/main" val="3856408549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587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381000" y="685800"/>
            <a:ext cx="6096000" cy="3429000"/>
          </a:xfrm>
          <a:ln/>
        </p:spPr>
      </p:sp>
      <p:sp>
        <p:nvSpPr>
          <p:cNvPr id="975875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685638" y="4343914"/>
            <a:ext cx="5486727" cy="4114361"/>
          </a:xfrm>
        </p:spPr>
        <p:txBody>
          <a:bodyPr/>
          <a:lstStyle/>
          <a:p>
            <a:endParaRPr lang="en-GB" noProof="1"/>
          </a:p>
        </p:txBody>
      </p:sp>
    </p:spTree>
    <p:extLst>
      <p:ext uri="{BB962C8B-B14F-4D97-AF65-F5344CB8AC3E}">
        <p14:creationId xmlns:p14="http://schemas.microsoft.com/office/powerpoint/2010/main" val="233327490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1900" b="1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l" defTabSz="141348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fld id="{29D5EC54-CB39-8045-A879-7053223B081A}" type="slidenum">
              <a:rPr kumimoji="0" lang="en-US" sz="1867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cs typeface="Arial"/>
                <a:sym typeface="Arial"/>
              </a:rPr>
              <a:pPr marL="0" marR="0" lvl="0" indent="0" algn="l" defTabSz="141348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t>3</a:t>
            </a:fld>
            <a:endParaRPr kumimoji="0" lang="en-US" sz="1867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687342989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587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381000" y="685800"/>
            <a:ext cx="6096000" cy="3429000"/>
          </a:xfrm>
          <a:ln/>
        </p:spPr>
      </p:sp>
      <p:sp>
        <p:nvSpPr>
          <p:cNvPr id="975875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685638" y="4343914"/>
            <a:ext cx="5486727" cy="4114361"/>
          </a:xfrm>
        </p:spPr>
        <p:txBody>
          <a:bodyPr/>
          <a:lstStyle/>
          <a:p>
            <a:endParaRPr lang="en-GB" noProof="1"/>
          </a:p>
        </p:txBody>
      </p:sp>
    </p:spTree>
    <p:extLst>
      <p:ext uri="{BB962C8B-B14F-4D97-AF65-F5344CB8AC3E}">
        <p14:creationId xmlns:p14="http://schemas.microsoft.com/office/powerpoint/2010/main" val="4174398716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587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381000" y="685800"/>
            <a:ext cx="6096000" cy="3429000"/>
          </a:xfrm>
          <a:ln/>
        </p:spPr>
      </p:sp>
      <p:sp>
        <p:nvSpPr>
          <p:cNvPr id="975875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685638" y="4343914"/>
            <a:ext cx="5486727" cy="4114361"/>
          </a:xfrm>
        </p:spPr>
        <p:txBody>
          <a:bodyPr/>
          <a:lstStyle/>
          <a:p>
            <a:endParaRPr lang="en-GB" noProof="1"/>
          </a:p>
        </p:txBody>
      </p:sp>
    </p:spTree>
    <p:extLst>
      <p:ext uri="{BB962C8B-B14F-4D97-AF65-F5344CB8AC3E}">
        <p14:creationId xmlns:p14="http://schemas.microsoft.com/office/powerpoint/2010/main" val="333985906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587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381000" y="685800"/>
            <a:ext cx="6096000" cy="3429000"/>
          </a:xfrm>
          <a:ln/>
        </p:spPr>
      </p:sp>
      <p:sp>
        <p:nvSpPr>
          <p:cNvPr id="975875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685638" y="4343914"/>
            <a:ext cx="5486727" cy="4114361"/>
          </a:xfrm>
        </p:spPr>
        <p:txBody>
          <a:bodyPr/>
          <a:lstStyle/>
          <a:p>
            <a:endParaRPr lang="en-GB" noProof="1"/>
          </a:p>
        </p:txBody>
      </p:sp>
    </p:spTree>
    <p:extLst>
      <p:ext uri="{BB962C8B-B14F-4D97-AF65-F5344CB8AC3E}">
        <p14:creationId xmlns:p14="http://schemas.microsoft.com/office/powerpoint/2010/main" val="3196900706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defTabSz="706740" eaLnBrk="0" fontAlgn="base" hangingPunct="0">
              <a:spcBef>
                <a:spcPts val="1099"/>
              </a:spcBef>
              <a:buClr>
                <a:srgbClr val="000000"/>
              </a:buClr>
              <a:buSzPts val="1400"/>
              <a:defRPr/>
            </a:pP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135503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97A1FA6-25DE-9E4E-A34D-CF67DE7DBDC7}" type="slidenum">
              <a:rPr kumimoji="0" lang="en-US" sz="3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iscoSansTT ExtraLight" panose="020B0303020201020303" pitchFamily="34" charset="0"/>
                <a:ea typeface="+mn-ea"/>
                <a:cs typeface="+mn-cs"/>
              </a:rPr>
              <a:pPr marL="0" marR="0" lvl="0" indent="0" algn="r" defTabSz="135503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3</a:t>
            </a:fld>
            <a:endParaRPr kumimoji="0" lang="en-US" sz="36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iscoSansTT ExtraLight" panose="020B0303020201020303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59054585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490" name="Rectangle 11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pPr marL="0" marR="0" lvl="0" indent="0" algn="r" defTabSz="4571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F1201E8-E822-4A94-BDB6-2E66CA751A49}" type="slidenum">
              <a:rPr kumimoji="0" lang="en-US" sz="23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1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4</a:t>
            </a:fld>
            <a:endParaRPr kumimoji="0" lang="en-US" sz="23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3491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63492" name="Notes Placeholder 2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marL="342471" indent="-342471"/>
            <a:endParaRPr lang="en-US"/>
          </a:p>
        </p:txBody>
      </p:sp>
      <p:sp>
        <p:nvSpPr>
          <p:cNvPr id="63493" name="Slide Number Placeholder 3"/>
          <p:cNvSpPr txBox="1">
            <a:spLocks noGrp="1"/>
          </p:cNvSpPr>
          <p:nvPr/>
        </p:nvSpPr>
        <p:spPr bwMode="auto">
          <a:xfrm>
            <a:off x="5800138" y="8538632"/>
            <a:ext cx="796029" cy="2815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8738" tIns="0" rIns="18738" bIns="0" anchor="b"/>
          <a:lstStyle/>
          <a:p>
            <a:pPr marL="0" marR="0" lvl="0" indent="0" algn="r" defTabSz="89898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E923F8A6-0D40-4BA9-BABF-A823D454C895}" type="slidenum"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ＭＳ Ｐゴシック" charset="0"/>
                <a:cs typeface="+mn-cs"/>
              </a:rPr>
              <a:pPr marL="0" marR="0" lvl="0" indent="0" algn="r" defTabSz="89898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34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charset="0"/>
              <a:ea typeface="ＭＳ Ｐゴシック" charset="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50651542"/>
      </p:ext>
    </p:extLst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44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43" name="Google Shape;2443;g5f97c2d923_1_5412:notes"/>
          <p:cNvSpPr txBox="1">
            <a:spLocks noGrp="1"/>
          </p:cNvSpPr>
          <p:nvPr>
            <p:ph type="body" idx="1"/>
          </p:nvPr>
        </p:nvSpPr>
        <p:spPr>
          <a:xfrm>
            <a:off x="938848" y="8203358"/>
            <a:ext cx="7510780" cy="671211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41325" tIns="70643" rIns="141325" bIns="70643" anchor="t" anchorCtr="0">
            <a:noAutofit/>
          </a:bodyPr>
          <a:lstStyle/>
          <a:p>
            <a:pPr>
              <a:buSzPts val="1400"/>
            </a:pPr>
            <a:endParaRPr/>
          </a:p>
        </p:txBody>
      </p:sp>
      <p:sp>
        <p:nvSpPr>
          <p:cNvPr id="2444" name="Google Shape;2444;g5f97c2d923_1_5412:notes"/>
          <p:cNvSpPr>
            <a:spLocks noGrp="1" noRot="1" noChangeAspect="1"/>
          </p:cNvSpPr>
          <p:nvPr>
            <p:ph type="sldImg" idx="2"/>
          </p:nvPr>
        </p:nvSpPr>
        <p:spPr>
          <a:xfrm>
            <a:off x="-419100" y="2130425"/>
            <a:ext cx="10226675" cy="5753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</p:spTree>
    <p:extLst>
      <p:ext uri="{BB962C8B-B14F-4D97-AF65-F5344CB8AC3E}">
        <p14:creationId xmlns:p14="http://schemas.microsoft.com/office/powerpoint/2010/main" val="279831365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9D5EC54-CB39-8045-A879-7053223B081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535535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9D5EC54-CB39-8045-A879-7053223B081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1150728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75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54" name="Google Shape;754;p5:notes"/>
          <p:cNvSpPr>
            <a:spLocks noGrp="1" noRot="1" noChangeAspect="1"/>
          </p:cNvSpPr>
          <p:nvPr>
            <p:ph type="sldImg" idx="2"/>
          </p:nvPr>
        </p:nvSpPr>
        <p:spPr>
          <a:xfrm>
            <a:off x="-16725900" y="5208588"/>
            <a:ext cx="46304200" cy="260477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755" name="Google Shape;755;p5:notes"/>
          <p:cNvSpPr txBox="1">
            <a:spLocks noGrp="1"/>
          </p:cNvSpPr>
          <p:nvPr>
            <p:ph type="body" idx="1"/>
          </p:nvPr>
        </p:nvSpPr>
        <p:spPr>
          <a:xfrm>
            <a:off x="1285265" y="32991966"/>
            <a:ext cx="10282119" cy="3125554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0979" tIns="135489" rIns="270979" bIns="135489" anchor="t" anchorCtr="0">
            <a:noAutofit/>
          </a:bodyPr>
          <a:lstStyle/>
          <a:p>
            <a:pPr>
              <a:spcBef>
                <a:spcPts val="556"/>
              </a:spcBef>
            </a:pPr>
            <a:endParaRPr dirty="0"/>
          </a:p>
        </p:txBody>
      </p:sp>
      <p:sp>
        <p:nvSpPr>
          <p:cNvPr id="756" name="Google Shape;756;p5:notes"/>
          <p:cNvSpPr txBox="1">
            <a:spLocks noGrp="1"/>
          </p:cNvSpPr>
          <p:nvPr>
            <p:ph type="sldNum" idx="12"/>
          </p:nvPr>
        </p:nvSpPr>
        <p:spPr>
          <a:xfrm>
            <a:off x="7280193" y="65971880"/>
            <a:ext cx="5569481" cy="34728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0979" tIns="135489" rIns="270979" bIns="135489" anchor="b" anchorCtr="0">
            <a:noAutofit/>
          </a:bodyPr>
          <a:lstStyle/>
          <a:p>
            <a:pPr marL="0" marR="0" lvl="0" indent="0" algn="l" defTabSz="141348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fld id="{00000000-1234-1234-1234-123412341234}" type="slidenum">
              <a:rPr kumimoji="0" lang="en-US" sz="2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iscoSansTT ExtraLight" panose="020B0303020201020303" pitchFamily="34" charset="0"/>
                <a:cs typeface="CiscoSansTT ExtraLight" panose="020B0303020201020303" pitchFamily="34" charset="0"/>
                <a:sym typeface="Arial"/>
              </a:rPr>
              <a:pPr marL="0" marR="0" lvl="0" indent="0" algn="l" defTabSz="141348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t>6</a:t>
            </a:fld>
            <a:endParaRPr kumimoji="0" sz="22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iscoSansTT ExtraLight" panose="020B0303020201020303" pitchFamily="34" charset="0"/>
              <a:cs typeface="CiscoSansTT ExtraLight" panose="020B0303020201020303" pitchFamily="34" charset="0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95836376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defRPr/>
            </a:pPr>
            <a:endParaRPr lang="en-US" dirty="0">
              <a:solidFill>
                <a:srgbClr val="000000"/>
              </a:solidFill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97A1FA6-25DE-9E4E-A34D-CF67DE7DBDC7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iscoSansTT Light" panose="020B0503020201020303" pitchFamily="34" charset="0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iscoSansTT Light" panose="020B0503020201020303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77750486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endParaRPr lang="en-US" dirty="0"/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97A1FA6-25DE-9E4E-A34D-CF67DE7DBDC7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44434832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spcAft>
                <a:spcPts val="500"/>
              </a:spcAft>
            </a:pPr>
            <a:endParaRPr lang="en-AU" sz="1200" dirty="0">
              <a:solidFill>
                <a:schemeClr val="bg2"/>
              </a:solidFill>
              <a:latin typeface="+mn-lt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97A1FA6-25DE-9E4E-A34D-CF67DE7DBDC7}" type="slidenum">
              <a:rPr kumimoji="0" lang="en-US" sz="23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US" sz="23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1238385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4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8.png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6.png"/></Relationships>
</file>

<file path=ppt/slideLayouts/_rels/slideLayout1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4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15.png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4.xml"/></Relationships>
</file>

<file path=ppt/slideLayouts/_rels/slideLayout1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4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4.xml"/></Relationships>
</file>

<file path=ppt/slideLayouts/_rels/slideLayout1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4.xml"/></Relationships>
</file>

<file path=ppt/slideLayouts/_rels/slideLayout1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9.png"/><Relationship Id="rId1" Type="http://schemas.openxmlformats.org/officeDocument/2006/relationships/slideMaster" Target="../slideMasters/slideMaster5.xml"/></Relationships>
</file>

<file path=ppt/slideLayouts/_rels/slideLayout1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0.png"/><Relationship Id="rId1" Type="http://schemas.openxmlformats.org/officeDocument/2006/relationships/slideMaster" Target="../slideMasters/slideMaster5.xml"/></Relationships>
</file>

<file path=ppt/slideLayouts/_rels/slideLayout1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0.png"/><Relationship Id="rId1" Type="http://schemas.openxmlformats.org/officeDocument/2006/relationships/slideMaster" Target="../slideMasters/slideMaster5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6.xml"/></Relationships>
</file>

<file path=ppt/slideLayouts/_rels/slideLayout1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6.xml"/></Relationships>
</file>

<file path=ppt/slideLayouts/_rels/slideLayout1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6.xml"/></Relationships>
</file>

<file path=ppt/slideLayouts/_rels/slideLayout1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8.png"/></Relationships>
</file>

<file path=ppt/slideLayouts/_rels/slideLayout1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6.xml"/></Relationships>
</file>

<file path=ppt/slideLayouts/_rels/slideLayout1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6.xml"/></Relationships>
</file>

<file path=ppt/slideLayouts/_rels/slideLayout1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8.png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6.png"/></Relationships>
</file>

<file path=ppt/slideLayouts/_rels/slideLayout1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6.xml"/></Relationships>
</file>

<file path=ppt/slideLayouts/_rels/slideLayout1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15.png"/></Relationships>
</file>

<file path=ppt/slideLayouts/_rels/slideLayout1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6.xml"/></Relationships>
</file>

<file path=ppt/slideLayouts/_rels/slideLayout1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6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png"/></Relationships>
</file>

<file path=ppt/slideLayouts/_rels/slideLayout18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6.xml"/></Relationships>
</file>

<file path=ppt/slideLayouts/_rels/slideLayout1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6.xml"/></Relationships>
</file>

<file path=ppt/slideLayouts/_rels/slideLayout1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6.xml"/></Relationships>
</file>

<file path=ppt/slideLayouts/_rels/slideLayout1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2.png"/><Relationship Id="rId1" Type="http://schemas.openxmlformats.org/officeDocument/2006/relationships/slideMaster" Target="../slideMasters/slideMaster7.xml"/></Relationships>
</file>

<file path=ppt/slideLayouts/_rels/slideLayout1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3.png"/><Relationship Id="rId1" Type="http://schemas.openxmlformats.org/officeDocument/2006/relationships/slideMaster" Target="../slideMasters/slideMaster7.xml"/></Relationships>
</file>

<file path=ppt/slideLayouts/_rels/slideLayout1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3.png"/><Relationship Id="rId1" Type="http://schemas.openxmlformats.org/officeDocument/2006/relationships/slideMaster" Target="../slideMasters/slideMaster7.xml"/></Relationships>
</file>

<file path=ppt/slideLayouts/_rels/slideLayout1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1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5.png"/></Relationships>
</file>

<file path=ppt/slideLayouts/_rels/slideLayout2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4.png"/><Relationship Id="rId1" Type="http://schemas.openxmlformats.org/officeDocument/2006/relationships/slideMaster" Target="../slideMasters/slideMaster8.xml"/></Relationships>
</file>

<file path=ppt/slideLayouts/_rels/slideLayout2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8.xml"/></Relationships>
</file>

<file path=ppt/slideLayouts/_rels/slideLayout2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8.xml"/></Relationships>
</file>

<file path=ppt/slideLayouts/_rels/slideLayout2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8.xml"/></Relationships>
</file>

<file path=ppt/slideLayouts/_rels/slideLayout2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8.xml"/></Relationships>
</file>

<file path=ppt/slideLayouts/_rels/slideLayout2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8.xml"/><Relationship Id="rId4" Type="http://schemas.openxmlformats.org/officeDocument/2006/relationships/image" Target="../media/image8.png"/></Relationships>
</file>

<file path=ppt/slideLayouts/_rels/slideLayout2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8.xml"/><Relationship Id="rId4" Type="http://schemas.openxmlformats.org/officeDocument/2006/relationships/image" Target="../media/image6.png"/></Relationships>
</file>

<file path=ppt/slideLayouts/_rels/slideLayout2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8.xml"/></Relationships>
</file>

<file path=ppt/slideLayouts/_rels/slideLayout2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8.xml"/><Relationship Id="rId4" Type="http://schemas.openxmlformats.org/officeDocument/2006/relationships/image" Target="../media/image15.png"/></Relationships>
</file>

<file path=ppt/slideLayouts/_rels/slideLayout2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8.xml"/></Relationships>
</file>

<file path=ppt/slideLayouts/_rels/slideLayout2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8.xml"/></Relationships>
</file>

<file path=ppt/slideLayouts/_rels/slideLayout2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8.xml"/></Relationships>
</file>

<file path=ppt/slideLayouts/_rels/slideLayout2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6.svg"/><Relationship Id="rId2" Type="http://schemas.openxmlformats.org/officeDocument/2006/relationships/image" Target="../media/image55.png"/><Relationship Id="rId1" Type="http://schemas.openxmlformats.org/officeDocument/2006/relationships/slideMaster" Target="../slideMasters/slideMaster8.xml"/></Relationships>
</file>

<file path=ppt/slideLayouts/_rels/slideLayout2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8.svg"/><Relationship Id="rId2" Type="http://schemas.openxmlformats.org/officeDocument/2006/relationships/image" Target="../media/image57.png"/><Relationship Id="rId1" Type="http://schemas.openxmlformats.org/officeDocument/2006/relationships/slideMaster" Target="../slideMasters/slideMaster8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8.png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6.png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5.png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2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2.xml"/></Relationships>
</file>

<file path=ppt/slideLayouts/_rels/slideLayout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jpeg"/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27.png"/><Relationship Id="rId5" Type="http://schemas.openxmlformats.org/officeDocument/2006/relationships/image" Target="../media/image26.png"/><Relationship Id="rId4" Type="http://schemas.openxmlformats.org/officeDocument/2006/relationships/image" Target="../media/image25.png"/></Relationships>
</file>

<file path=ppt/slideLayouts/_rels/slideLayout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jpeg"/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jpeg"/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jpeg"/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jpeg"/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jpeg"/><Relationship Id="rId1" Type="http://schemas.openxmlformats.org/officeDocument/2006/relationships/slideMaster" Target="../slideMasters/slideMaster3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jpeg"/><Relationship Id="rId1" Type="http://schemas.openxmlformats.org/officeDocument/2006/relationships/slideMaster" Target="../slideMasters/slideMaster3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jpeg"/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jpeg"/><Relationship Id="rId1" Type="http://schemas.openxmlformats.org/officeDocument/2006/relationships/slideMaster" Target="../slideMasters/slideMaster3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jpeg"/><Relationship Id="rId1" Type="http://schemas.openxmlformats.org/officeDocument/2006/relationships/slideMaster" Target="../slideMasters/slideMaster3.xml"/></Relationships>
</file>

<file path=ppt/slideLayouts/_rels/slideLayout8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image" Target="../media/image39.jpeg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42.png"/><Relationship Id="rId4" Type="http://schemas.openxmlformats.org/officeDocument/2006/relationships/image" Target="../media/image41.png"/></Relationships>
</file>

<file path=ppt/slideLayouts/_rels/slideLayout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jpeg"/><Relationship Id="rId1" Type="http://schemas.openxmlformats.org/officeDocument/2006/relationships/slideMaster" Target="../slideMasters/slideMaster3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4.jpeg"/><Relationship Id="rId1" Type="http://schemas.openxmlformats.org/officeDocument/2006/relationships/slideMaster" Target="../slideMasters/slideMaster3.xml"/></Relationships>
</file>

<file path=ppt/slideLayouts/_rels/slideLayout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5.jpeg"/><Relationship Id="rId1" Type="http://schemas.openxmlformats.org/officeDocument/2006/relationships/slideMaster" Target="../slideMasters/slideMaster3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6.png"/><Relationship Id="rId1" Type="http://schemas.openxmlformats.org/officeDocument/2006/relationships/slideMaster" Target="../slideMasters/slideMaster3.xml"/></Relationships>
</file>

<file path=ppt/slideLayouts/_rels/slideLayout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7.png"/><Relationship Id="rId1" Type="http://schemas.openxmlformats.org/officeDocument/2006/relationships/slideMaster" Target="../slideMasters/slideMaster3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itle Slide" preserve="1" userDrawn="1">
  <p:cSld name="Title Slide">
    <p:bg>
      <p:bgPr>
        <a:solidFill>
          <a:schemeClr val="lt2"/>
        </a:solidFill>
        <a:effectLst/>
      </p:bgPr>
    </p:bg>
    <p:spTree>
      <p:nvGrpSpPr>
        <p:cNvPr id="1" name="Shape 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BD151278-EFE9-BA45-A974-3B6CA72F990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19667" y="3856567"/>
            <a:ext cx="3312584" cy="412751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2000" b="0" i="0">
                <a:solidFill>
                  <a:schemeClr val="tx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defRPr>
            </a:lvl1pPr>
            <a:lvl2pPr>
              <a:defRPr sz="2133" b="0" i="0">
                <a:solidFill>
                  <a:schemeClr val="tx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defRPr>
            </a:lvl2pPr>
            <a:lvl3pPr>
              <a:defRPr sz="2133" b="0" i="0">
                <a:solidFill>
                  <a:schemeClr val="tx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defRPr>
            </a:lvl3pPr>
            <a:lvl4pPr>
              <a:defRPr sz="2133" b="0" i="0">
                <a:solidFill>
                  <a:schemeClr val="tx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defRPr>
            </a:lvl4pPr>
            <a:lvl5pPr>
              <a:defRPr sz="2133" b="0" i="0">
                <a:solidFill>
                  <a:schemeClr val="tx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defRPr>
            </a:lvl5pPr>
          </a:lstStyle>
          <a:p>
            <a:pPr lvl="0"/>
            <a:r>
              <a:rPr lang="en-GB"/>
              <a:t>Lorem ipsum</a:t>
            </a:r>
            <a:endParaRPr lang="en-US"/>
          </a:p>
        </p:txBody>
      </p:sp>
      <p:pic>
        <p:nvPicPr>
          <p:cNvPr id="2" name="Picture 1" descr="A close up of a sign&#10;&#10;Description automatically generated">
            <a:extLst>
              <a:ext uri="{FF2B5EF4-FFF2-40B4-BE49-F238E27FC236}">
                <a16:creationId xmlns:a16="http://schemas.microsoft.com/office/drawing/2014/main" id="{C7C290BF-922A-8D40-A281-C883E1525E9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129963" y="2310511"/>
            <a:ext cx="7680768" cy="5504549"/>
          </a:xfrm>
          <a:prstGeom prst="rect">
            <a:avLst/>
          </a:prstGeom>
        </p:spPr>
      </p:pic>
      <p:sp>
        <p:nvSpPr>
          <p:cNvPr id="3" name="Google Shape;735;p181">
            <a:extLst>
              <a:ext uri="{FF2B5EF4-FFF2-40B4-BE49-F238E27FC236}">
                <a16:creationId xmlns:a16="http://schemas.microsoft.com/office/drawing/2014/main" id="{8A995F9F-CBE8-6D4F-A6C6-07F1D1840F96}"/>
              </a:ext>
            </a:extLst>
          </p:cNvPr>
          <p:cNvSpPr/>
          <p:nvPr userDrawn="1"/>
        </p:nvSpPr>
        <p:spPr>
          <a:xfrm>
            <a:off x="713229" y="661025"/>
            <a:ext cx="826145" cy="438900"/>
          </a:xfrm>
          <a:custGeom>
            <a:avLst/>
            <a:gdLst/>
            <a:ahLst/>
            <a:cxnLst/>
            <a:rect l="l" t="t" r="r" b="b"/>
            <a:pathLst>
              <a:path w="3456" h="1834" extrusionOk="0">
                <a:moveTo>
                  <a:pt x="2828" y="1362"/>
                </a:moveTo>
                <a:lnTo>
                  <a:pt x="2798" y="1364"/>
                </a:lnTo>
                <a:lnTo>
                  <a:pt x="2771" y="1371"/>
                </a:lnTo>
                <a:lnTo>
                  <a:pt x="2747" y="1384"/>
                </a:lnTo>
                <a:lnTo>
                  <a:pt x="2725" y="1400"/>
                </a:lnTo>
                <a:lnTo>
                  <a:pt x="2706" y="1419"/>
                </a:lnTo>
                <a:lnTo>
                  <a:pt x="2691" y="1441"/>
                </a:lnTo>
                <a:lnTo>
                  <a:pt x="2680" y="1465"/>
                </a:lnTo>
                <a:lnTo>
                  <a:pt x="2674" y="1492"/>
                </a:lnTo>
                <a:lnTo>
                  <a:pt x="2671" y="1521"/>
                </a:lnTo>
                <a:lnTo>
                  <a:pt x="2674" y="1549"/>
                </a:lnTo>
                <a:lnTo>
                  <a:pt x="2680" y="1577"/>
                </a:lnTo>
                <a:lnTo>
                  <a:pt x="2691" y="1601"/>
                </a:lnTo>
                <a:lnTo>
                  <a:pt x="2706" y="1623"/>
                </a:lnTo>
                <a:lnTo>
                  <a:pt x="2725" y="1642"/>
                </a:lnTo>
                <a:lnTo>
                  <a:pt x="2747" y="1658"/>
                </a:lnTo>
                <a:lnTo>
                  <a:pt x="2771" y="1669"/>
                </a:lnTo>
                <a:lnTo>
                  <a:pt x="2798" y="1677"/>
                </a:lnTo>
                <a:lnTo>
                  <a:pt x="2828" y="1680"/>
                </a:lnTo>
                <a:lnTo>
                  <a:pt x="2857" y="1677"/>
                </a:lnTo>
                <a:lnTo>
                  <a:pt x="2883" y="1669"/>
                </a:lnTo>
                <a:lnTo>
                  <a:pt x="2908" y="1658"/>
                </a:lnTo>
                <a:lnTo>
                  <a:pt x="2930" y="1642"/>
                </a:lnTo>
                <a:lnTo>
                  <a:pt x="2948" y="1623"/>
                </a:lnTo>
                <a:lnTo>
                  <a:pt x="2964" y="1601"/>
                </a:lnTo>
                <a:lnTo>
                  <a:pt x="2975" y="1577"/>
                </a:lnTo>
                <a:lnTo>
                  <a:pt x="2982" y="1549"/>
                </a:lnTo>
                <a:lnTo>
                  <a:pt x="2985" y="1521"/>
                </a:lnTo>
                <a:lnTo>
                  <a:pt x="2982" y="1492"/>
                </a:lnTo>
                <a:lnTo>
                  <a:pt x="2975" y="1465"/>
                </a:lnTo>
                <a:lnTo>
                  <a:pt x="2964" y="1441"/>
                </a:lnTo>
                <a:lnTo>
                  <a:pt x="2948" y="1419"/>
                </a:lnTo>
                <a:lnTo>
                  <a:pt x="2930" y="1400"/>
                </a:lnTo>
                <a:lnTo>
                  <a:pt x="2908" y="1384"/>
                </a:lnTo>
                <a:lnTo>
                  <a:pt x="2883" y="1371"/>
                </a:lnTo>
                <a:lnTo>
                  <a:pt x="2857" y="1364"/>
                </a:lnTo>
                <a:lnTo>
                  <a:pt x="2828" y="1362"/>
                </a:lnTo>
                <a:close/>
                <a:moveTo>
                  <a:pt x="977" y="1218"/>
                </a:moveTo>
                <a:lnTo>
                  <a:pt x="1129" y="1218"/>
                </a:lnTo>
                <a:lnTo>
                  <a:pt x="1129" y="1823"/>
                </a:lnTo>
                <a:lnTo>
                  <a:pt x="977" y="1823"/>
                </a:lnTo>
                <a:lnTo>
                  <a:pt x="977" y="1218"/>
                </a:lnTo>
                <a:close/>
                <a:moveTo>
                  <a:pt x="2828" y="1208"/>
                </a:moveTo>
                <a:lnTo>
                  <a:pt x="2873" y="1211"/>
                </a:lnTo>
                <a:lnTo>
                  <a:pt x="2916" y="1219"/>
                </a:lnTo>
                <a:lnTo>
                  <a:pt x="2955" y="1232"/>
                </a:lnTo>
                <a:lnTo>
                  <a:pt x="2992" y="1251"/>
                </a:lnTo>
                <a:lnTo>
                  <a:pt x="3026" y="1273"/>
                </a:lnTo>
                <a:lnTo>
                  <a:pt x="3056" y="1299"/>
                </a:lnTo>
                <a:lnTo>
                  <a:pt x="3082" y="1330"/>
                </a:lnTo>
                <a:lnTo>
                  <a:pt x="3104" y="1363"/>
                </a:lnTo>
                <a:lnTo>
                  <a:pt x="3121" y="1398"/>
                </a:lnTo>
                <a:lnTo>
                  <a:pt x="3134" y="1437"/>
                </a:lnTo>
                <a:lnTo>
                  <a:pt x="3142" y="1479"/>
                </a:lnTo>
                <a:lnTo>
                  <a:pt x="3145" y="1521"/>
                </a:lnTo>
                <a:lnTo>
                  <a:pt x="3142" y="1563"/>
                </a:lnTo>
                <a:lnTo>
                  <a:pt x="3134" y="1604"/>
                </a:lnTo>
                <a:lnTo>
                  <a:pt x="3121" y="1642"/>
                </a:lnTo>
                <a:lnTo>
                  <a:pt x="3104" y="1679"/>
                </a:lnTo>
                <a:lnTo>
                  <a:pt x="3082" y="1712"/>
                </a:lnTo>
                <a:lnTo>
                  <a:pt x="3056" y="1742"/>
                </a:lnTo>
                <a:lnTo>
                  <a:pt x="3026" y="1769"/>
                </a:lnTo>
                <a:lnTo>
                  <a:pt x="2992" y="1791"/>
                </a:lnTo>
                <a:lnTo>
                  <a:pt x="2955" y="1809"/>
                </a:lnTo>
                <a:lnTo>
                  <a:pt x="2916" y="1822"/>
                </a:lnTo>
                <a:lnTo>
                  <a:pt x="2873" y="1831"/>
                </a:lnTo>
                <a:lnTo>
                  <a:pt x="2828" y="1834"/>
                </a:lnTo>
                <a:lnTo>
                  <a:pt x="2783" y="1831"/>
                </a:lnTo>
                <a:lnTo>
                  <a:pt x="2740" y="1822"/>
                </a:lnTo>
                <a:lnTo>
                  <a:pt x="2700" y="1809"/>
                </a:lnTo>
                <a:lnTo>
                  <a:pt x="2663" y="1791"/>
                </a:lnTo>
                <a:lnTo>
                  <a:pt x="2630" y="1769"/>
                </a:lnTo>
                <a:lnTo>
                  <a:pt x="2599" y="1742"/>
                </a:lnTo>
                <a:lnTo>
                  <a:pt x="2573" y="1712"/>
                </a:lnTo>
                <a:lnTo>
                  <a:pt x="2551" y="1679"/>
                </a:lnTo>
                <a:lnTo>
                  <a:pt x="2534" y="1642"/>
                </a:lnTo>
                <a:lnTo>
                  <a:pt x="2521" y="1604"/>
                </a:lnTo>
                <a:lnTo>
                  <a:pt x="2513" y="1563"/>
                </a:lnTo>
                <a:lnTo>
                  <a:pt x="2510" y="1521"/>
                </a:lnTo>
                <a:lnTo>
                  <a:pt x="2513" y="1479"/>
                </a:lnTo>
                <a:lnTo>
                  <a:pt x="2521" y="1437"/>
                </a:lnTo>
                <a:lnTo>
                  <a:pt x="2534" y="1398"/>
                </a:lnTo>
                <a:lnTo>
                  <a:pt x="2551" y="1363"/>
                </a:lnTo>
                <a:lnTo>
                  <a:pt x="2573" y="1330"/>
                </a:lnTo>
                <a:lnTo>
                  <a:pt x="2599" y="1299"/>
                </a:lnTo>
                <a:lnTo>
                  <a:pt x="2630" y="1273"/>
                </a:lnTo>
                <a:lnTo>
                  <a:pt x="2663" y="1251"/>
                </a:lnTo>
                <a:lnTo>
                  <a:pt x="2700" y="1232"/>
                </a:lnTo>
                <a:lnTo>
                  <a:pt x="2740" y="1219"/>
                </a:lnTo>
                <a:lnTo>
                  <a:pt x="2783" y="1211"/>
                </a:lnTo>
                <a:lnTo>
                  <a:pt x="2828" y="1208"/>
                </a:lnTo>
                <a:close/>
                <a:moveTo>
                  <a:pt x="2213" y="1208"/>
                </a:moveTo>
                <a:lnTo>
                  <a:pt x="2242" y="1209"/>
                </a:lnTo>
                <a:lnTo>
                  <a:pt x="2268" y="1211"/>
                </a:lnTo>
                <a:lnTo>
                  <a:pt x="2292" y="1215"/>
                </a:lnTo>
                <a:lnTo>
                  <a:pt x="2312" y="1219"/>
                </a:lnTo>
                <a:lnTo>
                  <a:pt x="2329" y="1223"/>
                </a:lnTo>
                <a:lnTo>
                  <a:pt x="2343" y="1227"/>
                </a:lnTo>
                <a:lnTo>
                  <a:pt x="2351" y="1230"/>
                </a:lnTo>
                <a:lnTo>
                  <a:pt x="2351" y="1392"/>
                </a:lnTo>
                <a:lnTo>
                  <a:pt x="2346" y="1389"/>
                </a:lnTo>
                <a:lnTo>
                  <a:pt x="2335" y="1384"/>
                </a:lnTo>
                <a:lnTo>
                  <a:pt x="2321" y="1377"/>
                </a:lnTo>
                <a:lnTo>
                  <a:pt x="2302" y="1371"/>
                </a:lnTo>
                <a:lnTo>
                  <a:pt x="2279" y="1365"/>
                </a:lnTo>
                <a:lnTo>
                  <a:pt x="2253" y="1360"/>
                </a:lnTo>
                <a:lnTo>
                  <a:pt x="2223" y="1359"/>
                </a:lnTo>
                <a:lnTo>
                  <a:pt x="2192" y="1362"/>
                </a:lnTo>
                <a:lnTo>
                  <a:pt x="2163" y="1369"/>
                </a:lnTo>
                <a:lnTo>
                  <a:pt x="2136" y="1381"/>
                </a:lnTo>
                <a:lnTo>
                  <a:pt x="2113" y="1396"/>
                </a:lnTo>
                <a:lnTo>
                  <a:pt x="2095" y="1415"/>
                </a:lnTo>
                <a:lnTo>
                  <a:pt x="2079" y="1437"/>
                </a:lnTo>
                <a:lnTo>
                  <a:pt x="2067" y="1463"/>
                </a:lnTo>
                <a:lnTo>
                  <a:pt x="2060" y="1490"/>
                </a:lnTo>
                <a:lnTo>
                  <a:pt x="2058" y="1521"/>
                </a:lnTo>
                <a:lnTo>
                  <a:pt x="2060" y="1550"/>
                </a:lnTo>
                <a:lnTo>
                  <a:pt x="2066" y="1578"/>
                </a:lnTo>
                <a:lnTo>
                  <a:pt x="2078" y="1602"/>
                </a:lnTo>
                <a:lnTo>
                  <a:pt x="2093" y="1625"/>
                </a:lnTo>
                <a:lnTo>
                  <a:pt x="2112" y="1644"/>
                </a:lnTo>
                <a:lnTo>
                  <a:pt x="2135" y="1660"/>
                </a:lnTo>
                <a:lnTo>
                  <a:pt x="2162" y="1672"/>
                </a:lnTo>
                <a:lnTo>
                  <a:pt x="2191" y="1679"/>
                </a:lnTo>
                <a:lnTo>
                  <a:pt x="2223" y="1682"/>
                </a:lnTo>
                <a:lnTo>
                  <a:pt x="2253" y="1680"/>
                </a:lnTo>
                <a:lnTo>
                  <a:pt x="2279" y="1676"/>
                </a:lnTo>
                <a:lnTo>
                  <a:pt x="2301" y="1671"/>
                </a:lnTo>
                <a:lnTo>
                  <a:pt x="2321" y="1664"/>
                </a:lnTo>
                <a:lnTo>
                  <a:pt x="2335" y="1658"/>
                </a:lnTo>
                <a:lnTo>
                  <a:pt x="2346" y="1653"/>
                </a:lnTo>
                <a:lnTo>
                  <a:pt x="2351" y="1649"/>
                </a:lnTo>
                <a:lnTo>
                  <a:pt x="2351" y="1812"/>
                </a:lnTo>
                <a:lnTo>
                  <a:pt x="2339" y="1816"/>
                </a:lnTo>
                <a:lnTo>
                  <a:pt x="2322" y="1820"/>
                </a:lnTo>
                <a:lnTo>
                  <a:pt x="2300" y="1826"/>
                </a:lnTo>
                <a:lnTo>
                  <a:pt x="2275" y="1830"/>
                </a:lnTo>
                <a:lnTo>
                  <a:pt x="2245" y="1833"/>
                </a:lnTo>
                <a:lnTo>
                  <a:pt x="2213" y="1834"/>
                </a:lnTo>
                <a:lnTo>
                  <a:pt x="2174" y="1832"/>
                </a:lnTo>
                <a:lnTo>
                  <a:pt x="2136" y="1826"/>
                </a:lnTo>
                <a:lnTo>
                  <a:pt x="2100" y="1815"/>
                </a:lnTo>
                <a:lnTo>
                  <a:pt x="2065" y="1801"/>
                </a:lnTo>
                <a:lnTo>
                  <a:pt x="2033" y="1783"/>
                </a:lnTo>
                <a:lnTo>
                  <a:pt x="2002" y="1762"/>
                </a:lnTo>
                <a:lnTo>
                  <a:pt x="1975" y="1737"/>
                </a:lnTo>
                <a:lnTo>
                  <a:pt x="1952" y="1710"/>
                </a:lnTo>
                <a:lnTo>
                  <a:pt x="1931" y="1678"/>
                </a:lnTo>
                <a:lnTo>
                  <a:pt x="1915" y="1643"/>
                </a:lnTo>
                <a:lnTo>
                  <a:pt x="1903" y="1605"/>
                </a:lnTo>
                <a:lnTo>
                  <a:pt x="1896" y="1564"/>
                </a:lnTo>
                <a:lnTo>
                  <a:pt x="1892" y="1521"/>
                </a:lnTo>
                <a:lnTo>
                  <a:pt x="1896" y="1477"/>
                </a:lnTo>
                <a:lnTo>
                  <a:pt x="1904" y="1434"/>
                </a:lnTo>
                <a:lnTo>
                  <a:pt x="1917" y="1395"/>
                </a:lnTo>
                <a:lnTo>
                  <a:pt x="1934" y="1359"/>
                </a:lnTo>
                <a:lnTo>
                  <a:pt x="1957" y="1326"/>
                </a:lnTo>
                <a:lnTo>
                  <a:pt x="1984" y="1296"/>
                </a:lnTo>
                <a:lnTo>
                  <a:pt x="2014" y="1271"/>
                </a:lnTo>
                <a:lnTo>
                  <a:pt x="2047" y="1249"/>
                </a:lnTo>
                <a:lnTo>
                  <a:pt x="2085" y="1231"/>
                </a:lnTo>
                <a:lnTo>
                  <a:pt x="2125" y="1218"/>
                </a:lnTo>
                <a:lnTo>
                  <a:pt x="2168" y="1211"/>
                </a:lnTo>
                <a:lnTo>
                  <a:pt x="2213" y="1208"/>
                </a:lnTo>
                <a:close/>
                <a:moveTo>
                  <a:pt x="630" y="1208"/>
                </a:moveTo>
                <a:lnTo>
                  <a:pt x="660" y="1209"/>
                </a:lnTo>
                <a:lnTo>
                  <a:pt x="687" y="1211"/>
                </a:lnTo>
                <a:lnTo>
                  <a:pt x="711" y="1215"/>
                </a:lnTo>
                <a:lnTo>
                  <a:pt x="731" y="1219"/>
                </a:lnTo>
                <a:lnTo>
                  <a:pt x="748" y="1223"/>
                </a:lnTo>
                <a:lnTo>
                  <a:pt x="760" y="1227"/>
                </a:lnTo>
                <a:lnTo>
                  <a:pt x="769" y="1230"/>
                </a:lnTo>
                <a:lnTo>
                  <a:pt x="769" y="1392"/>
                </a:lnTo>
                <a:lnTo>
                  <a:pt x="763" y="1389"/>
                </a:lnTo>
                <a:lnTo>
                  <a:pt x="754" y="1384"/>
                </a:lnTo>
                <a:lnTo>
                  <a:pt x="739" y="1377"/>
                </a:lnTo>
                <a:lnTo>
                  <a:pt x="721" y="1371"/>
                </a:lnTo>
                <a:lnTo>
                  <a:pt x="697" y="1365"/>
                </a:lnTo>
                <a:lnTo>
                  <a:pt x="671" y="1360"/>
                </a:lnTo>
                <a:lnTo>
                  <a:pt x="642" y="1359"/>
                </a:lnTo>
                <a:lnTo>
                  <a:pt x="611" y="1362"/>
                </a:lnTo>
                <a:lnTo>
                  <a:pt x="581" y="1369"/>
                </a:lnTo>
                <a:lnTo>
                  <a:pt x="555" y="1381"/>
                </a:lnTo>
                <a:lnTo>
                  <a:pt x="532" y="1396"/>
                </a:lnTo>
                <a:lnTo>
                  <a:pt x="513" y="1415"/>
                </a:lnTo>
                <a:lnTo>
                  <a:pt x="497" y="1437"/>
                </a:lnTo>
                <a:lnTo>
                  <a:pt x="485" y="1463"/>
                </a:lnTo>
                <a:lnTo>
                  <a:pt x="479" y="1490"/>
                </a:lnTo>
                <a:lnTo>
                  <a:pt x="475" y="1521"/>
                </a:lnTo>
                <a:lnTo>
                  <a:pt x="479" y="1550"/>
                </a:lnTo>
                <a:lnTo>
                  <a:pt x="485" y="1578"/>
                </a:lnTo>
                <a:lnTo>
                  <a:pt x="496" y="1602"/>
                </a:lnTo>
                <a:lnTo>
                  <a:pt x="512" y="1625"/>
                </a:lnTo>
                <a:lnTo>
                  <a:pt x="531" y="1644"/>
                </a:lnTo>
                <a:lnTo>
                  <a:pt x="554" y="1660"/>
                </a:lnTo>
                <a:lnTo>
                  <a:pt x="580" y="1672"/>
                </a:lnTo>
                <a:lnTo>
                  <a:pt x="610" y="1679"/>
                </a:lnTo>
                <a:lnTo>
                  <a:pt x="642" y="1682"/>
                </a:lnTo>
                <a:lnTo>
                  <a:pt x="671" y="1680"/>
                </a:lnTo>
                <a:lnTo>
                  <a:pt x="697" y="1676"/>
                </a:lnTo>
                <a:lnTo>
                  <a:pt x="719" y="1671"/>
                </a:lnTo>
                <a:lnTo>
                  <a:pt x="738" y="1664"/>
                </a:lnTo>
                <a:lnTo>
                  <a:pt x="753" y="1658"/>
                </a:lnTo>
                <a:lnTo>
                  <a:pt x="763" y="1653"/>
                </a:lnTo>
                <a:lnTo>
                  <a:pt x="769" y="1649"/>
                </a:lnTo>
                <a:lnTo>
                  <a:pt x="769" y="1812"/>
                </a:lnTo>
                <a:lnTo>
                  <a:pt x="757" y="1816"/>
                </a:lnTo>
                <a:lnTo>
                  <a:pt x="740" y="1820"/>
                </a:lnTo>
                <a:lnTo>
                  <a:pt x="718" y="1826"/>
                </a:lnTo>
                <a:lnTo>
                  <a:pt x="692" y="1830"/>
                </a:lnTo>
                <a:lnTo>
                  <a:pt x="663" y="1833"/>
                </a:lnTo>
                <a:lnTo>
                  <a:pt x="630" y="1834"/>
                </a:lnTo>
                <a:lnTo>
                  <a:pt x="592" y="1832"/>
                </a:lnTo>
                <a:lnTo>
                  <a:pt x="554" y="1826"/>
                </a:lnTo>
                <a:lnTo>
                  <a:pt x="518" y="1815"/>
                </a:lnTo>
                <a:lnTo>
                  <a:pt x="484" y="1801"/>
                </a:lnTo>
                <a:lnTo>
                  <a:pt x="451" y="1783"/>
                </a:lnTo>
                <a:lnTo>
                  <a:pt x="421" y="1762"/>
                </a:lnTo>
                <a:lnTo>
                  <a:pt x="394" y="1737"/>
                </a:lnTo>
                <a:lnTo>
                  <a:pt x="370" y="1710"/>
                </a:lnTo>
                <a:lnTo>
                  <a:pt x="350" y="1678"/>
                </a:lnTo>
                <a:lnTo>
                  <a:pt x="333" y="1643"/>
                </a:lnTo>
                <a:lnTo>
                  <a:pt x="322" y="1605"/>
                </a:lnTo>
                <a:lnTo>
                  <a:pt x="314" y="1564"/>
                </a:lnTo>
                <a:lnTo>
                  <a:pt x="311" y="1521"/>
                </a:lnTo>
                <a:lnTo>
                  <a:pt x="314" y="1477"/>
                </a:lnTo>
                <a:lnTo>
                  <a:pt x="323" y="1434"/>
                </a:lnTo>
                <a:lnTo>
                  <a:pt x="335" y="1395"/>
                </a:lnTo>
                <a:lnTo>
                  <a:pt x="353" y="1359"/>
                </a:lnTo>
                <a:lnTo>
                  <a:pt x="375" y="1326"/>
                </a:lnTo>
                <a:lnTo>
                  <a:pt x="402" y="1296"/>
                </a:lnTo>
                <a:lnTo>
                  <a:pt x="433" y="1271"/>
                </a:lnTo>
                <a:lnTo>
                  <a:pt x="466" y="1249"/>
                </a:lnTo>
                <a:lnTo>
                  <a:pt x="503" y="1231"/>
                </a:lnTo>
                <a:lnTo>
                  <a:pt x="544" y="1218"/>
                </a:lnTo>
                <a:lnTo>
                  <a:pt x="585" y="1211"/>
                </a:lnTo>
                <a:lnTo>
                  <a:pt x="630" y="1208"/>
                </a:lnTo>
                <a:close/>
                <a:moveTo>
                  <a:pt x="1556" y="1208"/>
                </a:moveTo>
                <a:lnTo>
                  <a:pt x="1583" y="1209"/>
                </a:lnTo>
                <a:lnTo>
                  <a:pt x="1610" y="1211"/>
                </a:lnTo>
                <a:lnTo>
                  <a:pt x="1634" y="1213"/>
                </a:lnTo>
                <a:lnTo>
                  <a:pt x="1656" y="1217"/>
                </a:lnTo>
                <a:lnTo>
                  <a:pt x="1675" y="1220"/>
                </a:lnTo>
                <a:lnTo>
                  <a:pt x="1689" y="1223"/>
                </a:lnTo>
                <a:lnTo>
                  <a:pt x="1699" y="1226"/>
                </a:lnTo>
                <a:lnTo>
                  <a:pt x="1704" y="1227"/>
                </a:lnTo>
                <a:lnTo>
                  <a:pt x="1704" y="1356"/>
                </a:lnTo>
                <a:lnTo>
                  <a:pt x="1700" y="1355"/>
                </a:lnTo>
                <a:lnTo>
                  <a:pt x="1691" y="1353"/>
                </a:lnTo>
                <a:lnTo>
                  <a:pt x="1679" y="1350"/>
                </a:lnTo>
                <a:lnTo>
                  <a:pt x="1663" y="1347"/>
                </a:lnTo>
                <a:lnTo>
                  <a:pt x="1645" y="1343"/>
                </a:lnTo>
                <a:lnTo>
                  <a:pt x="1625" y="1340"/>
                </a:lnTo>
                <a:lnTo>
                  <a:pt x="1605" y="1338"/>
                </a:lnTo>
                <a:lnTo>
                  <a:pt x="1586" y="1337"/>
                </a:lnTo>
                <a:lnTo>
                  <a:pt x="1557" y="1339"/>
                </a:lnTo>
                <a:lnTo>
                  <a:pt x="1534" y="1344"/>
                </a:lnTo>
                <a:lnTo>
                  <a:pt x="1515" y="1351"/>
                </a:lnTo>
                <a:lnTo>
                  <a:pt x="1502" y="1362"/>
                </a:lnTo>
                <a:lnTo>
                  <a:pt x="1494" y="1373"/>
                </a:lnTo>
                <a:lnTo>
                  <a:pt x="1491" y="1387"/>
                </a:lnTo>
                <a:lnTo>
                  <a:pt x="1494" y="1402"/>
                </a:lnTo>
                <a:lnTo>
                  <a:pt x="1501" y="1413"/>
                </a:lnTo>
                <a:lnTo>
                  <a:pt x="1511" y="1423"/>
                </a:lnTo>
                <a:lnTo>
                  <a:pt x="1523" y="1430"/>
                </a:lnTo>
                <a:lnTo>
                  <a:pt x="1536" y="1436"/>
                </a:lnTo>
                <a:lnTo>
                  <a:pt x="1549" y="1441"/>
                </a:lnTo>
                <a:lnTo>
                  <a:pt x="1560" y="1445"/>
                </a:lnTo>
                <a:lnTo>
                  <a:pt x="1602" y="1458"/>
                </a:lnTo>
                <a:lnTo>
                  <a:pt x="1634" y="1470"/>
                </a:lnTo>
                <a:lnTo>
                  <a:pt x="1661" y="1484"/>
                </a:lnTo>
                <a:lnTo>
                  <a:pt x="1684" y="1501"/>
                </a:lnTo>
                <a:lnTo>
                  <a:pt x="1703" y="1519"/>
                </a:lnTo>
                <a:lnTo>
                  <a:pt x="1719" y="1539"/>
                </a:lnTo>
                <a:lnTo>
                  <a:pt x="1731" y="1560"/>
                </a:lnTo>
                <a:lnTo>
                  <a:pt x="1740" y="1583"/>
                </a:lnTo>
                <a:lnTo>
                  <a:pt x="1745" y="1606"/>
                </a:lnTo>
                <a:lnTo>
                  <a:pt x="1746" y="1630"/>
                </a:lnTo>
                <a:lnTo>
                  <a:pt x="1744" y="1664"/>
                </a:lnTo>
                <a:lnTo>
                  <a:pt x="1737" y="1694"/>
                </a:lnTo>
                <a:lnTo>
                  <a:pt x="1727" y="1720"/>
                </a:lnTo>
                <a:lnTo>
                  <a:pt x="1712" y="1744"/>
                </a:lnTo>
                <a:lnTo>
                  <a:pt x="1696" y="1764"/>
                </a:lnTo>
                <a:lnTo>
                  <a:pt x="1676" y="1781"/>
                </a:lnTo>
                <a:lnTo>
                  <a:pt x="1654" y="1796"/>
                </a:lnTo>
                <a:lnTo>
                  <a:pt x="1630" y="1809"/>
                </a:lnTo>
                <a:lnTo>
                  <a:pt x="1604" y="1818"/>
                </a:lnTo>
                <a:lnTo>
                  <a:pt x="1578" y="1826"/>
                </a:lnTo>
                <a:lnTo>
                  <a:pt x="1551" y="1830"/>
                </a:lnTo>
                <a:lnTo>
                  <a:pt x="1524" y="1833"/>
                </a:lnTo>
                <a:lnTo>
                  <a:pt x="1498" y="1834"/>
                </a:lnTo>
                <a:lnTo>
                  <a:pt x="1467" y="1833"/>
                </a:lnTo>
                <a:lnTo>
                  <a:pt x="1439" y="1832"/>
                </a:lnTo>
                <a:lnTo>
                  <a:pt x="1412" y="1829"/>
                </a:lnTo>
                <a:lnTo>
                  <a:pt x="1388" y="1827"/>
                </a:lnTo>
                <a:lnTo>
                  <a:pt x="1368" y="1823"/>
                </a:lnTo>
                <a:lnTo>
                  <a:pt x="1351" y="1820"/>
                </a:lnTo>
                <a:lnTo>
                  <a:pt x="1339" y="1818"/>
                </a:lnTo>
                <a:lnTo>
                  <a:pt x="1334" y="1817"/>
                </a:lnTo>
                <a:lnTo>
                  <a:pt x="1334" y="1678"/>
                </a:lnTo>
                <a:lnTo>
                  <a:pt x="1343" y="1680"/>
                </a:lnTo>
                <a:lnTo>
                  <a:pt x="1356" y="1684"/>
                </a:lnTo>
                <a:lnTo>
                  <a:pt x="1375" y="1688"/>
                </a:lnTo>
                <a:lnTo>
                  <a:pt x="1397" y="1693"/>
                </a:lnTo>
                <a:lnTo>
                  <a:pt x="1422" y="1697"/>
                </a:lnTo>
                <a:lnTo>
                  <a:pt x="1448" y="1700"/>
                </a:lnTo>
                <a:lnTo>
                  <a:pt x="1477" y="1701"/>
                </a:lnTo>
                <a:lnTo>
                  <a:pt x="1507" y="1699"/>
                </a:lnTo>
                <a:lnTo>
                  <a:pt x="1531" y="1696"/>
                </a:lnTo>
                <a:lnTo>
                  <a:pt x="1552" y="1690"/>
                </a:lnTo>
                <a:lnTo>
                  <a:pt x="1568" y="1681"/>
                </a:lnTo>
                <a:lnTo>
                  <a:pt x="1578" y="1671"/>
                </a:lnTo>
                <a:lnTo>
                  <a:pt x="1585" y="1658"/>
                </a:lnTo>
                <a:lnTo>
                  <a:pt x="1587" y="1644"/>
                </a:lnTo>
                <a:lnTo>
                  <a:pt x="1585" y="1629"/>
                </a:lnTo>
                <a:lnTo>
                  <a:pt x="1578" y="1618"/>
                </a:lnTo>
                <a:lnTo>
                  <a:pt x="1567" y="1607"/>
                </a:lnTo>
                <a:lnTo>
                  <a:pt x="1553" y="1598"/>
                </a:lnTo>
                <a:lnTo>
                  <a:pt x="1537" y="1590"/>
                </a:lnTo>
                <a:lnTo>
                  <a:pt x="1520" y="1584"/>
                </a:lnTo>
                <a:lnTo>
                  <a:pt x="1509" y="1581"/>
                </a:lnTo>
                <a:lnTo>
                  <a:pt x="1498" y="1577"/>
                </a:lnTo>
                <a:lnTo>
                  <a:pt x="1487" y="1574"/>
                </a:lnTo>
                <a:lnTo>
                  <a:pt x="1462" y="1565"/>
                </a:lnTo>
                <a:lnTo>
                  <a:pt x="1439" y="1555"/>
                </a:lnTo>
                <a:lnTo>
                  <a:pt x="1416" y="1542"/>
                </a:lnTo>
                <a:lnTo>
                  <a:pt x="1396" y="1528"/>
                </a:lnTo>
                <a:lnTo>
                  <a:pt x="1378" y="1512"/>
                </a:lnTo>
                <a:lnTo>
                  <a:pt x="1363" y="1494"/>
                </a:lnTo>
                <a:lnTo>
                  <a:pt x="1350" y="1473"/>
                </a:lnTo>
                <a:lnTo>
                  <a:pt x="1341" y="1451"/>
                </a:lnTo>
                <a:lnTo>
                  <a:pt x="1334" y="1425"/>
                </a:lnTo>
                <a:lnTo>
                  <a:pt x="1332" y="1396"/>
                </a:lnTo>
                <a:lnTo>
                  <a:pt x="1334" y="1364"/>
                </a:lnTo>
                <a:lnTo>
                  <a:pt x="1342" y="1333"/>
                </a:lnTo>
                <a:lnTo>
                  <a:pt x="1354" y="1306"/>
                </a:lnTo>
                <a:lnTo>
                  <a:pt x="1371" y="1281"/>
                </a:lnTo>
                <a:lnTo>
                  <a:pt x="1392" y="1259"/>
                </a:lnTo>
                <a:lnTo>
                  <a:pt x="1417" y="1241"/>
                </a:lnTo>
                <a:lnTo>
                  <a:pt x="1446" y="1227"/>
                </a:lnTo>
                <a:lnTo>
                  <a:pt x="1479" y="1216"/>
                </a:lnTo>
                <a:lnTo>
                  <a:pt x="1515" y="1210"/>
                </a:lnTo>
                <a:lnTo>
                  <a:pt x="1556" y="1208"/>
                </a:lnTo>
                <a:close/>
                <a:moveTo>
                  <a:pt x="3381" y="493"/>
                </a:moveTo>
                <a:lnTo>
                  <a:pt x="3400" y="496"/>
                </a:lnTo>
                <a:lnTo>
                  <a:pt x="3418" y="503"/>
                </a:lnTo>
                <a:lnTo>
                  <a:pt x="3434" y="515"/>
                </a:lnTo>
                <a:lnTo>
                  <a:pt x="3446" y="531"/>
                </a:lnTo>
                <a:lnTo>
                  <a:pt x="3453" y="548"/>
                </a:lnTo>
                <a:lnTo>
                  <a:pt x="3456" y="569"/>
                </a:lnTo>
                <a:lnTo>
                  <a:pt x="3456" y="727"/>
                </a:lnTo>
                <a:lnTo>
                  <a:pt x="3453" y="748"/>
                </a:lnTo>
                <a:lnTo>
                  <a:pt x="3446" y="766"/>
                </a:lnTo>
                <a:lnTo>
                  <a:pt x="3434" y="780"/>
                </a:lnTo>
                <a:lnTo>
                  <a:pt x="3418" y="793"/>
                </a:lnTo>
                <a:lnTo>
                  <a:pt x="3400" y="801"/>
                </a:lnTo>
                <a:lnTo>
                  <a:pt x="3381" y="803"/>
                </a:lnTo>
                <a:lnTo>
                  <a:pt x="3361" y="801"/>
                </a:lnTo>
                <a:lnTo>
                  <a:pt x="3343" y="793"/>
                </a:lnTo>
                <a:lnTo>
                  <a:pt x="3328" y="780"/>
                </a:lnTo>
                <a:lnTo>
                  <a:pt x="3316" y="766"/>
                </a:lnTo>
                <a:lnTo>
                  <a:pt x="3308" y="748"/>
                </a:lnTo>
                <a:lnTo>
                  <a:pt x="3306" y="727"/>
                </a:lnTo>
                <a:lnTo>
                  <a:pt x="3306" y="569"/>
                </a:lnTo>
                <a:lnTo>
                  <a:pt x="3308" y="548"/>
                </a:lnTo>
                <a:lnTo>
                  <a:pt x="3316" y="531"/>
                </a:lnTo>
                <a:lnTo>
                  <a:pt x="3328" y="515"/>
                </a:lnTo>
                <a:lnTo>
                  <a:pt x="3343" y="503"/>
                </a:lnTo>
                <a:lnTo>
                  <a:pt x="3361" y="496"/>
                </a:lnTo>
                <a:lnTo>
                  <a:pt x="3381" y="493"/>
                </a:lnTo>
                <a:close/>
                <a:moveTo>
                  <a:pt x="1728" y="493"/>
                </a:moveTo>
                <a:lnTo>
                  <a:pt x="1748" y="496"/>
                </a:lnTo>
                <a:lnTo>
                  <a:pt x="1766" y="503"/>
                </a:lnTo>
                <a:lnTo>
                  <a:pt x="1781" y="515"/>
                </a:lnTo>
                <a:lnTo>
                  <a:pt x="1793" y="531"/>
                </a:lnTo>
                <a:lnTo>
                  <a:pt x="1800" y="548"/>
                </a:lnTo>
                <a:lnTo>
                  <a:pt x="1803" y="569"/>
                </a:lnTo>
                <a:lnTo>
                  <a:pt x="1803" y="727"/>
                </a:lnTo>
                <a:lnTo>
                  <a:pt x="1800" y="748"/>
                </a:lnTo>
                <a:lnTo>
                  <a:pt x="1793" y="766"/>
                </a:lnTo>
                <a:lnTo>
                  <a:pt x="1781" y="780"/>
                </a:lnTo>
                <a:lnTo>
                  <a:pt x="1766" y="793"/>
                </a:lnTo>
                <a:lnTo>
                  <a:pt x="1748" y="801"/>
                </a:lnTo>
                <a:lnTo>
                  <a:pt x="1728" y="803"/>
                </a:lnTo>
                <a:lnTo>
                  <a:pt x="1708" y="801"/>
                </a:lnTo>
                <a:lnTo>
                  <a:pt x="1690" y="793"/>
                </a:lnTo>
                <a:lnTo>
                  <a:pt x="1675" y="780"/>
                </a:lnTo>
                <a:lnTo>
                  <a:pt x="1663" y="766"/>
                </a:lnTo>
                <a:lnTo>
                  <a:pt x="1656" y="748"/>
                </a:lnTo>
                <a:lnTo>
                  <a:pt x="1653" y="727"/>
                </a:lnTo>
                <a:lnTo>
                  <a:pt x="1653" y="569"/>
                </a:lnTo>
                <a:lnTo>
                  <a:pt x="1656" y="548"/>
                </a:lnTo>
                <a:lnTo>
                  <a:pt x="1663" y="531"/>
                </a:lnTo>
                <a:lnTo>
                  <a:pt x="1675" y="515"/>
                </a:lnTo>
                <a:lnTo>
                  <a:pt x="1690" y="503"/>
                </a:lnTo>
                <a:lnTo>
                  <a:pt x="1708" y="496"/>
                </a:lnTo>
                <a:lnTo>
                  <a:pt x="1728" y="493"/>
                </a:lnTo>
                <a:close/>
                <a:moveTo>
                  <a:pt x="75" y="493"/>
                </a:moveTo>
                <a:lnTo>
                  <a:pt x="95" y="496"/>
                </a:lnTo>
                <a:lnTo>
                  <a:pt x="113" y="503"/>
                </a:lnTo>
                <a:lnTo>
                  <a:pt x="129" y="515"/>
                </a:lnTo>
                <a:lnTo>
                  <a:pt x="140" y="531"/>
                </a:lnTo>
                <a:lnTo>
                  <a:pt x="148" y="548"/>
                </a:lnTo>
                <a:lnTo>
                  <a:pt x="151" y="569"/>
                </a:lnTo>
                <a:lnTo>
                  <a:pt x="151" y="727"/>
                </a:lnTo>
                <a:lnTo>
                  <a:pt x="148" y="748"/>
                </a:lnTo>
                <a:lnTo>
                  <a:pt x="140" y="766"/>
                </a:lnTo>
                <a:lnTo>
                  <a:pt x="129" y="780"/>
                </a:lnTo>
                <a:lnTo>
                  <a:pt x="113" y="793"/>
                </a:lnTo>
                <a:lnTo>
                  <a:pt x="95" y="801"/>
                </a:lnTo>
                <a:lnTo>
                  <a:pt x="75" y="803"/>
                </a:lnTo>
                <a:lnTo>
                  <a:pt x="56" y="801"/>
                </a:lnTo>
                <a:lnTo>
                  <a:pt x="38" y="793"/>
                </a:lnTo>
                <a:lnTo>
                  <a:pt x="22" y="780"/>
                </a:lnTo>
                <a:lnTo>
                  <a:pt x="10" y="766"/>
                </a:lnTo>
                <a:lnTo>
                  <a:pt x="3" y="748"/>
                </a:lnTo>
                <a:lnTo>
                  <a:pt x="0" y="727"/>
                </a:lnTo>
                <a:lnTo>
                  <a:pt x="0" y="569"/>
                </a:lnTo>
                <a:lnTo>
                  <a:pt x="3" y="548"/>
                </a:lnTo>
                <a:lnTo>
                  <a:pt x="10" y="531"/>
                </a:lnTo>
                <a:lnTo>
                  <a:pt x="22" y="515"/>
                </a:lnTo>
                <a:lnTo>
                  <a:pt x="38" y="503"/>
                </a:lnTo>
                <a:lnTo>
                  <a:pt x="56" y="496"/>
                </a:lnTo>
                <a:lnTo>
                  <a:pt x="75" y="493"/>
                </a:lnTo>
                <a:close/>
                <a:moveTo>
                  <a:pt x="2968" y="285"/>
                </a:moveTo>
                <a:lnTo>
                  <a:pt x="2988" y="287"/>
                </a:lnTo>
                <a:lnTo>
                  <a:pt x="3006" y="295"/>
                </a:lnTo>
                <a:lnTo>
                  <a:pt x="3021" y="307"/>
                </a:lnTo>
                <a:lnTo>
                  <a:pt x="3033" y="322"/>
                </a:lnTo>
                <a:lnTo>
                  <a:pt x="3040" y="340"/>
                </a:lnTo>
                <a:lnTo>
                  <a:pt x="3043" y="360"/>
                </a:lnTo>
                <a:lnTo>
                  <a:pt x="3043" y="727"/>
                </a:lnTo>
                <a:lnTo>
                  <a:pt x="3040" y="748"/>
                </a:lnTo>
                <a:lnTo>
                  <a:pt x="3033" y="766"/>
                </a:lnTo>
                <a:lnTo>
                  <a:pt x="3021" y="780"/>
                </a:lnTo>
                <a:lnTo>
                  <a:pt x="3006" y="793"/>
                </a:lnTo>
                <a:lnTo>
                  <a:pt x="2988" y="801"/>
                </a:lnTo>
                <a:lnTo>
                  <a:pt x="2968" y="803"/>
                </a:lnTo>
                <a:lnTo>
                  <a:pt x="2947" y="801"/>
                </a:lnTo>
                <a:lnTo>
                  <a:pt x="2929" y="793"/>
                </a:lnTo>
                <a:lnTo>
                  <a:pt x="2915" y="780"/>
                </a:lnTo>
                <a:lnTo>
                  <a:pt x="2903" y="766"/>
                </a:lnTo>
                <a:lnTo>
                  <a:pt x="2895" y="748"/>
                </a:lnTo>
                <a:lnTo>
                  <a:pt x="2893" y="727"/>
                </a:lnTo>
                <a:lnTo>
                  <a:pt x="2893" y="360"/>
                </a:lnTo>
                <a:lnTo>
                  <a:pt x="2895" y="340"/>
                </a:lnTo>
                <a:lnTo>
                  <a:pt x="2903" y="322"/>
                </a:lnTo>
                <a:lnTo>
                  <a:pt x="2915" y="307"/>
                </a:lnTo>
                <a:lnTo>
                  <a:pt x="2929" y="295"/>
                </a:lnTo>
                <a:lnTo>
                  <a:pt x="2947" y="287"/>
                </a:lnTo>
                <a:lnTo>
                  <a:pt x="2968" y="285"/>
                </a:lnTo>
                <a:close/>
                <a:moveTo>
                  <a:pt x="2142" y="285"/>
                </a:moveTo>
                <a:lnTo>
                  <a:pt x="2162" y="287"/>
                </a:lnTo>
                <a:lnTo>
                  <a:pt x="2179" y="295"/>
                </a:lnTo>
                <a:lnTo>
                  <a:pt x="2194" y="307"/>
                </a:lnTo>
                <a:lnTo>
                  <a:pt x="2207" y="322"/>
                </a:lnTo>
                <a:lnTo>
                  <a:pt x="2214" y="340"/>
                </a:lnTo>
                <a:lnTo>
                  <a:pt x="2216" y="360"/>
                </a:lnTo>
                <a:lnTo>
                  <a:pt x="2216" y="727"/>
                </a:lnTo>
                <a:lnTo>
                  <a:pt x="2214" y="748"/>
                </a:lnTo>
                <a:lnTo>
                  <a:pt x="2207" y="766"/>
                </a:lnTo>
                <a:lnTo>
                  <a:pt x="2194" y="780"/>
                </a:lnTo>
                <a:lnTo>
                  <a:pt x="2179" y="793"/>
                </a:lnTo>
                <a:lnTo>
                  <a:pt x="2162" y="801"/>
                </a:lnTo>
                <a:lnTo>
                  <a:pt x="2142" y="803"/>
                </a:lnTo>
                <a:lnTo>
                  <a:pt x="2122" y="801"/>
                </a:lnTo>
                <a:lnTo>
                  <a:pt x="2104" y="793"/>
                </a:lnTo>
                <a:lnTo>
                  <a:pt x="2088" y="780"/>
                </a:lnTo>
                <a:lnTo>
                  <a:pt x="2077" y="766"/>
                </a:lnTo>
                <a:lnTo>
                  <a:pt x="2069" y="748"/>
                </a:lnTo>
                <a:lnTo>
                  <a:pt x="2066" y="727"/>
                </a:lnTo>
                <a:lnTo>
                  <a:pt x="2066" y="360"/>
                </a:lnTo>
                <a:lnTo>
                  <a:pt x="2069" y="340"/>
                </a:lnTo>
                <a:lnTo>
                  <a:pt x="2077" y="322"/>
                </a:lnTo>
                <a:lnTo>
                  <a:pt x="2088" y="307"/>
                </a:lnTo>
                <a:lnTo>
                  <a:pt x="2104" y="295"/>
                </a:lnTo>
                <a:lnTo>
                  <a:pt x="2122" y="287"/>
                </a:lnTo>
                <a:lnTo>
                  <a:pt x="2142" y="285"/>
                </a:lnTo>
                <a:close/>
                <a:moveTo>
                  <a:pt x="1315" y="285"/>
                </a:moveTo>
                <a:lnTo>
                  <a:pt x="1335" y="287"/>
                </a:lnTo>
                <a:lnTo>
                  <a:pt x="1353" y="295"/>
                </a:lnTo>
                <a:lnTo>
                  <a:pt x="1368" y="307"/>
                </a:lnTo>
                <a:lnTo>
                  <a:pt x="1380" y="322"/>
                </a:lnTo>
                <a:lnTo>
                  <a:pt x="1388" y="340"/>
                </a:lnTo>
                <a:lnTo>
                  <a:pt x="1390" y="360"/>
                </a:lnTo>
                <a:lnTo>
                  <a:pt x="1390" y="727"/>
                </a:lnTo>
                <a:lnTo>
                  <a:pt x="1388" y="748"/>
                </a:lnTo>
                <a:lnTo>
                  <a:pt x="1380" y="766"/>
                </a:lnTo>
                <a:lnTo>
                  <a:pt x="1368" y="780"/>
                </a:lnTo>
                <a:lnTo>
                  <a:pt x="1353" y="793"/>
                </a:lnTo>
                <a:lnTo>
                  <a:pt x="1335" y="801"/>
                </a:lnTo>
                <a:lnTo>
                  <a:pt x="1315" y="803"/>
                </a:lnTo>
                <a:lnTo>
                  <a:pt x="1295" y="801"/>
                </a:lnTo>
                <a:lnTo>
                  <a:pt x="1277" y="793"/>
                </a:lnTo>
                <a:lnTo>
                  <a:pt x="1262" y="780"/>
                </a:lnTo>
                <a:lnTo>
                  <a:pt x="1250" y="766"/>
                </a:lnTo>
                <a:lnTo>
                  <a:pt x="1242" y="748"/>
                </a:lnTo>
                <a:lnTo>
                  <a:pt x="1240" y="727"/>
                </a:lnTo>
                <a:lnTo>
                  <a:pt x="1240" y="360"/>
                </a:lnTo>
                <a:lnTo>
                  <a:pt x="1242" y="340"/>
                </a:lnTo>
                <a:lnTo>
                  <a:pt x="1250" y="322"/>
                </a:lnTo>
                <a:lnTo>
                  <a:pt x="1262" y="307"/>
                </a:lnTo>
                <a:lnTo>
                  <a:pt x="1277" y="295"/>
                </a:lnTo>
                <a:lnTo>
                  <a:pt x="1295" y="287"/>
                </a:lnTo>
                <a:lnTo>
                  <a:pt x="1315" y="285"/>
                </a:lnTo>
                <a:close/>
                <a:moveTo>
                  <a:pt x="488" y="285"/>
                </a:moveTo>
                <a:lnTo>
                  <a:pt x="508" y="287"/>
                </a:lnTo>
                <a:lnTo>
                  <a:pt x="527" y="295"/>
                </a:lnTo>
                <a:lnTo>
                  <a:pt x="541" y="307"/>
                </a:lnTo>
                <a:lnTo>
                  <a:pt x="553" y="322"/>
                </a:lnTo>
                <a:lnTo>
                  <a:pt x="561" y="340"/>
                </a:lnTo>
                <a:lnTo>
                  <a:pt x="563" y="360"/>
                </a:lnTo>
                <a:lnTo>
                  <a:pt x="563" y="727"/>
                </a:lnTo>
                <a:lnTo>
                  <a:pt x="561" y="748"/>
                </a:lnTo>
                <a:lnTo>
                  <a:pt x="553" y="766"/>
                </a:lnTo>
                <a:lnTo>
                  <a:pt x="541" y="780"/>
                </a:lnTo>
                <a:lnTo>
                  <a:pt x="527" y="793"/>
                </a:lnTo>
                <a:lnTo>
                  <a:pt x="508" y="801"/>
                </a:lnTo>
                <a:lnTo>
                  <a:pt x="488" y="803"/>
                </a:lnTo>
                <a:lnTo>
                  <a:pt x="468" y="801"/>
                </a:lnTo>
                <a:lnTo>
                  <a:pt x="450" y="793"/>
                </a:lnTo>
                <a:lnTo>
                  <a:pt x="436" y="780"/>
                </a:lnTo>
                <a:lnTo>
                  <a:pt x="423" y="766"/>
                </a:lnTo>
                <a:lnTo>
                  <a:pt x="416" y="748"/>
                </a:lnTo>
                <a:lnTo>
                  <a:pt x="414" y="727"/>
                </a:lnTo>
                <a:lnTo>
                  <a:pt x="414" y="360"/>
                </a:lnTo>
                <a:lnTo>
                  <a:pt x="416" y="340"/>
                </a:lnTo>
                <a:lnTo>
                  <a:pt x="423" y="322"/>
                </a:lnTo>
                <a:lnTo>
                  <a:pt x="436" y="307"/>
                </a:lnTo>
                <a:lnTo>
                  <a:pt x="450" y="295"/>
                </a:lnTo>
                <a:lnTo>
                  <a:pt x="468" y="287"/>
                </a:lnTo>
                <a:lnTo>
                  <a:pt x="488" y="285"/>
                </a:lnTo>
                <a:close/>
                <a:moveTo>
                  <a:pt x="2555" y="0"/>
                </a:moveTo>
                <a:lnTo>
                  <a:pt x="2575" y="2"/>
                </a:lnTo>
                <a:lnTo>
                  <a:pt x="2593" y="10"/>
                </a:lnTo>
                <a:lnTo>
                  <a:pt x="2608" y="22"/>
                </a:lnTo>
                <a:lnTo>
                  <a:pt x="2619" y="37"/>
                </a:lnTo>
                <a:lnTo>
                  <a:pt x="2628" y="55"/>
                </a:lnTo>
                <a:lnTo>
                  <a:pt x="2630" y="75"/>
                </a:lnTo>
                <a:lnTo>
                  <a:pt x="2630" y="879"/>
                </a:lnTo>
                <a:lnTo>
                  <a:pt x="2628" y="899"/>
                </a:lnTo>
                <a:lnTo>
                  <a:pt x="2619" y="917"/>
                </a:lnTo>
                <a:lnTo>
                  <a:pt x="2608" y="931"/>
                </a:lnTo>
                <a:lnTo>
                  <a:pt x="2593" y="944"/>
                </a:lnTo>
                <a:lnTo>
                  <a:pt x="2575" y="951"/>
                </a:lnTo>
                <a:lnTo>
                  <a:pt x="2555" y="953"/>
                </a:lnTo>
                <a:lnTo>
                  <a:pt x="2535" y="951"/>
                </a:lnTo>
                <a:lnTo>
                  <a:pt x="2517" y="944"/>
                </a:lnTo>
                <a:lnTo>
                  <a:pt x="2502" y="931"/>
                </a:lnTo>
                <a:lnTo>
                  <a:pt x="2490" y="917"/>
                </a:lnTo>
                <a:lnTo>
                  <a:pt x="2483" y="899"/>
                </a:lnTo>
                <a:lnTo>
                  <a:pt x="2480" y="879"/>
                </a:lnTo>
                <a:lnTo>
                  <a:pt x="2480" y="75"/>
                </a:lnTo>
                <a:lnTo>
                  <a:pt x="2483" y="55"/>
                </a:lnTo>
                <a:lnTo>
                  <a:pt x="2490" y="37"/>
                </a:lnTo>
                <a:lnTo>
                  <a:pt x="2502" y="22"/>
                </a:lnTo>
                <a:lnTo>
                  <a:pt x="2517" y="10"/>
                </a:lnTo>
                <a:lnTo>
                  <a:pt x="2535" y="2"/>
                </a:lnTo>
                <a:lnTo>
                  <a:pt x="2555" y="0"/>
                </a:lnTo>
                <a:close/>
                <a:moveTo>
                  <a:pt x="902" y="0"/>
                </a:moveTo>
                <a:lnTo>
                  <a:pt x="922" y="2"/>
                </a:lnTo>
                <a:lnTo>
                  <a:pt x="939" y="10"/>
                </a:lnTo>
                <a:lnTo>
                  <a:pt x="955" y="22"/>
                </a:lnTo>
                <a:lnTo>
                  <a:pt x="967" y="37"/>
                </a:lnTo>
                <a:lnTo>
                  <a:pt x="974" y="55"/>
                </a:lnTo>
                <a:lnTo>
                  <a:pt x="977" y="75"/>
                </a:lnTo>
                <a:lnTo>
                  <a:pt x="977" y="879"/>
                </a:lnTo>
                <a:lnTo>
                  <a:pt x="974" y="899"/>
                </a:lnTo>
                <a:lnTo>
                  <a:pt x="967" y="917"/>
                </a:lnTo>
                <a:lnTo>
                  <a:pt x="955" y="931"/>
                </a:lnTo>
                <a:lnTo>
                  <a:pt x="939" y="944"/>
                </a:lnTo>
                <a:lnTo>
                  <a:pt x="922" y="951"/>
                </a:lnTo>
                <a:lnTo>
                  <a:pt x="902" y="953"/>
                </a:lnTo>
                <a:lnTo>
                  <a:pt x="882" y="951"/>
                </a:lnTo>
                <a:lnTo>
                  <a:pt x="864" y="944"/>
                </a:lnTo>
                <a:lnTo>
                  <a:pt x="848" y="931"/>
                </a:lnTo>
                <a:lnTo>
                  <a:pt x="837" y="917"/>
                </a:lnTo>
                <a:lnTo>
                  <a:pt x="829" y="899"/>
                </a:lnTo>
                <a:lnTo>
                  <a:pt x="826" y="879"/>
                </a:lnTo>
                <a:lnTo>
                  <a:pt x="826" y="75"/>
                </a:lnTo>
                <a:lnTo>
                  <a:pt x="829" y="55"/>
                </a:lnTo>
                <a:lnTo>
                  <a:pt x="837" y="37"/>
                </a:lnTo>
                <a:lnTo>
                  <a:pt x="848" y="22"/>
                </a:lnTo>
                <a:lnTo>
                  <a:pt x="864" y="10"/>
                </a:lnTo>
                <a:lnTo>
                  <a:pt x="882" y="2"/>
                </a:lnTo>
                <a:lnTo>
                  <a:pt x="902" y="0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spcFirstLastPara="1" wrap="square" lIns="121900" tIns="60933" rIns="121900" bIns="60933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2400" b="0" i="0" u="none" strike="noStrike" cap="none">
              <a:solidFill>
                <a:schemeClr val="tx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C7229477-EAC3-40F5-B1BE-2AB2EFB5842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666" y="2070101"/>
            <a:ext cx="4963585" cy="1441633"/>
          </a:xfrm>
        </p:spPr>
        <p:txBody>
          <a:bodyPr>
            <a:noAutofit/>
          </a:bodyPr>
          <a:lstStyle>
            <a:lvl1pPr>
              <a:defRPr sz="48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228FA3E3-32F7-49E3-B1E5-3925A1590B2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19667" y="4322233"/>
            <a:ext cx="3312584" cy="419099"/>
          </a:xfrm>
          <a:prstGeom prst="rect">
            <a:avLst/>
          </a:prstGeom>
        </p:spPr>
        <p:txBody>
          <a:bodyPr>
            <a:noAutofit/>
          </a:bodyPr>
          <a:lstStyle>
            <a:lvl1pPr marR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600"/>
              <a:buFont typeface="Arial"/>
              <a:defRPr lang="en-US" sz="1400" b="0" i="0" u="none" strike="noStrike" cap="none" dirty="0">
                <a:solidFill>
                  <a:schemeClr val="tx1"/>
                </a:solidFill>
                <a:latin typeface="CiscoSansTT ExtraLight" panose="020B0303020201020303" pitchFamily="34" charset="0"/>
                <a:ea typeface="Arial"/>
                <a:cs typeface="CiscoSansTT ExtraLight" panose="020B0303020201020303" pitchFamily="34" charset="0"/>
                <a:sym typeface="Arial"/>
              </a:defRPr>
            </a:lvl1pPr>
            <a:lvl2pPr>
              <a:defRPr sz="2133" b="0" i="0">
                <a:solidFill>
                  <a:schemeClr val="tx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defRPr>
            </a:lvl2pPr>
            <a:lvl3pPr>
              <a:defRPr sz="2133" b="0" i="0">
                <a:solidFill>
                  <a:schemeClr val="tx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defRPr>
            </a:lvl3pPr>
            <a:lvl4pPr>
              <a:defRPr sz="2133" b="0" i="0">
                <a:solidFill>
                  <a:schemeClr val="tx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defRPr>
            </a:lvl4pPr>
            <a:lvl5pPr>
              <a:defRPr sz="2133" b="0" i="0">
                <a:solidFill>
                  <a:schemeClr val="tx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defRPr>
            </a:lvl5pPr>
          </a:lstStyle>
          <a:p>
            <a:pPr lvl="0"/>
            <a:r>
              <a:rPr lang="en-GB"/>
              <a:t>00th of Month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9915176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8882533-A64D-440E-9224-3F3A545BC47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667" y="2070101"/>
            <a:ext cx="4131733" cy="1358900"/>
          </a:xfrm>
        </p:spPr>
        <p:txBody>
          <a:bodyPr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EBE1D6F3-D1FF-4C61-8EC0-77150412444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19667" y="3429000"/>
            <a:ext cx="4138082" cy="2692400"/>
          </a:xfr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349072438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and Content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832D9A9B-B135-4985-B11A-28D42D9F034F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927600" y="5306484"/>
            <a:ext cx="1168400" cy="1168400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>
                <a:noFill/>
              </a:defRPr>
            </a:lvl1pPr>
          </a:lstStyle>
          <a:p>
            <a:endParaRPr lang="en-US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157636CD-277F-4975-A395-D6CE18D6CA69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2" y="0"/>
            <a:ext cx="6547204" cy="6858000"/>
          </a:xfrm>
          <a:custGeom>
            <a:avLst/>
            <a:gdLst>
              <a:gd name="connsiteX0" fmla="*/ 0 w 4910403"/>
              <a:gd name="connsiteY0" fmla="*/ 0 h 5143500"/>
              <a:gd name="connsiteX1" fmla="*/ 2338653 w 4910403"/>
              <a:gd name="connsiteY1" fmla="*/ 0 h 5143500"/>
              <a:gd name="connsiteX2" fmla="*/ 4910403 w 4910403"/>
              <a:gd name="connsiteY2" fmla="*/ 2571750 h 5143500"/>
              <a:gd name="connsiteX3" fmla="*/ 2338653 w 4910403"/>
              <a:gd name="connsiteY3" fmla="*/ 5143500 h 5143500"/>
              <a:gd name="connsiteX4" fmla="*/ 0 w 4910403"/>
              <a:gd name="connsiteY4" fmla="*/ 5143500 h 5143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910403" h="5143500">
                <a:moveTo>
                  <a:pt x="0" y="0"/>
                </a:moveTo>
                <a:lnTo>
                  <a:pt x="2338653" y="0"/>
                </a:lnTo>
                <a:cubicBezTo>
                  <a:pt x="3758991" y="0"/>
                  <a:pt x="4910403" y="1151412"/>
                  <a:pt x="4910403" y="2571750"/>
                </a:cubicBezTo>
                <a:cubicBezTo>
                  <a:pt x="4910403" y="3992088"/>
                  <a:pt x="3758991" y="5143500"/>
                  <a:pt x="2338653" y="5143500"/>
                </a:cubicBezTo>
                <a:lnTo>
                  <a:pt x="0" y="5143500"/>
                </a:lnTo>
                <a:close/>
              </a:path>
            </a:pathLst>
          </a:custGeom>
          <a:solidFill>
            <a:srgbClr val="EDF1F6"/>
          </a:solidFill>
        </p:spPr>
        <p:txBody>
          <a:bodyPr wrap="square">
            <a:noAutofit/>
          </a:bodyPr>
          <a:lstStyle/>
          <a:p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6326DED-1CA6-478E-8CEC-675ED4202D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334250" y="709084"/>
            <a:ext cx="4138084" cy="1361016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8C3E427-5A91-4F5B-B77A-1EDFE15A7C7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334251" y="2524585"/>
            <a:ext cx="4138083" cy="359681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ED4116A-CF46-4004-B88C-DFA634D1B9F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7334250" y="6121402"/>
            <a:ext cx="4138084" cy="353484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55799567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int 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Picture Placeholder 20">
            <a:extLst>
              <a:ext uri="{FF2B5EF4-FFF2-40B4-BE49-F238E27FC236}">
                <a16:creationId xmlns:a16="http://schemas.microsoft.com/office/drawing/2014/main" id="{1D26312F-CA6A-45D5-9C6C-0228BE4FD2ED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393167" y="893967"/>
            <a:ext cx="1322400" cy="5964032"/>
          </a:xfrm>
          <a:custGeom>
            <a:avLst/>
            <a:gdLst>
              <a:gd name="connsiteX0" fmla="*/ 486101 w 991800"/>
              <a:gd name="connsiteY0" fmla="*/ 0 h 4473024"/>
              <a:gd name="connsiteX1" fmla="*/ 505699 w 991800"/>
              <a:gd name="connsiteY1" fmla="*/ 0 h 4473024"/>
              <a:gd name="connsiteX2" fmla="*/ 991800 w 991800"/>
              <a:gd name="connsiteY2" fmla="*/ 486101 h 4473024"/>
              <a:gd name="connsiteX3" fmla="*/ 991800 w 991800"/>
              <a:gd name="connsiteY3" fmla="*/ 4473024 h 4473024"/>
              <a:gd name="connsiteX4" fmla="*/ 0 w 991800"/>
              <a:gd name="connsiteY4" fmla="*/ 4473024 h 4473024"/>
              <a:gd name="connsiteX5" fmla="*/ 0 w 991800"/>
              <a:gd name="connsiteY5" fmla="*/ 486101 h 4473024"/>
              <a:gd name="connsiteX6" fmla="*/ 486101 w 991800"/>
              <a:gd name="connsiteY6" fmla="*/ 0 h 4473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991800" h="4473024">
                <a:moveTo>
                  <a:pt x="486101" y="0"/>
                </a:moveTo>
                <a:lnTo>
                  <a:pt x="505699" y="0"/>
                </a:lnTo>
                <a:cubicBezTo>
                  <a:pt x="774165" y="0"/>
                  <a:pt x="991800" y="217635"/>
                  <a:pt x="991800" y="486101"/>
                </a:cubicBezTo>
                <a:lnTo>
                  <a:pt x="991800" y="4473024"/>
                </a:lnTo>
                <a:lnTo>
                  <a:pt x="0" y="4473024"/>
                </a:lnTo>
                <a:lnTo>
                  <a:pt x="0" y="486101"/>
                </a:lnTo>
                <a:cubicBezTo>
                  <a:pt x="0" y="217635"/>
                  <a:pt x="217635" y="0"/>
                  <a:pt x="486101" y="0"/>
                </a:cubicBezTo>
                <a:close/>
              </a:path>
            </a:pathLst>
          </a:custGeom>
          <a:solidFill>
            <a:srgbClr val="EDF1F6"/>
          </a:solidFill>
        </p:spPr>
        <p:txBody>
          <a:bodyPr wrap="square">
            <a:noAutofit/>
          </a:bodyPr>
          <a:lstStyle>
            <a:lvl1pPr>
              <a:defRPr>
                <a:noFill/>
              </a:defRPr>
            </a:lvl1pPr>
          </a:lstStyle>
          <a:p>
            <a:endParaRPr lang="en-US"/>
          </a:p>
        </p:txBody>
      </p:sp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BCD01C55-168C-4557-8869-5CE381C20B48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711205" y="2"/>
            <a:ext cx="2421199" cy="3809900"/>
          </a:xfrm>
          <a:custGeom>
            <a:avLst/>
            <a:gdLst>
              <a:gd name="connsiteX0" fmla="*/ 0 w 1815899"/>
              <a:gd name="connsiteY0" fmla="*/ 0 h 2857425"/>
              <a:gd name="connsiteX1" fmla="*/ 1815899 w 1815899"/>
              <a:gd name="connsiteY1" fmla="*/ 0 h 2857425"/>
              <a:gd name="connsiteX2" fmla="*/ 1815899 w 1815899"/>
              <a:gd name="connsiteY2" fmla="*/ 1949475 h 2857425"/>
              <a:gd name="connsiteX3" fmla="*/ 907949 w 1815899"/>
              <a:gd name="connsiteY3" fmla="*/ 2857425 h 2857425"/>
              <a:gd name="connsiteX4" fmla="*/ 4687 w 1815899"/>
              <a:gd name="connsiteY4" fmla="*/ 2042308 h 2857425"/>
              <a:gd name="connsiteX5" fmla="*/ 0 w 1815899"/>
              <a:gd name="connsiteY5" fmla="*/ 1949495 h 28574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815899" h="2857425">
                <a:moveTo>
                  <a:pt x="0" y="0"/>
                </a:moveTo>
                <a:lnTo>
                  <a:pt x="1815899" y="0"/>
                </a:lnTo>
                <a:lnTo>
                  <a:pt x="1815899" y="1949475"/>
                </a:lnTo>
                <a:cubicBezTo>
                  <a:pt x="1815899" y="2450922"/>
                  <a:pt x="1409396" y="2857425"/>
                  <a:pt x="907949" y="2857425"/>
                </a:cubicBezTo>
                <a:cubicBezTo>
                  <a:pt x="437842" y="2857425"/>
                  <a:pt x="51183" y="2500147"/>
                  <a:pt x="4687" y="2042308"/>
                </a:cubicBezTo>
                <a:lnTo>
                  <a:pt x="0" y="1949495"/>
                </a:lnTo>
                <a:close/>
              </a:path>
            </a:pathLst>
          </a:custGeom>
          <a:solidFill>
            <a:srgbClr val="EDF1F6"/>
          </a:solidFill>
        </p:spPr>
        <p:txBody>
          <a:bodyPr wrap="square">
            <a:noAutofit/>
          </a:bodyPr>
          <a:lstStyle/>
          <a:p>
            <a:endParaRPr lang="en-US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C197C6C4-1E88-FF4D-A6EB-4648CAAEB1C7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833842" y="1509357"/>
            <a:ext cx="3639023" cy="861483"/>
          </a:xfrm>
          <a:prstGeom prst="rect">
            <a:avLst/>
          </a:prstGeom>
        </p:spPr>
        <p:txBody>
          <a:bodyPr anchor="ctr" anchorCtr="0">
            <a:normAutofit/>
          </a:bodyPr>
          <a:lstStyle>
            <a:lvl1pPr marL="0" marR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bg2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defRPr>
            </a:lvl1pPr>
            <a:lvl2pPr>
              <a:defRPr sz="1867"/>
            </a:lvl2pPr>
            <a:lvl3pPr>
              <a:defRPr sz="1867"/>
            </a:lvl3pPr>
            <a:lvl4pPr>
              <a:defRPr sz="1867"/>
            </a:lvl4pPr>
            <a:lvl5pPr>
              <a:defRPr sz="1867"/>
            </a:lvl5pPr>
          </a:lstStyle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lang="en-US" u="none" strike="noStrike" cap="none">
              <a:solidFill>
                <a:schemeClr val="tx1"/>
              </a:solidFill>
              <a:latin typeface="CiscoSansTT ExtraLight" panose="020B0303020201020303" pitchFamily="34" charset="0"/>
              <a:ea typeface="Helvetica Neue Light"/>
              <a:cs typeface="CiscoSansTT ExtraLight" panose="020B0303020201020303" pitchFamily="34" charset="0"/>
              <a:sym typeface="Helvetica Neue Light"/>
            </a:endParaRPr>
          </a:p>
        </p:txBody>
      </p:sp>
      <p:sp>
        <p:nvSpPr>
          <p:cNvPr id="14" name="Text Placeholder 12">
            <a:extLst>
              <a:ext uri="{FF2B5EF4-FFF2-40B4-BE49-F238E27FC236}">
                <a16:creationId xmlns:a16="http://schemas.microsoft.com/office/drawing/2014/main" id="{F8E33F91-D3E3-5348-9046-E8E44A70114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33842" y="2998260"/>
            <a:ext cx="3639023" cy="861483"/>
          </a:xfrm>
          <a:prstGeom prst="rect">
            <a:avLst/>
          </a:prstGeom>
        </p:spPr>
        <p:txBody>
          <a:bodyPr anchor="ctr" anchorCtr="0">
            <a:normAutofit/>
          </a:bodyPr>
          <a:lstStyle>
            <a:lvl1pPr marL="0" marR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bg2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defRPr>
            </a:lvl1pPr>
            <a:lvl2pPr>
              <a:defRPr sz="1867"/>
            </a:lvl2pPr>
            <a:lvl3pPr>
              <a:defRPr sz="1867"/>
            </a:lvl3pPr>
            <a:lvl4pPr>
              <a:defRPr sz="1867"/>
            </a:lvl4pPr>
            <a:lvl5pPr>
              <a:defRPr sz="1867"/>
            </a:lvl5pPr>
          </a:lstStyle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lang="en-US" u="none" strike="noStrike" cap="none">
              <a:solidFill>
                <a:schemeClr val="tx1"/>
              </a:solidFill>
              <a:latin typeface="CiscoSansTT ExtraLight" panose="020B0303020201020303" pitchFamily="34" charset="0"/>
              <a:ea typeface="Helvetica Neue Light"/>
              <a:cs typeface="CiscoSansTT ExtraLight" panose="020B0303020201020303" pitchFamily="34" charset="0"/>
              <a:sym typeface="Helvetica Neue Light"/>
            </a:endParaRPr>
          </a:p>
        </p:txBody>
      </p:sp>
      <p:sp>
        <p:nvSpPr>
          <p:cNvPr id="15" name="Text Placeholder 12">
            <a:extLst>
              <a:ext uri="{FF2B5EF4-FFF2-40B4-BE49-F238E27FC236}">
                <a16:creationId xmlns:a16="http://schemas.microsoft.com/office/drawing/2014/main" id="{1F3FE1AB-0D7D-E34F-B442-EB54DC668994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7833842" y="4515277"/>
            <a:ext cx="3639023" cy="861483"/>
          </a:xfrm>
          <a:prstGeom prst="rect">
            <a:avLst/>
          </a:prstGeom>
        </p:spPr>
        <p:txBody>
          <a:bodyPr anchor="ctr" anchorCtr="0">
            <a:normAutofit/>
          </a:bodyPr>
          <a:lstStyle>
            <a:lvl1pPr marL="0" marR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bg2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defRPr>
            </a:lvl1pPr>
            <a:lvl2pPr>
              <a:defRPr sz="1867"/>
            </a:lvl2pPr>
            <a:lvl3pPr>
              <a:defRPr sz="1867"/>
            </a:lvl3pPr>
            <a:lvl4pPr>
              <a:defRPr sz="1867"/>
            </a:lvl4pPr>
            <a:lvl5pPr>
              <a:defRPr sz="1867"/>
            </a:lvl5pPr>
          </a:lstStyle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lang="en-US" u="none" strike="noStrike" cap="none">
              <a:solidFill>
                <a:schemeClr val="tx1"/>
              </a:solidFill>
              <a:latin typeface="CiscoSansTT ExtraLight" panose="020B0303020201020303" pitchFamily="34" charset="0"/>
              <a:ea typeface="Helvetica Neue Light"/>
              <a:cs typeface="CiscoSansTT ExtraLight" panose="020B0303020201020303" pitchFamily="34" charset="0"/>
              <a:sym typeface="Helvetica Neue Light"/>
            </a:endParaRPr>
          </a:p>
        </p:txBody>
      </p:sp>
      <p:sp>
        <p:nvSpPr>
          <p:cNvPr id="18" name="Picture Placeholder 17">
            <a:extLst>
              <a:ext uri="{FF2B5EF4-FFF2-40B4-BE49-F238E27FC236}">
                <a16:creationId xmlns:a16="http://schemas.microsoft.com/office/drawing/2014/main" id="{84D09F35-CDD7-40E9-B917-41C86FE1F940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704633" y="1595780"/>
            <a:ext cx="699467" cy="688637"/>
          </a:xfrm>
          <a:prstGeom prst="ellipse">
            <a:avLst/>
          </a:prstGeom>
          <a:solidFill>
            <a:schemeClr val="bg1"/>
          </a:solidFill>
          <a:ln w="101600">
            <a:solidFill>
              <a:schemeClr val="bg1"/>
            </a:solidFill>
          </a:ln>
        </p:spPr>
        <p:txBody>
          <a:bodyPr/>
          <a:lstStyle>
            <a:lvl1pPr>
              <a:defRPr>
                <a:noFill/>
              </a:defRPr>
            </a:lvl1pPr>
          </a:lstStyle>
          <a:p>
            <a:endParaRPr lang="en-US"/>
          </a:p>
        </p:txBody>
      </p:sp>
      <p:sp>
        <p:nvSpPr>
          <p:cNvPr id="19" name="Picture Placeholder 17">
            <a:extLst>
              <a:ext uri="{FF2B5EF4-FFF2-40B4-BE49-F238E27FC236}">
                <a16:creationId xmlns:a16="http://schemas.microsoft.com/office/drawing/2014/main" id="{EAC09DE8-D1C7-404C-AAB0-4968B9C8377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704633" y="3098740"/>
            <a:ext cx="699467" cy="688637"/>
          </a:xfrm>
          <a:prstGeom prst="ellipse">
            <a:avLst/>
          </a:prstGeom>
          <a:solidFill>
            <a:schemeClr val="bg1"/>
          </a:solidFill>
          <a:ln w="101600">
            <a:solidFill>
              <a:schemeClr val="bg1"/>
            </a:solidFill>
          </a:ln>
        </p:spPr>
        <p:txBody>
          <a:bodyPr/>
          <a:lstStyle>
            <a:lvl1pPr>
              <a:defRPr>
                <a:noFill/>
              </a:defRPr>
            </a:lvl1pPr>
          </a:lstStyle>
          <a:p>
            <a:endParaRPr lang="en-US"/>
          </a:p>
        </p:txBody>
      </p:sp>
      <p:sp>
        <p:nvSpPr>
          <p:cNvPr id="20" name="Picture Placeholder 17">
            <a:extLst>
              <a:ext uri="{FF2B5EF4-FFF2-40B4-BE49-F238E27FC236}">
                <a16:creationId xmlns:a16="http://schemas.microsoft.com/office/drawing/2014/main" id="{B5066F44-6BA8-4DF5-A2BD-5E2192D7EC56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6704633" y="4601700"/>
            <a:ext cx="699467" cy="688637"/>
          </a:xfrm>
          <a:prstGeom prst="ellipse">
            <a:avLst/>
          </a:prstGeom>
          <a:solidFill>
            <a:schemeClr val="bg1"/>
          </a:solidFill>
          <a:ln w="101600">
            <a:solidFill>
              <a:schemeClr val="bg1"/>
            </a:solidFill>
          </a:ln>
        </p:spPr>
        <p:txBody>
          <a:bodyPr/>
          <a:lstStyle>
            <a:lvl1pPr>
              <a:defRPr>
                <a:noFill/>
              </a:defRPr>
            </a:lvl1pPr>
          </a:lstStyle>
          <a:p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35F4FBF-1C16-4019-96AE-593F2EB4B81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669" y="4322234"/>
            <a:ext cx="4529667" cy="179916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FEBB6A2-738C-42B5-8F61-FE9334B0E5E6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>
          <a:xfrm>
            <a:off x="7833311" y="6121402"/>
            <a:ext cx="3639023" cy="353484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03850225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duct Showca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3">
            <a:extLst>
              <a:ext uri="{FF2B5EF4-FFF2-40B4-BE49-F238E27FC236}">
                <a16:creationId xmlns:a16="http://schemas.microsoft.com/office/drawing/2014/main" id="{87D1745F-7441-4EF3-A130-8C453490C22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334251" y="2937935"/>
            <a:ext cx="4138083" cy="833967"/>
          </a:xfrm>
        </p:spPr>
        <p:txBody>
          <a:bodyPr>
            <a:noAutofit/>
          </a:bodyPr>
          <a:lstStyle>
            <a:lvl1pPr>
              <a:defRPr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Text Placeholder 13">
            <a:extLst>
              <a:ext uri="{FF2B5EF4-FFF2-40B4-BE49-F238E27FC236}">
                <a16:creationId xmlns:a16="http://schemas.microsoft.com/office/drawing/2014/main" id="{E674CEC4-E67F-1248-A499-B15645D72FA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334252" y="3856567"/>
            <a:ext cx="4138083" cy="3683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 b="0" i="0">
                <a:solidFill>
                  <a:schemeClr val="accent1"/>
                </a:solidFill>
                <a:latin typeface="+mn-lt"/>
                <a:cs typeface="CiscoSansTT ExtraLight" panose="020B0303020201020303" pitchFamily="34" charset="0"/>
              </a:defRPr>
            </a:lvl1pPr>
          </a:lstStyle>
          <a:p>
            <a:pPr>
              <a:lnSpc>
                <a:spcPct val="115000"/>
              </a:lnSpc>
            </a:pPr>
            <a:endParaRPr lang="en-US">
              <a:solidFill>
                <a:schemeClr val="accent1"/>
              </a:solidFill>
              <a:latin typeface="CiscoSansTT ExtraLight" panose="020B0303020201020303" pitchFamily="34" charset="0"/>
              <a:cs typeface="CiscoSansTT ExtraLight" panose="020B0303020201020303" pitchFamily="34" charset="0"/>
              <a:sym typeface="Helvetica Neue Light"/>
            </a:endParaRPr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4962D45B-C6EB-254C-834A-83FDBA682DF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334252" y="2518835"/>
            <a:ext cx="4138083" cy="3683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 b="0" i="0">
                <a:solidFill>
                  <a:schemeClr val="accent1"/>
                </a:solidFill>
                <a:latin typeface="+mn-lt"/>
                <a:cs typeface="CiscoSansTT ExtraLight" panose="020B0303020201020303" pitchFamily="34" charset="0"/>
              </a:defRPr>
            </a:lvl1pPr>
          </a:lstStyle>
          <a:p>
            <a:pPr>
              <a:lnSpc>
                <a:spcPct val="115000"/>
              </a:lnSpc>
            </a:pPr>
            <a:endParaRPr lang="en-US">
              <a:solidFill>
                <a:schemeClr val="accent1"/>
              </a:solidFill>
              <a:latin typeface="CiscoSansTT ExtraLight" panose="020B0303020201020303" pitchFamily="34" charset="0"/>
              <a:cs typeface="CiscoSansTT ExtraLight" panose="020B0303020201020303" pitchFamily="34" charset="0"/>
              <a:sym typeface="Helvetica Neue Light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9A02D8B-89F4-4618-BDD2-D9ABD27D9F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334252" y="709084"/>
            <a:ext cx="4138083" cy="1361016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E30E99D0-CB64-46C5-AB05-E49F19D237D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334251" y="4269318"/>
            <a:ext cx="4138083" cy="833967"/>
          </a:xfrm>
        </p:spPr>
        <p:txBody>
          <a:bodyPr>
            <a:noAutofit/>
          </a:bodyPr>
          <a:lstStyle>
            <a:lvl1pPr>
              <a:defRPr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FF2958B-ECB9-4474-B920-1D74DD1E8BDF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7334251" y="6121402"/>
            <a:ext cx="4138083" cy="353484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03695050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100F3F9D-2E2B-4B92-9723-00F12CB5D7B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1989" cy="6858000"/>
          </a:xfrm>
          <a:prstGeom prst="rect">
            <a:avLst/>
          </a:prstGeom>
          <a:solidFill>
            <a:srgbClr val="EDF1F6"/>
          </a:solidFill>
        </p:spPr>
        <p:txBody>
          <a:bodyPr/>
          <a:lstStyle>
            <a:lvl1pPr>
              <a:defRPr>
                <a:noFill/>
              </a:defRPr>
            </a:lvl1pPr>
          </a:lstStyle>
          <a:p>
            <a:endParaRPr lang="en-US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51720427-F808-43DE-A913-D4F7F53E551D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2" y="0"/>
            <a:ext cx="12196233" cy="6858000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>
                <a:noFill/>
              </a:defRPr>
            </a:lvl1pPr>
          </a:lstStyle>
          <a:p>
            <a:endParaRPr lang="en-US"/>
          </a:p>
        </p:txBody>
      </p:sp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5634DC94-63CE-4DDF-8051-D07C98B07344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239844" y="1094637"/>
            <a:ext cx="566661" cy="462027"/>
          </a:xfrm>
          <a:prstGeom prst="rect">
            <a:avLst/>
          </a:prstGeom>
          <a:blipFill>
            <a:blip r:embed="rId3"/>
            <a:stretch>
              <a:fillRect/>
            </a:stretch>
          </a:blipFill>
        </p:spPr>
        <p:txBody>
          <a:bodyPr/>
          <a:lstStyle>
            <a:lvl1pPr>
              <a:defRPr>
                <a:noFill/>
              </a:defRPr>
            </a:lvl1pPr>
          </a:lstStyle>
          <a:p>
            <a:endParaRPr lang="en-US"/>
          </a:p>
        </p:txBody>
      </p:sp>
      <p:sp>
        <p:nvSpPr>
          <p:cNvPr id="8" name="Text Placeholder 9">
            <a:extLst>
              <a:ext uri="{FF2B5EF4-FFF2-40B4-BE49-F238E27FC236}">
                <a16:creationId xmlns:a16="http://schemas.microsoft.com/office/drawing/2014/main" id="{7026F21A-7268-2643-AFAB-66A39B9C6E3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927045" y="1413720"/>
            <a:ext cx="5114800" cy="248494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 i="0">
                <a:solidFill>
                  <a:schemeClr val="bg1"/>
                </a:solidFill>
                <a:latin typeface="+mn-lt"/>
                <a:cs typeface="CiscoSansTT ExtraLight" panose="020B0303020201020303" pitchFamily="34" charset="0"/>
              </a:defRPr>
            </a:lvl1pPr>
          </a:lstStyle>
          <a:p>
            <a:pPr lvl="0"/>
            <a:r>
              <a:rPr lang="en-GB"/>
              <a:t>Click to add title</a:t>
            </a:r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0A1A6A2-D12D-4F94-831A-110B03FB0349}"/>
              </a:ext>
            </a:extLst>
          </p:cNvPr>
          <p:cNvSpPr/>
          <p:nvPr userDrawn="1"/>
        </p:nvSpPr>
        <p:spPr>
          <a:xfrm>
            <a:off x="-1" y="-844774"/>
            <a:ext cx="12196233" cy="749580"/>
          </a:xfrm>
          <a:prstGeom prst="rect">
            <a:avLst/>
          </a:prstGeom>
          <a:solidFill>
            <a:srgbClr val="EDF1F6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2000">
                <a:solidFill>
                  <a:schemeClr val="tx1"/>
                </a:solidFill>
              </a:rPr>
              <a:t>PLEASE NOTE:</a:t>
            </a:r>
          </a:p>
          <a:p>
            <a:pPr algn="ctr"/>
            <a:r>
              <a:rPr lang="en-US" sz="2000">
                <a:solidFill>
                  <a:schemeClr val="tx1"/>
                </a:solidFill>
              </a:rPr>
              <a:t>In order to insert an image into the background, simply drag and drop your image onto the slid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000DF17-0FE2-45AC-88F3-D7985248F79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927045" y="4170143"/>
            <a:ext cx="5114800" cy="230717"/>
          </a:xfrm>
        </p:spPr>
        <p:txBody>
          <a:bodyPr/>
          <a:lstStyle>
            <a:lvl1pPr>
              <a:defRPr b="1">
                <a:solidFill>
                  <a:schemeClr val="bg1"/>
                </a:solidFill>
                <a:latin typeface="CiscoSansTT" panose="020B0503020201020303" pitchFamily="34" charset="0"/>
                <a:cs typeface="CiscoSansTT" panose="020B0503020201020303" pitchFamily="34" charset="0"/>
              </a:defRPr>
            </a:lvl1pPr>
          </a:lstStyle>
          <a:p>
            <a:pPr lvl="0"/>
            <a:r>
              <a:rPr lang="en-US"/>
              <a:t>Insert sourc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E6418332-ECF9-4198-95C4-2DB2ACE9043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927226" y="4427065"/>
            <a:ext cx="5114620" cy="345017"/>
          </a:xfrm>
        </p:spPr>
        <p:txBody>
          <a:bodyPr/>
          <a:lstStyle>
            <a:lvl1pPr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Insert additional</a:t>
            </a:r>
          </a:p>
        </p:txBody>
      </p:sp>
    </p:spTree>
    <p:extLst>
      <p:ext uri="{BB962C8B-B14F-4D97-AF65-F5344CB8AC3E}">
        <p14:creationId xmlns:p14="http://schemas.microsoft.com/office/powerpoint/2010/main" val="1929754973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int Lis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683FEB4F-58F8-4354-899B-D9018B1F3352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196668" y="1308101"/>
            <a:ext cx="908267" cy="908267"/>
          </a:xfrm>
          <a:prstGeom prst="ellipse">
            <a:avLst/>
          </a:prstGeom>
          <a:solidFill>
            <a:schemeClr val="bg1"/>
          </a:solidFill>
          <a:ln w="101600">
            <a:solidFill>
              <a:srgbClr val="EDF1F6"/>
            </a:solidFill>
          </a:ln>
        </p:spPr>
        <p:txBody>
          <a:bodyPr/>
          <a:lstStyle>
            <a:lvl1pPr>
              <a:defRPr>
                <a:noFill/>
              </a:defRPr>
            </a:lvl1pPr>
          </a:lstStyle>
          <a:p>
            <a:endParaRPr lang="en-US"/>
          </a:p>
        </p:txBody>
      </p:sp>
      <p:sp>
        <p:nvSpPr>
          <p:cNvPr id="17" name="Picture Placeholder 3">
            <a:extLst>
              <a:ext uri="{FF2B5EF4-FFF2-40B4-BE49-F238E27FC236}">
                <a16:creationId xmlns:a16="http://schemas.microsoft.com/office/drawing/2014/main" id="{B9C52DC1-92ED-4A1C-8323-59E017948D65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96668" y="3016252"/>
            <a:ext cx="908267" cy="908267"/>
          </a:xfrm>
          <a:prstGeom prst="ellipse">
            <a:avLst/>
          </a:prstGeom>
          <a:solidFill>
            <a:schemeClr val="bg1"/>
          </a:solidFill>
          <a:ln w="101600">
            <a:solidFill>
              <a:srgbClr val="EDF1F6"/>
            </a:solidFill>
          </a:ln>
        </p:spPr>
        <p:txBody>
          <a:bodyPr/>
          <a:lstStyle>
            <a:lvl1pPr>
              <a:defRPr>
                <a:noFill/>
              </a:defRPr>
            </a:lvl1pPr>
          </a:lstStyle>
          <a:p>
            <a:endParaRPr lang="en-US"/>
          </a:p>
        </p:txBody>
      </p:sp>
      <p:sp>
        <p:nvSpPr>
          <p:cNvPr id="18" name="Picture Placeholder 3">
            <a:extLst>
              <a:ext uri="{FF2B5EF4-FFF2-40B4-BE49-F238E27FC236}">
                <a16:creationId xmlns:a16="http://schemas.microsoft.com/office/drawing/2014/main" id="{76BB0C0A-8B0F-4ADD-8E7B-B5EA9F5B3EA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196668" y="4692652"/>
            <a:ext cx="908267" cy="908267"/>
          </a:xfrm>
          <a:prstGeom prst="ellipse">
            <a:avLst/>
          </a:prstGeom>
          <a:solidFill>
            <a:schemeClr val="bg1"/>
          </a:solidFill>
          <a:ln w="101600">
            <a:solidFill>
              <a:srgbClr val="EDF1F6"/>
            </a:solidFill>
          </a:ln>
        </p:spPr>
        <p:txBody>
          <a:bodyPr/>
          <a:lstStyle>
            <a:lvl1pPr>
              <a:defRPr>
                <a:noFill/>
              </a:defRPr>
            </a:lvl1pPr>
          </a:lstStyle>
          <a:p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F7DBFB5-9577-4ABC-B732-55CCAD4F755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668" y="1612901"/>
            <a:ext cx="4131733" cy="1354139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21EB2C73-2A86-43AD-B83E-621B8E97D29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19667" y="3416301"/>
            <a:ext cx="4138083" cy="2705100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Text Placeholder 12">
            <a:extLst>
              <a:ext uri="{FF2B5EF4-FFF2-40B4-BE49-F238E27FC236}">
                <a16:creationId xmlns:a16="http://schemas.microsoft.com/office/drawing/2014/main" id="{DDA114D9-1A55-4FC6-B09C-591F531C4B6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370291" y="1331493"/>
            <a:ext cx="4102572" cy="861483"/>
          </a:xfrm>
          <a:prstGeom prst="rect">
            <a:avLst/>
          </a:prstGeom>
        </p:spPr>
        <p:txBody>
          <a:bodyPr anchor="ctr" anchorCtr="0">
            <a:normAutofit/>
          </a:bodyPr>
          <a:lstStyle>
            <a:lvl1pPr marL="0" marR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bg2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defRPr>
            </a:lvl1pPr>
            <a:lvl2pPr>
              <a:defRPr sz="1867"/>
            </a:lvl2pPr>
            <a:lvl3pPr>
              <a:defRPr sz="1867"/>
            </a:lvl3pPr>
            <a:lvl4pPr>
              <a:defRPr sz="1867"/>
            </a:lvl4pPr>
            <a:lvl5pPr>
              <a:defRPr sz="1867"/>
            </a:lvl5pPr>
          </a:lstStyle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lang="en-US" u="none" strike="noStrike" cap="none">
              <a:solidFill>
                <a:schemeClr val="tx1"/>
              </a:solidFill>
              <a:latin typeface="CiscoSansTT ExtraLight" panose="020B0303020201020303" pitchFamily="34" charset="0"/>
              <a:ea typeface="Helvetica Neue Light"/>
              <a:cs typeface="CiscoSansTT ExtraLight" panose="020B0303020201020303" pitchFamily="34" charset="0"/>
              <a:sym typeface="Helvetica Neue Light"/>
            </a:endParaRPr>
          </a:p>
        </p:txBody>
      </p:sp>
      <p:sp>
        <p:nvSpPr>
          <p:cNvPr id="12" name="Text Placeholder 12">
            <a:extLst>
              <a:ext uri="{FF2B5EF4-FFF2-40B4-BE49-F238E27FC236}">
                <a16:creationId xmlns:a16="http://schemas.microsoft.com/office/drawing/2014/main" id="{25AB2FCE-F0D0-4AEE-AB1A-5CF82ECBDFE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7370291" y="3039644"/>
            <a:ext cx="4102572" cy="861483"/>
          </a:xfrm>
          <a:prstGeom prst="rect">
            <a:avLst/>
          </a:prstGeom>
        </p:spPr>
        <p:txBody>
          <a:bodyPr anchor="ctr" anchorCtr="0">
            <a:normAutofit/>
          </a:bodyPr>
          <a:lstStyle>
            <a:lvl1pPr marL="0" marR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bg2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defRPr>
            </a:lvl1pPr>
            <a:lvl2pPr>
              <a:defRPr sz="1867"/>
            </a:lvl2pPr>
            <a:lvl3pPr>
              <a:defRPr sz="1867"/>
            </a:lvl3pPr>
            <a:lvl4pPr>
              <a:defRPr sz="1867"/>
            </a:lvl4pPr>
            <a:lvl5pPr>
              <a:defRPr sz="1867"/>
            </a:lvl5pPr>
          </a:lstStyle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lang="en-US" u="none" strike="noStrike" cap="none">
              <a:solidFill>
                <a:schemeClr val="tx1"/>
              </a:solidFill>
              <a:latin typeface="CiscoSansTT ExtraLight" panose="020B0303020201020303" pitchFamily="34" charset="0"/>
              <a:ea typeface="Helvetica Neue Light"/>
              <a:cs typeface="CiscoSansTT ExtraLight" panose="020B0303020201020303" pitchFamily="34" charset="0"/>
              <a:sym typeface="Helvetica Neue Light"/>
            </a:endParaRP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60BE3BD1-2EE2-4204-9F32-4A3D49117DAD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7370291" y="4716044"/>
            <a:ext cx="4102572" cy="861483"/>
          </a:xfrm>
          <a:prstGeom prst="rect">
            <a:avLst/>
          </a:prstGeom>
        </p:spPr>
        <p:txBody>
          <a:bodyPr anchor="ctr" anchorCtr="0">
            <a:normAutofit/>
          </a:bodyPr>
          <a:lstStyle>
            <a:lvl1pPr marL="0" marR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bg2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defRPr>
            </a:lvl1pPr>
            <a:lvl2pPr>
              <a:defRPr sz="1867"/>
            </a:lvl2pPr>
            <a:lvl3pPr>
              <a:defRPr sz="1867"/>
            </a:lvl3pPr>
            <a:lvl4pPr>
              <a:defRPr sz="1867"/>
            </a:lvl4pPr>
            <a:lvl5pPr>
              <a:defRPr sz="1867"/>
            </a:lvl5pPr>
          </a:lstStyle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lang="en-US" u="none" strike="noStrike" cap="none">
              <a:solidFill>
                <a:schemeClr val="tx1"/>
              </a:solidFill>
              <a:latin typeface="CiscoSansTT ExtraLight" panose="020B0303020201020303" pitchFamily="34" charset="0"/>
              <a:ea typeface="Helvetica Neue Light"/>
              <a:cs typeface="CiscoSansTT ExtraLight" panose="020B0303020201020303" pitchFamily="34" charset="0"/>
              <a:sym typeface="Helvetica Neue Light"/>
            </a:endParaRP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9B7BAA6-8584-4C3A-A441-4DD27CD61957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>
          <a:xfrm>
            <a:off x="4216400" y="6121402"/>
            <a:ext cx="7255933" cy="353484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52332059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8882533-A64D-440E-9224-3F3A545BC47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668" y="1612901"/>
            <a:ext cx="4131733" cy="1354139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EBE1D6F3-D1FF-4C61-8EC0-77150412444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19667" y="3416301"/>
            <a:ext cx="4138083" cy="27051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FCE6FD8-63CD-478F-B0E6-070FF8365D0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41962221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EDD0B389-6141-4FE9-8448-1DBF3443ED8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967664" y="17619"/>
            <a:ext cx="6224339" cy="6840381"/>
          </a:xfrm>
          <a:custGeom>
            <a:avLst/>
            <a:gdLst>
              <a:gd name="connsiteX0" fmla="*/ 2565143 w 4668254"/>
              <a:gd name="connsiteY0" fmla="*/ 0 h 5130286"/>
              <a:gd name="connsiteX1" fmla="*/ 4668254 w 4668254"/>
              <a:gd name="connsiteY1" fmla="*/ 1 h 5130286"/>
              <a:gd name="connsiteX2" fmla="*/ 4668254 w 4668254"/>
              <a:gd name="connsiteY2" fmla="*/ 5130286 h 5130286"/>
              <a:gd name="connsiteX3" fmla="*/ 2565143 w 4668254"/>
              <a:gd name="connsiteY3" fmla="*/ 5130286 h 5130286"/>
              <a:gd name="connsiteX4" fmla="*/ 0 w 4668254"/>
              <a:gd name="connsiteY4" fmla="*/ 2565143 h 5130286"/>
              <a:gd name="connsiteX5" fmla="*/ 2565143 w 4668254"/>
              <a:gd name="connsiteY5" fmla="*/ 0 h 51302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668254" h="5130286">
                <a:moveTo>
                  <a:pt x="2565143" y="0"/>
                </a:moveTo>
                <a:lnTo>
                  <a:pt x="4668254" y="1"/>
                </a:lnTo>
                <a:lnTo>
                  <a:pt x="4668254" y="5130286"/>
                </a:lnTo>
                <a:lnTo>
                  <a:pt x="2565143" y="5130286"/>
                </a:lnTo>
                <a:cubicBezTo>
                  <a:pt x="1148454" y="5130286"/>
                  <a:pt x="0" y="3981832"/>
                  <a:pt x="0" y="2565143"/>
                </a:cubicBezTo>
                <a:cubicBezTo>
                  <a:pt x="0" y="1148454"/>
                  <a:pt x="1148454" y="0"/>
                  <a:pt x="2565143" y="0"/>
                </a:cubicBezTo>
                <a:close/>
              </a:path>
            </a:pathLst>
          </a:custGeom>
          <a:solidFill>
            <a:srgbClr val="EDF1F6"/>
          </a:solidFill>
        </p:spPr>
        <p:txBody>
          <a:bodyPr wrap="square">
            <a:noAutofit/>
          </a:bodyPr>
          <a:lstStyle/>
          <a:p>
            <a:endParaRPr lang="en-US"/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FDBE70EF-377F-4ADC-91FB-5792A2F99798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267927" y="3203621"/>
            <a:ext cx="3098800" cy="3098801"/>
          </a:xfrm>
          <a:prstGeom prst="ellipse">
            <a:avLst/>
          </a:prstGeom>
          <a:solidFill>
            <a:schemeClr val="accent1"/>
          </a:solidFill>
        </p:spPr>
        <p:txBody>
          <a:bodyPr lIns="0" tIns="0" rIns="0" bIns="0" anchor="ctr" anchorCtr="0"/>
          <a:lstStyle>
            <a:lvl1pPr algn="ctr">
              <a:defRPr>
                <a:solidFill>
                  <a:schemeClr val="tx2"/>
                </a:solidFill>
                <a:latin typeface="+mn-lt"/>
              </a:defRPr>
            </a:lvl1pPr>
            <a:lvl2pPr algn="ctr">
              <a:defRPr>
                <a:solidFill>
                  <a:schemeClr val="tx2"/>
                </a:solidFill>
                <a:latin typeface="+mn-lt"/>
              </a:defRPr>
            </a:lvl2pPr>
            <a:lvl3pPr algn="ctr">
              <a:defRPr>
                <a:solidFill>
                  <a:schemeClr val="tx2"/>
                </a:solidFill>
                <a:latin typeface="+mn-lt"/>
              </a:defRPr>
            </a:lvl3pPr>
            <a:lvl4pPr algn="ctr">
              <a:defRPr>
                <a:solidFill>
                  <a:schemeClr val="tx2"/>
                </a:solidFill>
                <a:latin typeface="+mn-lt"/>
              </a:defRPr>
            </a:lvl4pPr>
            <a:lvl5pPr algn="ctr">
              <a:defRPr>
                <a:solidFill>
                  <a:schemeClr val="tx2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Picture Placeholder 5">
            <a:extLst>
              <a:ext uri="{FF2B5EF4-FFF2-40B4-BE49-F238E27FC236}">
                <a16:creationId xmlns:a16="http://schemas.microsoft.com/office/drawing/2014/main" id="{977C4E1E-EF59-4F9B-B922-4C7C61C3BB3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5013724" y="3784539"/>
            <a:ext cx="508405" cy="414528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>
                <a:noFill/>
              </a:defRPr>
            </a:lvl1pPr>
          </a:lstStyle>
          <a:p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6476E9-FF56-4974-AD87-77B030C700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668" y="709085"/>
            <a:ext cx="4131733" cy="1361016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Text Placeholder 3">
            <a:extLst>
              <a:ext uri="{FF2B5EF4-FFF2-40B4-BE49-F238E27FC236}">
                <a16:creationId xmlns:a16="http://schemas.microsoft.com/office/drawing/2014/main" id="{B2068A80-FE68-4865-AA94-FF151A7C956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19667" y="2519364"/>
            <a:ext cx="4138083" cy="360203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658390473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Top Cen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E4E5C93-3A8E-4484-97CA-9286E439C1C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5AA5629-FFD1-4B28-8CB4-D5F6AAB5C4C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99894275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5143A888-2FF7-460B-8488-88710C99F16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36631498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left 3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8078AEEA-5B48-464E-8502-33863921396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3901" y="1612902"/>
            <a:ext cx="3067051" cy="40560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CA60C2D7-C8EE-4910-B028-83AB4E0055E6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E3868972-9843-4CD6-BB5A-562FD5261E7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298951" y="1612901"/>
            <a:ext cx="2275600" cy="360000"/>
          </a:xfrm>
        </p:spPr>
        <p:txBody>
          <a:bodyPr/>
          <a:lstStyle>
            <a:lvl1pPr>
              <a:defRPr sz="1600">
                <a:solidFill>
                  <a:schemeClr val="accent1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Insert short heading</a:t>
            </a:r>
          </a:p>
        </p:txBody>
      </p:sp>
      <p:sp>
        <p:nvSpPr>
          <p:cNvPr id="12" name="Text Placeholder 4">
            <a:extLst>
              <a:ext uri="{FF2B5EF4-FFF2-40B4-BE49-F238E27FC236}">
                <a16:creationId xmlns:a16="http://schemas.microsoft.com/office/drawing/2014/main" id="{CE58BD52-AC6A-4560-BDE0-613D5E26C5A1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745725" y="1612901"/>
            <a:ext cx="2275600" cy="360000"/>
          </a:xfrm>
        </p:spPr>
        <p:txBody>
          <a:bodyPr/>
          <a:lstStyle>
            <a:lvl1pPr>
              <a:defRPr sz="1600">
                <a:solidFill>
                  <a:schemeClr val="accent1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Insert short heading</a:t>
            </a:r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516118FF-0C8C-4605-A22A-1E2F1B2104F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192500" y="1612901"/>
            <a:ext cx="2275600" cy="360000"/>
          </a:xfrm>
        </p:spPr>
        <p:txBody>
          <a:bodyPr/>
          <a:lstStyle>
            <a:lvl1pPr>
              <a:defRPr sz="1600">
                <a:solidFill>
                  <a:schemeClr val="accent1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Insert short heading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75DB6320-9688-413E-8D7B-0BAEBEFD45A5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302927" y="2035883"/>
            <a:ext cx="2275200" cy="3633080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0" name="Text Placeholder 6">
            <a:extLst>
              <a:ext uri="{FF2B5EF4-FFF2-40B4-BE49-F238E27FC236}">
                <a16:creationId xmlns:a16="http://schemas.microsoft.com/office/drawing/2014/main" id="{EE1F764F-7BBA-43A8-BF76-2AC8619501D3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6747715" y="2035883"/>
            <a:ext cx="2275200" cy="3633080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1" name="Text Placeholder 6">
            <a:extLst>
              <a:ext uri="{FF2B5EF4-FFF2-40B4-BE49-F238E27FC236}">
                <a16:creationId xmlns:a16="http://schemas.microsoft.com/office/drawing/2014/main" id="{195CA2B9-2276-4B6E-BBDE-F8F0487540CA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9192500" y="2035883"/>
            <a:ext cx="2275200" cy="3633080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48912646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EDD0B389-6141-4FE9-8448-1DBF3443ED8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967663" y="17618"/>
            <a:ext cx="6224339" cy="6840381"/>
          </a:xfrm>
          <a:custGeom>
            <a:avLst/>
            <a:gdLst>
              <a:gd name="connsiteX0" fmla="*/ 2565143 w 4668254"/>
              <a:gd name="connsiteY0" fmla="*/ 0 h 5130286"/>
              <a:gd name="connsiteX1" fmla="*/ 4668254 w 4668254"/>
              <a:gd name="connsiteY1" fmla="*/ 1 h 5130286"/>
              <a:gd name="connsiteX2" fmla="*/ 4668254 w 4668254"/>
              <a:gd name="connsiteY2" fmla="*/ 5130286 h 5130286"/>
              <a:gd name="connsiteX3" fmla="*/ 2565143 w 4668254"/>
              <a:gd name="connsiteY3" fmla="*/ 5130286 h 5130286"/>
              <a:gd name="connsiteX4" fmla="*/ 0 w 4668254"/>
              <a:gd name="connsiteY4" fmla="*/ 2565143 h 5130286"/>
              <a:gd name="connsiteX5" fmla="*/ 2565143 w 4668254"/>
              <a:gd name="connsiteY5" fmla="*/ 0 h 51302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668254" h="5130286">
                <a:moveTo>
                  <a:pt x="2565143" y="0"/>
                </a:moveTo>
                <a:lnTo>
                  <a:pt x="4668254" y="1"/>
                </a:lnTo>
                <a:lnTo>
                  <a:pt x="4668254" y="5130286"/>
                </a:lnTo>
                <a:lnTo>
                  <a:pt x="2565143" y="5130286"/>
                </a:lnTo>
                <a:cubicBezTo>
                  <a:pt x="1148454" y="5130286"/>
                  <a:pt x="0" y="3981832"/>
                  <a:pt x="0" y="2565143"/>
                </a:cubicBezTo>
                <a:cubicBezTo>
                  <a:pt x="0" y="1148454"/>
                  <a:pt x="1148454" y="0"/>
                  <a:pt x="2565143" y="0"/>
                </a:cubicBezTo>
                <a:close/>
              </a:path>
            </a:pathLst>
          </a:custGeom>
          <a:solidFill>
            <a:srgbClr val="EDF1F6"/>
          </a:solidFill>
        </p:spPr>
        <p:txBody>
          <a:bodyPr wrap="square">
            <a:noAutofit/>
          </a:bodyPr>
          <a:lstStyle/>
          <a:p>
            <a:endParaRPr lang="en-US"/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FDBE70EF-377F-4ADC-91FB-5792A2F99798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267927" y="3203620"/>
            <a:ext cx="3098800" cy="3098801"/>
          </a:xfrm>
          <a:prstGeom prst="ellipse">
            <a:avLst/>
          </a:prstGeom>
          <a:solidFill>
            <a:schemeClr val="accent1"/>
          </a:solidFill>
        </p:spPr>
        <p:txBody>
          <a:bodyPr lIns="0" tIns="0" rIns="0" bIns="0" anchor="ctr" anchorCtr="0">
            <a:noAutofit/>
          </a:bodyPr>
          <a:lstStyle>
            <a:lvl1pPr algn="ctr">
              <a:defRPr>
                <a:solidFill>
                  <a:schemeClr val="tx2"/>
                </a:solidFill>
                <a:latin typeface="+mn-lt"/>
              </a:defRPr>
            </a:lvl1pPr>
            <a:lvl2pPr algn="ctr">
              <a:defRPr>
                <a:solidFill>
                  <a:schemeClr val="tx2"/>
                </a:solidFill>
                <a:latin typeface="+mn-lt"/>
              </a:defRPr>
            </a:lvl2pPr>
            <a:lvl3pPr algn="ctr">
              <a:defRPr>
                <a:solidFill>
                  <a:schemeClr val="tx2"/>
                </a:solidFill>
                <a:latin typeface="+mn-lt"/>
              </a:defRPr>
            </a:lvl3pPr>
            <a:lvl4pPr algn="ctr">
              <a:defRPr>
                <a:solidFill>
                  <a:schemeClr val="tx2"/>
                </a:solidFill>
                <a:latin typeface="+mn-lt"/>
              </a:defRPr>
            </a:lvl4pPr>
            <a:lvl5pPr algn="ctr">
              <a:defRPr>
                <a:solidFill>
                  <a:schemeClr val="tx2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Picture Placeholder 5">
            <a:extLst>
              <a:ext uri="{FF2B5EF4-FFF2-40B4-BE49-F238E27FC236}">
                <a16:creationId xmlns:a16="http://schemas.microsoft.com/office/drawing/2014/main" id="{977C4E1E-EF59-4F9B-B922-4C7C61C3BB3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5013724" y="3784539"/>
            <a:ext cx="508405" cy="414528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>
            <a:noAutofit/>
          </a:bodyPr>
          <a:lstStyle>
            <a:lvl1pPr>
              <a:defRPr>
                <a:noFill/>
              </a:defRPr>
            </a:lvl1pPr>
          </a:lstStyle>
          <a:p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6476E9-FF56-4974-AD87-77B030C700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667" y="709085"/>
            <a:ext cx="4131733" cy="1361016"/>
          </a:xfrm>
        </p:spPr>
        <p:txBody>
          <a:bodyPr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Text Placeholder 3">
            <a:extLst>
              <a:ext uri="{FF2B5EF4-FFF2-40B4-BE49-F238E27FC236}">
                <a16:creationId xmlns:a16="http://schemas.microsoft.com/office/drawing/2014/main" id="{B2068A80-FE68-4865-AA94-FF151A7C956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19667" y="2519363"/>
            <a:ext cx="4138082" cy="3602037"/>
          </a:xfr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653201261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B6D3CFB-C854-434C-9A1F-637A0B027DD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6019" y="1612901"/>
            <a:ext cx="3321051" cy="40560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BC044539-DAE7-490B-B5E6-BC374262E05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8951" y="1612901"/>
            <a:ext cx="3439160" cy="405606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C5767B47-8446-4315-A1D6-55A50699F18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886700" y="1612901"/>
            <a:ext cx="3463291" cy="405606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961513E-9D4B-45A9-9577-19B01F670A9E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52693150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9D843A1F-68EE-4711-A1FC-44887FE9A8F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087535" y="505992"/>
            <a:ext cx="1185333" cy="1185333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>
                <a:noFill/>
              </a:defRPr>
            </a:lvl1pPr>
          </a:lstStyle>
          <a:p>
            <a:endParaRPr lang="en-US"/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C3F37278-F1CC-445A-8F3A-1E125B4F2140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898171" y="2"/>
            <a:ext cx="4356399" cy="5951535"/>
          </a:xfrm>
          <a:custGeom>
            <a:avLst/>
            <a:gdLst>
              <a:gd name="connsiteX0" fmla="*/ 429 w 3267299"/>
              <a:gd name="connsiteY0" fmla="*/ 0 h 4463651"/>
              <a:gd name="connsiteX1" fmla="*/ 3266870 w 3267299"/>
              <a:gd name="connsiteY1" fmla="*/ 0 h 4463651"/>
              <a:gd name="connsiteX2" fmla="*/ 3267299 w 3267299"/>
              <a:gd name="connsiteY2" fmla="*/ 8501 h 4463651"/>
              <a:gd name="connsiteX3" fmla="*/ 3267299 w 3267299"/>
              <a:gd name="connsiteY3" fmla="*/ 2830001 h 4463651"/>
              <a:gd name="connsiteX4" fmla="*/ 1633649 w 3267299"/>
              <a:gd name="connsiteY4" fmla="*/ 4463651 h 4463651"/>
              <a:gd name="connsiteX5" fmla="*/ 8434 w 3267299"/>
              <a:gd name="connsiteY5" fmla="*/ 2997032 h 4463651"/>
              <a:gd name="connsiteX6" fmla="*/ 0 w 3267299"/>
              <a:gd name="connsiteY6" fmla="*/ 2830020 h 4463651"/>
              <a:gd name="connsiteX7" fmla="*/ 0 w 3267299"/>
              <a:gd name="connsiteY7" fmla="*/ 8482 h 44636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267299" h="4463651">
                <a:moveTo>
                  <a:pt x="429" y="0"/>
                </a:moveTo>
                <a:lnTo>
                  <a:pt x="3266870" y="0"/>
                </a:lnTo>
                <a:lnTo>
                  <a:pt x="3267299" y="8501"/>
                </a:lnTo>
                <a:lnTo>
                  <a:pt x="3267299" y="2830001"/>
                </a:lnTo>
                <a:cubicBezTo>
                  <a:pt x="3267299" y="3732241"/>
                  <a:pt x="2535889" y="4463651"/>
                  <a:pt x="1633649" y="4463651"/>
                </a:cubicBezTo>
                <a:cubicBezTo>
                  <a:pt x="787799" y="4463651"/>
                  <a:pt x="92093" y="3820810"/>
                  <a:pt x="8434" y="2997032"/>
                </a:cubicBezTo>
                <a:lnTo>
                  <a:pt x="0" y="2830020"/>
                </a:lnTo>
                <a:lnTo>
                  <a:pt x="0" y="8482"/>
                </a:lnTo>
                <a:close/>
              </a:path>
            </a:pathLst>
          </a:custGeom>
          <a:solidFill>
            <a:srgbClr val="EDF1F6"/>
          </a:solidFill>
        </p:spPr>
        <p:txBody>
          <a:bodyPr wrap="square">
            <a:noAutofit/>
          </a:bodyPr>
          <a:lstStyle/>
          <a:p>
            <a:endParaRPr lang="en-US"/>
          </a:p>
        </p:txBody>
      </p:sp>
      <p:sp>
        <p:nvSpPr>
          <p:cNvPr id="10" name="Picture Placeholder 5">
            <a:extLst>
              <a:ext uri="{FF2B5EF4-FFF2-40B4-BE49-F238E27FC236}">
                <a16:creationId xmlns:a16="http://schemas.microsoft.com/office/drawing/2014/main" id="{3AAA969E-541E-4362-A952-8DCC98596A30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711200" y="1602317"/>
            <a:ext cx="508405" cy="414528"/>
          </a:xfrm>
          <a:prstGeom prst="rect">
            <a:avLst/>
          </a:prstGeom>
          <a:blipFill>
            <a:blip r:embed="rId3"/>
            <a:stretch>
              <a:fillRect/>
            </a:stretch>
          </a:blipFill>
        </p:spPr>
        <p:txBody>
          <a:bodyPr/>
          <a:lstStyle>
            <a:lvl1pPr>
              <a:defRPr>
                <a:noFill/>
              </a:defRPr>
            </a:lvl1pPr>
          </a:lstStyle>
          <a:p>
            <a:endParaRPr lang="en-US"/>
          </a:p>
        </p:txBody>
      </p:sp>
      <p:sp>
        <p:nvSpPr>
          <p:cNvPr id="15" name="Picture Placeholder 7">
            <a:extLst>
              <a:ext uri="{FF2B5EF4-FFF2-40B4-BE49-F238E27FC236}">
                <a16:creationId xmlns:a16="http://schemas.microsoft.com/office/drawing/2014/main" id="{66B402A7-F12D-4EB2-92F5-1E7AF5E4E4CD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10069236" y="4543999"/>
            <a:ext cx="1185333" cy="1185333"/>
          </a:xfrm>
          <a:prstGeom prst="rect">
            <a:avLst/>
          </a:prstGeom>
          <a:blipFill>
            <a:blip r:embed="rId4"/>
            <a:stretch>
              <a:fillRect/>
            </a:stretch>
          </a:blipFill>
        </p:spPr>
        <p:txBody>
          <a:bodyPr/>
          <a:lstStyle>
            <a:lvl1pPr>
              <a:defRPr>
                <a:noFill/>
              </a:defRPr>
            </a:lvl1pPr>
          </a:lstStyle>
          <a:p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E260AB85-3D05-4181-91C9-23B40E5C8EE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332840" y="1613117"/>
            <a:ext cx="4641851" cy="2958883"/>
          </a:xfrm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US"/>
              <a:t>Insert quote here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C4992B7A-C23B-4833-8772-F6C0C4E7CC2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332840" y="4770439"/>
            <a:ext cx="4641851" cy="366227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  <a:lvl5pPr>
              <a:defRPr/>
            </a:lvl5pPr>
          </a:lstStyle>
          <a:p>
            <a:pPr lvl="0"/>
            <a:r>
              <a:rPr lang="en-US"/>
              <a:t>Insert Source</a:t>
            </a:r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E0E889EA-2BA1-47C6-967E-4A254E16FD2C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332840" y="5219700"/>
            <a:ext cx="4641851" cy="366227"/>
          </a:xfrm>
        </p:spPr>
        <p:txBody>
          <a:bodyPr/>
          <a:lstStyle>
            <a:lvl1pPr>
              <a:defRPr sz="1200">
                <a:solidFill>
                  <a:schemeClr val="bg2"/>
                </a:solidFill>
              </a:defRPr>
            </a:lvl1pPr>
            <a:lvl5pPr>
              <a:defRPr/>
            </a:lvl5pPr>
          </a:lstStyle>
          <a:p>
            <a:pPr lvl="0"/>
            <a:r>
              <a:rPr lang="en-US"/>
              <a:t>Insert additional information</a:t>
            </a:r>
          </a:p>
        </p:txBody>
      </p:sp>
    </p:spTree>
    <p:extLst>
      <p:ext uri="{BB962C8B-B14F-4D97-AF65-F5344CB8AC3E}">
        <p14:creationId xmlns:p14="http://schemas.microsoft.com/office/powerpoint/2010/main" val="2569491359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 Centred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75365CB-F72B-40B5-9B75-1F540092C24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27561759-DDC3-41CC-AD23-F7F9987A388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719137" y="2070100"/>
            <a:ext cx="2407859" cy="360000"/>
          </a:xfrm>
        </p:spPr>
        <p:txBody>
          <a:bodyPr/>
          <a:lstStyle>
            <a:lvl1pPr>
              <a:defRPr sz="1600">
                <a:solidFill>
                  <a:schemeClr val="accent1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Insert short heading</a:t>
            </a:r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40873BA0-D07F-48FC-BFDC-D0EFFD9B8BE9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723114" y="2493083"/>
            <a:ext cx="2407435" cy="3175881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D886E29-59DD-4CD6-A692-67361AAFABF1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5B19CAED-121F-4390-AA15-F16FCBF32B65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411537" y="2070100"/>
            <a:ext cx="2407859" cy="360000"/>
          </a:xfrm>
        </p:spPr>
        <p:txBody>
          <a:bodyPr/>
          <a:lstStyle>
            <a:lvl1pPr>
              <a:defRPr sz="1600">
                <a:solidFill>
                  <a:schemeClr val="accent1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Insert short heading</a:t>
            </a:r>
          </a:p>
        </p:txBody>
      </p:sp>
      <p:sp>
        <p:nvSpPr>
          <p:cNvPr id="20" name="Text Placeholder 6">
            <a:extLst>
              <a:ext uri="{FF2B5EF4-FFF2-40B4-BE49-F238E27FC236}">
                <a16:creationId xmlns:a16="http://schemas.microsoft.com/office/drawing/2014/main" id="{D06A3DA3-2AD3-4755-9C01-284E8E2680C8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3415515" y="2493083"/>
            <a:ext cx="2407435" cy="3175881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1" name="Text Placeholder 4">
            <a:extLst>
              <a:ext uri="{FF2B5EF4-FFF2-40B4-BE49-F238E27FC236}">
                <a16:creationId xmlns:a16="http://schemas.microsoft.com/office/drawing/2014/main" id="{9B58E007-1B1A-4D92-8233-5C9B66AF357F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097588" y="2070100"/>
            <a:ext cx="2407859" cy="360000"/>
          </a:xfrm>
        </p:spPr>
        <p:txBody>
          <a:bodyPr/>
          <a:lstStyle>
            <a:lvl1pPr>
              <a:defRPr sz="1600">
                <a:solidFill>
                  <a:schemeClr val="accent1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Insert short heading</a:t>
            </a:r>
          </a:p>
        </p:txBody>
      </p:sp>
      <p:sp>
        <p:nvSpPr>
          <p:cNvPr id="22" name="Text Placeholder 6">
            <a:extLst>
              <a:ext uri="{FF2B5EF4-FFF2-40B4-BE49-F238E27FC236}">
                <a16:creationId xmlns:a16="http://schemas.microsoft.com/office/drawing/2014/main" id="{35434B15-7A76-465B-A38A-9225667A4F49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6101565" y="2493083"/>
            <a:ext cx="2407435" cy="3175881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3" name="Text Placeholder 4">
            <a:extLst>
              <a:ext uri="{FF2B5EF4-FFF2-40B4-BE49-F238E27FC236}">
                <a16:creationId xmlns:a16="http://schemas.microsoft.com/office/drawing/2014/main" id="{4879DFFD-4D03-4930-84D1-53995BA1AD88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789988" y="2070100"/>
            <a:ext cx="2407859" cy="360000"/>
          </a:xfrm>
        </p:spPr>
        <p:txBody>
          <a:bodyPr/>
          <a:lstStyle>
            <a:lvl1pPr>
              <a:defRPr sz="1600">
                <a:solidFill>
                  <a:schemeClr val="accent1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Insert short heading</a:t>
            </a:r>
          </a:p>
        </p:txBody>
      </p:sp>
      <p:sp>
        <p:nvSpPr>
          <p:cNvPr id="24" name="Text Placeholder 6">
            <a:extLst>
              <a:ext uri="{FF2B5EF4-FFF2-40B4-BE49-F238E27FC236}">
                <a16:creationId xmlns:a16="http://schemas.microsoft.com/office/drawing/2014/main" id="{EAD87999-1ED1-4D34-B607-F39EC3945FD8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8793965" y="2493083"/>
            <a:ext cx="2407435" cy="3175881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272055499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Picture Placeholder 19">
            <a:extLst>
              <a:ext uri="{FF2B5EF4-FFF2-40B4-BE49-F238E27FC236}">
                <a16:creationId xmlns:a16="http://schemas.microsoft.com/office/drawing/2014/main" id="{86194C40-6E11-4DA3-B3BE-A6141D676B1F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120997" y="766000"/>
            <a:ext cx="1145563" cy="1185333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>
                <a:noFill/>
              </a:defRPr>
            </a:lvl1pPr>
          </a:lstStyle>
          <a:p>
            <a:endParaRPr lang="en-US"/>
          </a:p>
        </p:txBody>
      </p:sp>
      <p:sp>
        <p:nvSpPr>
          <p:cNvPr id="18" name="Picture Placeholder 17">
            <a:extLst>
              <a:ext uri="{FF2B5EF4-FFF2-40B4-BE49-F238E27FC236}">
                <a16:creationId xmlns:a16="http://schemas.microsoft.com/office/drawing/2014/main" id="{C620EEE8-4DE4-4E37-8E1D-712DBB6607A3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897575" y="-2"/>
            <a:ext cx="4356399" cy="5965915"/>
          </a:xfrm>
          <a:custGeom>
            <a:avLst/>
            <a:gdLst>
              <a:gd name="connsiteX0" fmla="*/ 0 w 3267299"/>
              <a:gd name="connsiteY0" fmla="*/ 0 h 4474436"/>
              <a:gd name="connsiteX1" fmla="*/ 3267299 w 3267299"/>
              <a:gd name="connsiteY1" fmla="*/ 0 h 4474436"/>
              <a:gd name="connsiteX2" fmla="*/ 3267299 w 3267299"/>
              <a:gd name="connsiteY2" fmla="*/ 2840785 h 4474436"/>
              <a:gd name="connsiteX3" fmla="*/ 1633648 w 3267299"/>
              <a:gd name="connsiteY3" fmla="*/ 4474436 h 4474436"/>
              <a:gd name="connsiteX4" fmla="*/ 8432 w 3267299"/>
              <a:gd name="connsiteY4" fmla="*/ 3007817 h 4474436"/>
              <a:gd name="connsiteX5" fmla="*/ 0 w 3267299"/>
              <a:gd name="connsiteY5" fmla="*/ 2840845 h 44744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267299" h="4474436">
                <a:moveTo>
                  <a:pt x="0" y="0"/>
                </a:moveTo>
                <a:lnTo>
                  <a:pt x="3267299" y="0"/>
                </a:lnTo>
                <a:lnTo>
                  <a:pt x="3267299" y="2840785"/>
                </a:lnTo>
                <a:cubicBezTo>
                  <a:pt x="3267299" y="3743026"/>
                  <a:pt x="2535889" y="4474436"/>
                  <a:pt x="1633648" y="4474436"/>
                </a:cubicBezTo>
                <a:cubicBezTo>
                  <a:pt x="787797" y="4474436"/>
                  <a:pt x="92091" y="3831595"/>
                  <a:pt x="8432" y="3007817"/>
                </a:cubicBezTo>
                <a:lnTo>
                  <a:pt x="0" y="2840845"/>
                </a:lnTo>
                <a:close/>
              </a:path>
            </a:pathLst>
          </a:custGeom>
          <a:solidFill>
            <a:srgbClr val="EDF1F6"/>
          </a:solidFill>
        </p:spPr>
        <p:txBody>
          <a:bodyPr wrap="square">
            <a:noAutofit/>
          </a:bodyPr>
          <a:lstStyle/>
          <a:p>
            <a:endParaRPr lang="en-US"/>
          </a:p>
        </p:txBody>
      </p:sp>
      <p:sp>
        <p:nvSpPr>
          <p:cNvPr id="21" name="Picture Placeholder 19">
            <a:extLst>
              <a:ext uri="{FF2B5EF4-FFF2-40B4-BE49-F238E27FC236}">
                <a16:creationId xmlns:a16="http://schemas.microsoft.com/office/drawing/2014/main" id="{C43F95A5-2533-4A68-8ED4-1D3CF60825C6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0219760" y="4813300"/>
            <a:ext cx="1145563" cy="1185333"/>
          </a:xfrm>
          <a:prstGeom prst="rect">
            <a:avLst/>
          </a:prstGeom>
          <a:blipFill>
            <a:blip r:embed="rId3"/>
            <a:stretch>
              <a:fillRect/>
            </a:stretch>
          </a:blipFill>
        </p:spPr>
        <p:txBody>
          <a:bodyPr/>
          <a:lstStyle>
            <a:lvl1pPr>
              <a:defRPr>
                <a:noFill/>
              </a:defRPr>
            </a:lvl1pPr>
          </a:lstStyle>
          <a:p>
            <a:endParaRPr lang="en-US"/>
          </a:p>
        </p:txBody>
      </p:sp>
      <p:sp>
        <p:nvSpPr>
          <p:cNvPr id="13" name="Picture Placeholder 5">
            <a:extLst>
              <a:ext uri="{FF2B5EF4-FFF2-40B4-BE49-F238E27FC236}">
                <a16:creationId xmlns:a16="http://schemas.microsoft.com/office/drawing/2014/main" id="{D487B088-C7EB-400A-8256-45F802B3487A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711200" y="1602317"/>
            <a:ext cx="508405" cy="414528"/>
          </a:xfrm>
          <a:prstGeom prst="rect">
            <a:avLst/>
          </a:prstGeom>
          <a:blipFill>
            <a:blip r:embed="rId4"/>
            <a:stretch>
              <a:fillRect/>
            </a:stretch>
          </a:blipFill>
        </p:spPr>
        <p:txBody>
          <a:bodyPr/>
          <a:lstStyle>
            <a:lvl1pPr>
              <a:defRPr>
                <a:noFill/>
              </a:defRPr>
            </a:lvl1pPr>
          </a:lstStyle>
          <a:p>
            <a:endParaRPr lang="en-US"/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896670A8-7100-41F8-9184-7138AACF2E2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332840" y="1613117"/>
            <a:ext cx="4641851" cy="2958883"/>
          </a:xfrm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US"/>
              <a:t>Insert quote here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0E4957E7-DFB6-4FFF-A638-21D68F72EBD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332840" y="4770439"/>
            <a:ext cx="4641851" cy="366227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  <a:lvl5pPr>
              <a:defRPr/>
            </a:lvl5pPr>
          </a:lstStyle>
          <a:p>
            <a:pPr lvl="0"/>
            <a:r>
              <a:rPr lang="en-US"/>
              <a:t>Insert Source</a:t>
            </a:r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A0CC1390-2D91-4A0D-8002-1AB3ECC857BA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332840" y="5219700"/>
            <a:ext cx="4641851" cy="366227"/>
          </a:xfrm>
        </p:spPr>
        <p:txBody>
          <a:bodyPr/>
          <a:lstStyle>
            <a:lvl1pPr>
              <a:defRPr sz="1200">
                <a:solidFill>
                  <a:schemeClr val="bg2"/>
                </a:solidFill>
              </a:defRPr>
            </a:lvl1pPr>
            <a:lvl5pPr>
              <a:defRPr/>
            </a:lvl5pPr>
          </a:lstStyle>
          <a:p>
            <a:pPr lvl="0"/>
            <a:r>
              <a:rPr lang="en-US"/>
              <a:t>Insert additional information</a:t>
            </a:r>
          </a:p>
        </p:txBody>
      </p:sp>
    </p:spTree>
    <p:extLst>
      <p:ext uri="{BB962C8B-B14F-4D97-AF65-F5344CB8AC3E}">
        <p14:creationId xmlns:p14="http://schemas.microsoft.com/office/powerpoint/2010/main" val="893771839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E4054473-44C8-4070-9A14-FBB58406A2B4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267283" y="1612900"/>
            <a:ext cx="3217747" cy="819151"/>
          </a:xfrm>
        </p:spPr>
        <p:txBody>
          <a:bodyPr/>
          <a:lstStyle>
            <a:lvl1pPr>
              <a:defRPr sz="2000">
                <a:solidFill>
                  <a:schemeClr val="accent1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Insert short heading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F628C63-1E02-449F-8A5E-FA326608991D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8254586" y="2519364"/>
            <a:ext cx="3217745" cy="316177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Picture Placeholder 9">
            <a:extLst>
              <a:ext uri="{FF2B5EF4-FFF2-40B4-BE49-F238E27FC236}">
                <a16:creationId xmlns:a16="http://schemas.microsoft.com/office/drawing/2014/main" id="{9226CD76-62DA-4A5C-9D4C-5E233D954AD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6813964" y="5157340"/>
            <a:ext cx="1146096" cy="1146097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>
                <a:noFill/>
              </a:defRPr>
            </a:lvl1pPr>
          </a:lstStyle>
          <a:p>
            <a:endParaRPr lang="en-US"/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D770774F-BDA5-44BF-87A9-ACAC27D30E7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937415" y="965201"/>
            <a:ext cx="1146096" cy="1146097"/>
          </a:xfrm>
          <a:prstGeom prst="rect">
            <a:avLst/>
          </a:prstGeom>
          <a:blipFill>
            <a:blip r:embed="rId3"/>
            <a:stretch>
              <a:fillRect/>
            </a:stretch>
          </a:blipFill>
        </p:spPr>
        <p:txBody>
          <a:bodyPr/>
          <a:lstStyle>
            <a:lvl1pPr>
              <a:defRPr>
                <a:noFill/>
              </a:defRPr>
            </a:lvl1pPr>
          </a:lstStyle>
          <a:p>
            <a:endParaRPr lang="en-US"/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2D989DD8-307B-4044-B0AD-5914C955D76D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359000" y="745002"/>
            <a:ext cx="3474000" cy="5403900"/>
          </a:xfrm>
          <a:prstGeom prst="roundRect">
            <a:avLst>
              <a:gd name="adj" fmla="val 50000"/>
            </a:avLst>
          </a:prstGeom>
          <a:solidFill>
            <a:srgbClr val="EDF1F6"/>
          </a:solidFill>
        </p:spPr>
        <p:txBody>
          <a:bodyPr/>
          <a:lstStyle/>
          <a:p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3159506-874E-41B2-AA58-92FF0184A76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668" y="2070102"/>
            <a:ext cx="2895601" cy="251883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705118274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Text Placeholder 6">
            <a:extLst>
              <a:ext uri="{FF2B5EF4-FFF2-40B4-BE49-F238E27FC236}">
                <a16:creationId xmlns:a16="http://schemas.microsoft.com/office/drawing/2014/main" id="{7DFABFB1-2D0D-493D-9ACD-0E104EE16057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8234226" y="2336677"/>
            <a:ext cx="3238639" cy="128602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ext Placeholder 4">
            <a:extLst>
              <a:ext uri="{FF2B5EF4-FFF2-40B4-BE49-F238E27FC236}">
                <a16:creationId xmlns:a16="http://schemas.microsoft.com/office/drawing/2014/main" id="{649F3A8B-A23D-41AF-A676-89E541E928A9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237479" y="1888067"/>
            <a:ext cx="3237237" cy="360000"/>
          </a:xfrm>
        </p:spPr>
        <p:txBody>
          <a:bodyPr/>
          <a:lstStyle>
            <a:lvl1pPr>
              <a:defRPr sz="1800">
                <a:solidFill>
                  <a:schemeClr val="accent1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Insert short heading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A8D9963-BF99-4C17-86D4-9D7B037EED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0103" y="1612901"/>
            <a:ext cx="4114800" cy="11557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02B006D3-C5BB-455C-A6FF-E9CBF94C2D3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719139" y="2967039"/>
            <a:ext cx="4114800" cy="360000"/>
          </a:xfrm>
        </p:spPr>
        <p:txBody>
          <a:bodyPr/>
          <a:lstStyle>
            <a:lvl1pPr>
              <a:defRPr sz="1800">
                <a:solidFill>
                  <a:schemeClr val="accent1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Insert short heading</a:t>
            </a:r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766512B3-51A4-4806-AC05-D7402CAC3662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723115" y="3416302"/>
            <a:ext cx="4114077" cy="2252663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587CB38-4B3C-4FD8-9170-7441294FAFE9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9" name="Text Placeholder 34">
            <a:extLst>
              <a:ext uri="{FF2B5EF4-FFF2-40B4-BE49-F238E27FC236}">
                <a16:creationId xmlns:a16="http://schemas.microsoft.com/office/drawing/2014/main" id="{7754A821-3029-4BDD-AAD3-908F2D8A8664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510575" y="2124021"/>
            <a:ext cx="1131616" cy="711200"/>
          </a:xfrm>
          <a:prstGeom prst="rect">
            <a:avLst/>
          </a:prstGeom>
        </p:spPr>
        <p:txBody>
          <a:bodyPr/>
          <a:lstStyle>
            <a:lvl1pPr>
              <a:defRPr sz="3200" b="0" i="0">
                <a:solidFill>
                  <a:schemeClr val="accent1"/>
                </a:solidFill>
                <a:latin typeface="CiscoSansTT Light" panose="020B0503020201020303" pitchFamily="34" charset="0"/>
                <a:cs typeface="CiscoSansTT Light" panose="020B0503020201020303" pitchFamily="34" charset="0"/>
              </a:defRPr>
            </a:lvl1pPr>
          </a:lstStyle>
          <a:p>
            <a:pPr lvl="0"/>
            <a:r>
              <a:rPr lang="en-GB"/>
              <a:t>XX%</a:t>
            </a:r>
            <a:endParaRPr lang="en-US"/>
          </a:p>
        </p:txBody>
      </p:sp>
      <p:sp>
        <p:nvSpPr>
          <p:cNvPr id="28" name="Text Placeholder 4">
            <a:extLst>
              <a:ext uri="{FF2B5EF4-FFF2-40B4-BE49-F238E27FC236}">
                <a16:creationId xmlns:a16="http://schemas.microsoft.com/office/drawing/2014/main" id="{48B92931-8EDF-49B6-8C0C-243F15A910EB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237479" y="4358216"/>
            <a:ext cx="3237237" cy="360000"/>
          </a:xfrm>
        </p:spPr>
        <p:txBody>
          <a:bodyPr/>
          <a:lstStyle>
            <a:lvl1pPr>
              <a:defRPr sz="1800">
                <a:solidFill>
                  <a:schemeClr val="accent5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Insert short heading</a:t>
            </a:r>
          </a:p>
        </p:txBody>
      </p:sp>
      <p:sp>
        <p:nvSpPr>
          <p:cNvPr id="29" name="Text Placeholder 34">
            <a:extLst>
              <a:ext uri="{FF2B5EF4-FFF2-40B4-BE49-F238E27FC236}">
                <a16:creationId xmlns:a16="http://schemas.microsoft.com/office/drawing/2014/main" id="{BD766710-0ABE-4624-8CA1-DC26EB21DB37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568693" y="4591337"/>
            <a:ext cx="1131616" cy="711200"/>
          </a:xfrm>
          <a:prstGeom prst="rect">
            <a:avLst/>
          </a:prstGeom>
        </p:spPr>
        <p:txBody>
          <a:bodyPr/>
          <a:lstStyle>
            <a:lvl1pPr>
              <a:defRPr sz="3200" b="0" i="0">
                <a:solidFill>
                  <a:schemeClr val="accent5"/>
                </a:solidFill>
                <a:latin typeface="CiscoSansTT Light" panose="020B0503020201020303" pitchFamily="34" charset="0"/>
                <a:cs typeface="CiscoSansTT Light" panose="020B0503020201020303" pitchFamily="34" charset="0"/>
              </a:defRPr>
            </a:lvl1pPr>
          </a:lstStyle>
          <a:p>
            <a:pPr lvl="0"/>
            <a:r>
              <a:rPr lang="en-GB"/>
              <a:t>XX%</a:t>
            </a:r>
            <a:endParaRPr lang="en-US"/>
          </a:p>
        </p:txBody>
      </p:sp>
      <p:sp>
        <p:nvSpPr>
          <p:cNvPr id="30" name="Text Placeholder 6">
            <a:extLst>
              <a:ext uri="{FF2B5EF4-FFF2-40B4-BE49-F238E27FC236}">
                <a16:creationId xmlns:a16="http://schemas.microsoft.com/office/drawing/2014/main" id="{00A91EDB-D2C4-4B6A-A163-A9A9B57EA5BA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8234226" y="4834467"/>
            <a:ext cx="3238639" cy="128602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346291983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21">
            <a:extLst>
              <a:ext uri="{FF2B5EF4-FFF2-40B4-BE49-F238E27FC236}">
                <a16:creationId xmlns:a16="http://schemas.microsoft.com/office/drawing/2014/main" id="{60AFAD34-CFFF-EF48-B99C-F11DFD70F0B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583452" y="1043472"/>
            <a:ext cx="1914801" cy="1038091"/>
          </a:xfrm>
          <a:prstGeom prst="rect">
            <a:avLst/>
          </a:prstGeom>
        </p:spPr>
        <p:txBody>
          <a:bodyPr/>
          <a:lstStyle>
            <a:lvl1pPr>
              <a:defRPr sz="1400" b="0" i="0">
                <a:solidFill>
                  <a:schemeClr val="bg2"/>
                </a:solidFill>
                <a:latin typeface="+mn-lt"/>
                <a:cs typeface="CiscoSansTT ExtraLight" panose="020B0303020201020303" pitchFamily="34" charset="0"/>
              </a:defRPr>
            </a:lvl1pPr>
          </a:lstStyle>
          <a:p>
            <a:pPr lvl="0"/>
            <a:r>
              <a:rPr lang="en-GB"/>
              <a:t>Click to add text</a:t>
            </a:r>
            <a:endParaRPr lang="en-US"/>
          </a:p>
        </p:txBody>
      </p:sp>
      <p:sp>
        <p:nvSpPr>
          <p:cNvPr id="18" name="Text Placeholder 21">
            <a:extLst>
              <a:ext uri="{FF2B5EF4-FFF2-40B4-BE49-F238E27FC236}">
                <a16:creationId xmlns:a16="http://schemas.microsoft.com/office/drawing/2014/main" id="{5DED0708-F6D0-9247-BBE1-821405FF823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583452" y="2909340"/>
            <a:ext cx="1914801" cy="1038091"/>
          </a:xfrm>
          <a:prstGeom prst="rect">
            <a:avLst/>
          </a:prstGeom>
        </p:spPr>
        <p:txBody>
          <a:bodyPr/>
          <a:lstStyle>
            <a:lvl1pPr>
              <a:defRPr sz="1400" b="0" i="0">
                <a:solidFill>
                  <a:schemeClr val="bg2"/>
                </a:solidFill>
                <a:latin typeface="+mn-lt"/>
                <a:cs typeface="CiscoSansTT ExtraLight" panose="020B0303020201020303" pitchFamily="34" charset="0"/>
              </a:defRPr>
            </a:lvl1pPr>
          </a:lstStyle>
          <a:p>
            <a:pPr lvl="0"/>
            <a:r>
              <a:rPr lang="en-GB"/>
              <a:t>Click to add text</a:t>
            </a:r>
            <a:endParaRPr lang="en-US"/>
          </a:p>
        </p:txBody>
      </p:sp>
      <p:sp>
        <p:nvSpPr>
          <p:cNvPr id="19" name="Text Placeholder 21">
            <a:extLst>
              <a:ext uri="{FF2B5EF4-FFF2-40B4-BE49-F238E27FC236}">
                <a16:creationId xmlns:a16="http://schemas.microsoft.com/office/drawing/2014/main" id="{5CCA10A3-3B40-D248-9C55-B94F50E7383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583452" y="4776440"/>
            <a:ext cx="1914801" cy="1038091"/>
          </a:xfrm>
          <a:prstGeom prst="rect">
            <a:avLst/>
          </a:prstGeom>
        </p:spPr>
        <p:txBody>
          <a:bodyPr/>
          <a:lstStyle>
            <a:lvl1pPr>
              <a:defRPr sz="1400" b="0" i="0">
                <a:solidFill>
                  <a:schemeClr val="bg2"/>
                </a:solidFill>
                <a:latin typeface="+mn-lt"/>
                <a:cs typeface="CiscoSansTT ExtraLight" panose="020B0303020201020303" pitchFamily="34" charset="0"/>
              </a:defRPr>
            </a:lvl1pPr>
          </a:lstStyle>
          <a:p>
            <a:pPr lvl="0"/>
            <a:r>
              <a:rPr lang="en-GB"/>
              <a:t>Click to add text</a:t>
            </a:r>
            <a:endParaRPr lang="en-US"/>
          </a:p>
        </p:txBody>
      </p:sp>
      <p:sp>
        <p:nvSpPr>
          <p:cNvPr id="20" name="Text Placeholder 21">
            <a:extLst>
              <a:ext uri="{FF2B5EF4-FFF2-40B4-BE49-F238E27FC236}">
                <a16:creationId xmlns:a16="http://schemas.microsoft.com/office/drawing/2014/main" id="{BC3462B6-4CC9-5145-9E61-C762FD2757B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9120153" y="1042989"/>
            <a:ext cx="1914801" cy="1038091"/>
          </a:xfrm>
          <a:prstGeom prst="rect">
            <a:avLst/>
          </a:prstGeom>
        </p:spPr>
        <p:txBody>
          <a:bodyPr/>
          <a:lstStyle>
            <a:lvl1pPr>
              <a:defRPr sz="1400" b="0" i="0">
                <a:solidFill>
                  <a:schemeClr val="bg2"/>
                </a:solidFill>
                <a:latin typeface="+mn-lt"/>
                <a:cs typeface="CiscoSansTT ExtraLight" panose="020B0303020201020303" pitchFamily="34" charset="0"/>
              </a:defRPr>
            </a:lvl1pPr>
          </a:lstStyle>
          <a:p>
            <a:pPr lvl="0"/>
            <a:r>
              <a:rPr lang="en-GB"/>
              <a:t>Click to add text</a:t>
            </a:r>
            <a:endParaRPr lang="en-US"/>
          </a:p>
        </p:txBody>
      </p:sp>
      <p:sp>
        <p:nvSpPr>
          <p:cNvPr id="21" name="Text Placeholder 21">
            <a:extLst>
              <a:ext uri="{FF2B5EF4-FFF2-40B4-BE49-F238E27FC236}">
                <a16:creationId xmlns:a16="http://schemas.microsoft.com/office/drawing/2014/main" id="{294218C0-ED14-EF44-B6DB-22164D388251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120153" y="2909340"/>
            <a:ext cx="1914801" cy="1038091"/>
          </a:xfrm>
          <a:prstGeom prst="rect">
            <a:avLst/>
          </a:prstGeom>
        </p:spPr>
        <p:txBody>
          <a:bodyPr/>
          <a:lstStyle>
            <a:lvl1pPr>
              <a:defRPr sz="1400" b="0" i="0">
                <a:solidFill>
                  <a:schemeClr val="bg2"/>
                </a:solidFill>
                <a:latin typeface="+mn-lt"/>
                <a:cs typeface="CiscoSansTT ExtraLight" panose="020B0303020201020303" pitchFamily="34" charset="0"/>
              </a:defRPr>
            </a:lvl1pPr>
          </a:lstStyle>
          <a:p>
            <a:pPr lvl="0"/>
            <a:r>
              <a:rPr lang="en-GB"/>
              <a:t>Click to add text</a:t>
            </a:r>
            <a:endParaRPr lang="en-US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29440408-FB70-0E48-9191-949F57EAAB2E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120153" y="4776440"/>
            <a:ext cx="1914801" cy="1038091"/>
          </a:xfrm>
          <a:prstGeom prst="rect">
            <a:avLst/>
          </a:prstGeom>
        </p:spPr>
        <p:txBody>
          <a:bodyPr/>
          <a:lstStyle>
            <a:lvl1pPr>
              <a:defRPr sz="1400" b="0" i="0">
                <a:solidFill>
                  <a:schemeClr val="bg2"/>
                </a:solidFill>
                <a:latin typeface="+mn-lt"/>
                <a:cs typeface="CiscoSansTT ExtraLight" panose="020B0303020201020303" pitchFamily="34" charset="0"/>
              </a:defRPr>
            </a:lvl1pPr>
          </a:lstStyle>
          <a:p>
            <a:pPr lvl="0"/>
            <a:r>
              <a:rPr lang="en-GB"/>
              <a:t>Click to add text</a:t>
            </a:r>
            <a:endParaRPr lang="en-US"/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C70EEDD5-22F0-4197-9E2C-65520A44FC04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5218533" y="1042990"/>
            <a:ext cx="364671" cy="303561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>
                <a:noFill/>
              </a:defRPr>
            </a:lvl1pPr>
          </a:lstStyle>
          <a:p>
            <a:endParaRPr lang="en-US"/>
          </a:p>
        </p:txBody>
      </p:sp>
      <p:sp>
        <p:nvSpPr>
          <p:cNvPr id="31" name="Picture Placeholder 3">
            <a:extLst>
              <a:ext uri="{FF2B5EF4-FFF2-40B4-BE49-F238E27FC236}">
                <a16:creationId xmlns:a16="http://schemas.microsoft.com/office/drawing/2014/main" id="{6BCA35DD-4B2E-4B0C-BCE1-27728E5A158F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5218533" y="2909341"/>
            <a:ext cx="364671" cy="303561"/>
          </a:xfrm>
          <a:prstGeom prst="rect">
            <a:avLst/>
          </a:prstGeom>
          <a:blipFill>
            <a:blip r:embed="rId3"/>
            <a:stretch>
              <a:fillRect/>
            </a:stretch>
          </a:blipFill>
        </p:spPr>
        <p:txBody>
          <a:bodyPr/>
          <a:lstStyle>
            <a:lvl1pPr>
              <a:defRPr>
                <a:noFill/>
              </a:defRPr>
            </a:lvl1pPr>
          </a:lstStyle>
          <a:p>
            <a:endParaRPr lang="en-US"/>
          </a:p>
        </p:txBody>
      </p:sp>
      <p:sp>
        <p:nvSpPr>
          <p:cNvPr id="32" name="Picture Placeholder 3">
            <a:extLst>
              <a:ext uri="{FF2B5EF4-FFF2-40B4-BE49-F238E27FC236}">
                <a16:creationId xmlns:a16="http://schemas.microsoft.com/office/drawing/2014/main" id="{B54AF328-4AF7-4607-93A0-00EC4947C5D6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5218533" y="4776441"/>
            <a:ext cx="364671" cy="303561"/>
          </a:xfrm>
          <a:prstGeom prst="rect">
            <a:avLst/>
          </a:prstGeom>
          <a:blipFill>
            <a:blip r:embed="rId4"/>
            <a:stretch>
              <a:fillRect/>
            </a:stretch>
          </a:blipFill>
        </p:spPr>
        <p:txBody>
          <a:bodyPr/>
          <a:lstStyle>
            <a:lvl1pPr>
              <a:defRPr>
                <a:noFill/>
              </a:defRPr>
            </a:lvl1pPr>
          </a:lstStyle>
          <a:p>
            <a:endParaRPr lang="en-US"/>
          </a:p>
        </p:txBody>
      </p:sp>
      <p:sp>
        <p:nvSpPr>
          <p:cNvPr id="33" name="Picture Placeholder 3">
            <a:extLst>
              <a:ext uri="{FF2B5EF4-FFF2-40B4-BE49-F238E27FC236}">
                <a16:creationId xmlns:a16="http://schemas.microsoft.com/office/drawing/2014/main" id="{7F4A1470-088E-40A3-A20F-C4DCAFFA3E7A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8755482" y="1042990"/>
            <a:ext cx="364671" cy="303561"/>
          </a:xfrm>
          <a:prstGeom prst="rect">
            <a:avLst/>
          </a:prstGeom>
          <a:blipFill>
            <a:blip r:embed="rId4"/>
            <a:stretch>
              <a:fillRect/>
            </a:stretch>
          </a:blipFill>
        </p:spPr>
        <p:txBody>
          <a:bodyPr/>
          <a:lstStyle>
            <a:lvl1pPr>
              <a:defRPr>
                <a:noFill/>
              </a:defRPr>
            </a:lvl1pPr>
          </a:lstStyle>
          <a:p>
            <a:endParaRPr lang="en-US"/>
          </a:p>
        </p:txBody>
      </p:sp>
      <p:sp>
        <p:nvSpPr>
          <p:cNvPr id="34" name="Picture Placeholder 3">
            <a:extLst>
              <a:ext uri="{FF2B5EF4-FFF2-40B4-BE49-F238E27FC236}">
                <a16:creationId xmlns:a16="http://schemas.microsoft.com/office/drawing/2014/main" id="{CF7DF77F-E020-4816-9E4B-754165D11DC2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8755482" y="2909341"/>
            <a:ext cx="364671" cy="303561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>
                <a:noFill/>
              </a:defRPr>
            </a:lvl1pPr>
          </a:lstStyle>
          <a:p>
            <a:endParaRPr lang="en-US"/>
          </a:p>
        </p:txBody>
      </p:sp>
      <p:sp>
        <p:nvSpPr>
          <p:cNvPr id="35" name="Picture Placeholder 3">
            <a:extLst>
              <a:ext uri="{FF2B5EF4-FFF2-40B4-BE49-F238E27FC236}">
                <a16:creationId xmlns:a16="http://schemas.microsoft.com/office/drawing/2014/main" id="{30737A6D-65C2-418D-AE2D-216451A7AE90}"/>
              </a:ext>
            </a:extLst>
          </p:cNvPr>
          <p:cNvSpPr>
            <a:spLocks noGrp="1"/>
          </p:cNvSpPr>
          <p:nvPr>
            <p:ph type="pic" sz="quarter" idx="28"/>
          </p:nvPr>
        </p:nvSpPr>
        <p:spPr>
          <a:xfrm>
            <a:off x="8755482" y="4776441"/>
            <a:ext cx="364671" cy="303561"/>
          </a:xfrm>
          <a:prstGeom prst="rect">
            <a:avLst/>
          </a:prstGeom>
          <a:blipFill>
            <a:blip r:embed="rId3"/>
            <a:stretch>
              <a:fillRect/>
            </a:stretch>
          </a:blipFill>
        </p:spPr>
        <p:txBody>
          <a:bodyPr/>
          <a:lstStyle>
            <a:lvl1pPr>
              <a:defRPr>
                <a:noFill/>
              </a:defRPr>
            </a:lvl1pPr>
          </a:lstStyle>
          <a:p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6B9A303-9952-43D3-9853-F92C20413C0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140" y="1612901"/>
            <a:ext cx="3302529" cy="3433232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68A0084-9DC5-457E-A8B4-A1B54C736B85}"/>
              </a:ext>
            </a:extLst>
          </p:cNvPr>
          <p:cNvSpPr>
            <a:spLocks noGrp="1"/>
          </p:cNvSpPr>
          <p:nvPr>
            <p:ph type="ftr" sz="quarter" idx="29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08095953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F78856C6-C3E6-4616-8EC0-B2A24F6EC4F6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775504" y="0"/>
            <a:ext cx="7416496" cy="6857997"/>
          </a:xfrm>
          <a:custGeom>
            <a:avLst/>
            <a:gdLst>
              <a:gd name="connsiteX0" fmla="*/ 0 w 5562372"/>
              <a:gd name="connsiteY0" fmla="*/ 0 h 5143498"/>
              <a:gd name="connsiteX1" fmla="*/ 5562372 w 5562372"/>
              <a:gd name="connsiteY1" fmla="*/ 0 h 5143498"/>
              <a:gd name="connsiteX2" fmla="*/ 5562372 w 5562372"/>
              <a:gd name="connsiteY2" fmla="*/ 5143498 h 5143498"/>
              <a:gd name="connsiteX3" fmla="*/ 481628 w 5562372"/>
              <a:gd name="connsiteY3" fmla="*/ 5143498 h 5143498"/>
              <a:gd name="connsiteX4" fmla="*/ 659851 w 5562372"/>
              <a:gd name="connsiteY4" fmla="*/ 4905163 h 5143498"/>
              <a:gd name="connsiteX5" fmla="*/ 1296347 w 5562372"/>
              <a:gd name="connsiteY5" fmla="*/ 2821418 h 5143498"/>
              <a:gd name="connsiteX6" fmla="*/ 204763 w 5562372"/>
              <a:gd name="connsiteY6" fmla="*/ 186102 h 51434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562372" h="5143498">
                <a:moveTo>
                  <a:pt x="0" y="0"/>
                </a:moveTo>
                <a:lnTo>
                  <a:pt x="5562372" y="0"/>
                </a:lnTo>
                <a:lnTo>
                  <a:pt x="5562372" y="5143498"/>
                </a:lnTo>
                <a:lnTo>
                  <a:pt x="481628" y="5143498"/>
                </a:lnTo>
                <a:lnTo>
                  <a:pt x="659851" y="4905163"/>
                </a:lnTo>
                <a:cubicBezTo>
                  <a:pt x="1061702" y="4310346"/>
                  <a:pt x="1296347" y="3593284"/>
                  <a:pt x="1296347" y="2821418"/>
                </a:cubicBezTo>
                <a:cubicBezTo>
                  <a:pt x="1296347" y="1792263"/>
                  <a:pt x="879200" y="860538"/>
                  <a:pt x="204763" y="186102"/>
                </a:cubicBezTo>
                <a:close/>
              </a:path>
            </a:pathLst>
          </a:custGeom>
          <a:solidFill>
            <a:srgbClr val="EDF1F6"/>
          </a:solidFill>
        </p:spPr>
        <p:txBody>
          <a:bodyPr wrap="square">
            <a:noAutofit/>
          </a:bodyPr>
          <a:lstStyle/>
          <a:p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961E1CD-E326-4961-9A88-11E9CA33773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139" y="1619251"/>
            <a:ext cx="4250267" cy="16383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7C65FE1-788D-4584-AD0B-0A2BE92452E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719137" y="3416301"/>
            <a:ext cx="4250267" cy="1795463"/>
          </a:xfrm>
        </p:spPr>
        <p:txBody>
          <a:bodyPr/>
          <a:lstStyle>
            <a:lvl1pPr>
              <a:defRPr sz="2000">
                <a:solidFill>
                  <a:schemeClr val="accent1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Insert short heading</a:t>
            </a:r>
          </a:p>
        </p:txBody>
      </p:sp>
    </p:spTree>
    <p:extLst>
      <p:ext uri="{BB962C8B-B14F-4D97-AF65-F5344CB8AC3E}">
        <p14:creationId xmlns:p14="http://schemas.microsoft.com/office/powerpoint/2010/main" val="2875764903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8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Picture Placeholder 36">
            <a:extLst>
              <a:ext uri="{FF2B5EF4-FFF2-40B4-BE49-F238E27FC236}">
                <a16:creationId xmlns:a16="http://schemas.microsoft.com/office/drawing/2014/main" id="{A09742A7-0B5E-4F47-A95F-532A0AB3B278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393167" y="1"/>
            <a:ext cx="1322400" cy="5676899"/>
          </a:xfrm>
          <a:custGeom>
            <a:avLst/>
            <a:gdLst>
              <a:gd name="connsiteX0" fmla="*/ 0 w 991800"/>
              <a:gd name="connsiteY0" fmla="*/ 0 h 4257674"/>
              <a:gd name="connsiteX1" fmla="*/ 991800 w 991800"/>
              <a:gd name="connsiteY1" fmla="*/ 0 h 4257674"/>
              <a:gd name="connsiteX2" fmla="*/ 991800 w 991800"/>
              <a:gd name="connsiteY2" fmla="*/ 3771573 h 4257674"/>
              <a:gd name="connsiteX3" fmla="*/ 505699 w 991800"/>
              <a:gd name="connsiteY3" fmla="*/ 4257674 h 4257674"/>
              <a:gd name="connsiteX4" fmla="*/ 486101 w 991800"/>
              <a:gd name="connsiteY4" fmla="*/ 4257674 h 4257674"/>
              <a:gd name="connsiteX5" fmla="*/ 0 w 991800"/>
              <a:gd name="connsiteY5" fmla="*/ 3771573 h 42576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991800" h="4257674">
                <a:moveTo>
                  <a:pt x="0" y="0"/>
                </a:moveTo>
                <a:lnTo>
                  <a:pt x="991800" y="0"/>
                </a:lnTo>
                <a:lnTo>
                  <a:pt x="991800" y="3771573"/>
                </a:lnTo>
                <a:cubicBezTo>
                  <a:pt x="991800" y="4040039"/>
                  <a:pt x="774165" y="4257674"/>
                  <a:pt x="505699" y="4257674"/>
                </a:cubicBezTo>
                <a:lnTo>
                  <a:pt x="486101" y="4257674"/>
                </a:lnTo>
                <a:cubicBezTo>
                  <a:pt x="217635" y="4257674"/>
                  <a:pt x="0" y="4040039"/>
                  <a:pt x="0" y="3771573"/>
                </a:cubicBezTo>
                <a:close/>
              </a:path>
            </a:pathLst>
          </a:custGeom>
          <a:solidFill>
            <a:srgbClr val="EDF1F6"/>
          </a:solidFill>
        </p:spPr>
        <p:txBody>
          <a:bodyPr wrap="square">
            <a:noAutofit/>
          </a:bodyPr>
          <a:lstStyle>
            <a:lvl1pPr>
              <a:defRPr>
                <a:noFill/>
              </a:defRPr>
            </a:lvl1pPr>
          </a:lstStyle>
          <a:p>
            <a:endParaRPr lang="en-US"/>
          </a:p>
        </p:txBody>
      </p:sp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B14E011C-C076-4297-993A-6269B12CEC8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715336" y="3215368"/>
            <a:ext cx="2421200" cy="3642633"/>
          </a:xfrm>
          <a:prstGeom prst="round2SameRect">
            <a:avLst>
              <a:gd name="adj1" fmla="val 50000"/>
              <a:gd name="adj2" fmla="val 0"/>
            </a:avLst>
          </a:prstGeom>
          <a:solidFill>
            <a:srgbClr val="EDF1F6"/>
          </a:solidFill>
        </p:spPr>
        <p:txBody>
          <a:bodyPr/>
          <a:lstStyle/>
          <a:p>
            <a:endParaRPr lang="en-US"/>
          </a:p>
        </p:txBody>
      </p:sp>
      <p:sp>
        <p:nvSpPr>
          <p:cNvPr id="24" name="Picture Placeholder 17">
            <a:extLst>
              <a:ext uri="{FF2B5EF4-FFF2-40B4-BE49-F238E27FC236}">
                <a16:creationId xmlns:a16="http://schemas.microsoft.com/office/drawing/2014/main" id="{799C6E57-0A19-4334-AAAF-08B6BB2F2833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704633" y="1595780"/>
            <a:ext cx="699467" cy="688637"/>
          </a:xfrm>
          <a:prstGeom prst="ellipse">
            <a:avLst/>
          </a:prstGeom>
          <a:solidFill>
            <a:schemeClr val="bg1"/>
          </a:solidFill>
          <a:ln w="101600">
            <a:solidFill>
              <a:schemeClr val="bg1"/>
            </a:solidFill>
          </a:ln>
        </p:spPr>
        <p:txBody>
          <a:bodyPr/>
          <a:lstStyle>
            <a:lvl1pPr>
              <a:defRPr>
                <a:noFill/>
              </a:defRPr>
            </a:lvl1pPr>
          </a:lstStyle>
          <a:p>
            <a:endParaRPr lang="en-US"/>
          </a:p>
        </p:txBody>
      </p:sp>
      <p:sp>
        <p:nvSpPr>
          <p:cNvPr id="26" name="Picture Placeholder 17">
            <a:extLst>
              <a:ext uri="{FF2B5EF4-FFF2-40B4-BE49-F238E27FC236}">
                <a16:creationId xmlns:a16="http://schemas.microsoft.com/office/drawing/2014/main" id="{1877A2FE-9F23-45BF-8D2A-03B5C0097EBB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6704633" y="3098740"/>
            <a:ext cx="699467" cy="688637"/>
          </a:xfrm>
          <a:prstGeom prst="ellipse">
            <a:avLst/>
          </a:prstGeom>
          <a:solidFill>
            <a:schemeClr val="bg1"/>
          </a:solidFill>
          <a:ln w="101600">
            <a:solidFill>
              <a:schemeClr val="bg1"/>
            </a:solidFill>
          </a:ln>
        </p:spPr>
        <p:txBody>
          <a:bodyPr/>
          <a:lstStyle>
            <a:lvl1pPr>
              <a:defRPr>
                <a:noFill/>
              </a:defRPr>
            </a:lvl1pPr>
          </a:lstStyle>
          <a:p>
            <a:endParaRPr lang="en-US"/>
          </a:p>
        </p:txBody>
      </p:sp>
      <p:sp>
        <p:nvSpPr>
          <p:cNvPr id="28" name="Picture Placeholder 17">
            <a:extLst>
              <a:ext uri="{FF2B5EF4-FFF2-40B4-BE49-F238E27FC236}">
                <a16:creationId xmlns:a16="http://schemas.microsoft.com/office/drawing/2014/main" id="{46FA405D-A3C1-4D33-8B98-57D1F3B32004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6704633" y="4601700"/>
            <a:ext cx="699467" cy="688637"/>
          </a:xfrm>
          <a:prstGeom prst="ellipse">
            <a:avLst/>
          </a:prstGeom>
          <a:solidFill>
            <a:schemeClr val="bg1"/>
          </a:solidFill>
          <a:ln w="101600">
            <a:solidFill>
              <a:schemeClr val="bg1"/>
            </a:solidFill>
          </a:ln>
        </p:spPr>
        <p:txBody>
          <a:bodyPr/>
          <a:lstStyle>
            <a:lvl1pPr>
              <a:defRPr>
                <a:noFill/>
              </a:defRPr>
            </a:lvl1pPr>
          </a:lstStyle>
          <a:p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58FD7D9-142A-4FD6-9261-E6EE8E9A36D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139" y="709085"/>
            <a:ext cx="4106333" cy="216111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1" name="Text Placeholder 12">
            <a:extLst>
              <a:ext uri="{FF2B5EF4-FFF2-40B4-BE49-F238E27FC236}">
                <a16:creationId xmlns:a16="http://schemas.microsoft.com/office/drawing/2014/main" id="{BB5F2F62-0794-46CB-A9EB-2A581CF795B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886700" y="1612901"/>
            <a:ext cx="3586163" cy="654396"/>
          </a:xfrm>
          <a:prstGeom prst="rect">
            <a:avLst/>
          </a:prstGeom>
        </p:spPr>
        <p:txBody>
          <a:bodyPr anchor="ctr" anchorCtr="0">
            <a:normAutofit/>
          </a:bodyPr>
          <a:lstStyle>
            <a:lvl1pPr marL="0" marR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bg2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defRPr>
            </a:lvl1pPr>
            <a:lvl2pPr>
              <a:defRPr sz="1867"/>
            </a:lvl2pPr>
            <a:lvl3pPr>
              <a:defRPr sz="1867"/>
            </a:lvl3pPr>
            <a:lvl4pPr>
              <a:defRPr sz="1867"/>
            </a:lvl4pPr>
            <a:lvl5pPr>
              <a:defRPr sz="1867"/>
            </a:lvl5pPr>
          </a:lstStyle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lang="en-US" u="none" strike="noStrike" cap="none">
              <a:solidFill>
                <a:schemeClr val="tx1"/>
              </a:solidFill>
              <a:latin typeface="CiscoSansTT ExtraLight" panose="020B0303020201020303" pitchFamily="34" charset="0"/>
              <a:ea typeface="Helvetica Neue Light"/>
              <a:cs typeface="CiscoSansTT ExtraLight" panose="020B0303020201020303" pitchFamily="34" charset="0"/>
              <a:sym typeface="Helvetica Neue Light"/>
            </a:endParaRPr>
          </a:p>
        </p:txBody>
      </p:sp>
      <p:sp>
        <p:nvSpPr>
          <p:cNvPr id="12" name="Text Placeholder 12">
            <a:extLst>
              <a:ext uri="{FF2B5EF4-FFF2-40B4-BE49-F238E27FC236}">
                <a16:creationId xmlns:a16="http://schemas.microsoft.com/office/drawing/2014/main" id="{F84798DA-E9A3-4A59-970C-C9BA43FC8C76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7886700" y="3115861"/>
            <a:ext cx="3586163" cy="654396"/>
          </a:xfrm>
          <a:prstGeom prst="rect">
            <a:avLst/>
          </a:prstGeom>
        </p:spPr>
        <p:txBody>
          <a:bodyPr anchor="ctr" anchorCtr="0">
            <a:normAutofit/>
          </a:bodyPr>
          <a:lstStyle>
            <a:lvl1pPr marL="0" marR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bg2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defRPr>
            </a:lvl1pPr>
            <a:lvl2pPr>
              <a:defRPr sz="1867"/>
            </a:lvl2pPr>
            <a:lvl3pPr>
              <a:defRPr sz="1867"/>
            </a:lvl3pPr>
            <a:lvl4pPr>
              <a:defRPr sz="1867"/>
            </a:lvl4pPr>
            <a:lvl5pPr>
              <a:defRPr sz="1867"/>
            </a:lvl5pPr>
          </a:lstStyle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lang="en-US" u="none" strike="noStrike" cap="none">
              <a:solidFill>
                <a:schemeClr val="tx1"/>
              </a:solidFill>
              <a:latin typeface="CiscoSansTT ExtraLight" panose="020B0303020201020303" pitchFamily="34" charset="0"/>
              <a:ea typeface="Helvetica Neue Light"/>
              <a:cs typeface="CiscoSansTT ExtraLight" panose="020B0303020201020303" pitchFamily="34" charset="0"/>
              <a:sym typeface="Helvetica Neue Light"/>
            </a:endParaRP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08F896D1-2CF5-49F5-BBA2-BAC147867491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7886700" y="4618821"/>
            <a:ext cx="3586163" cy="654396"/>
          </a:xfrm>
          <a:prstGeom prst="rect">
            <a:avLst/>
          </a:prstGeom>
        </p:spPr>
        <p:txBody>
          <a:bodyPr anchor="ctr" anchorCtr="0">
            <a:normAutofit/>
          </a:bodyPr>
          <a:lstStyle>
            <a:lvl1pPr marL="0" marR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bg2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defRPr>
            </a:lvl1pPr>
            <a:lvl2pPr>
              <a:defRPr sz="1867"/>
            </a:lvl2pPr>
            <a:lvl3pPr>
              <a:defRPr sz="1867"/>
            </a:lvl3pPr>
            <a:lvl4pPr>
              <a:defRPr sz="1867"/>
            </a:lvl4pPr>
            <a:lvl5pPr>
              <a:defRPr sz="1867"/>
            </a:lvl5pPr>
          </a:lstStyle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lang="en-US" u="none" strike="noStrike" cap="none">
              <a:solidFill>
                <a:schemeClr val="tx1"/>
              </a:solidFill>
              <a:latin typeface="CiscoSansTT ExtraLight" panose="020B0303020201020303" pitchFamily="34" charset="0"/>
              <a:ea typeface="Helvetica Neue Light"/>
              <a:cs typeface="CiscoSansTT ExtraLight" panose="020B0303020201020303" pitchFamily="34" charset="0"/>
              <a:sym typeface="Helvetica Neue Light"/>
            </a:endParaRP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BA88107-D85B-4102-99BA-0504C34B915E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34132855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4">
            <a:extLst>
              <a:ext uri="{FF2B5EF4-FFF2-40B4-BE49-F238E27FC236}">
                <a16:creationId xmlns:a16="http://schemas.microsoft.com/office/drawing/2014/main" id="{E533B4C3-00C3-4EE9-9CE8-212AE8648688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1989" cy="6858000"/>
          </a:xfrm>
          <a:prstGeom prst="rect">
            <a:avLst/>
          </a:prstGeom>
          <a:solidFill>
            <a:srgbClr val="EDF1F6"/>
          </a:solidFill>
        </p:spPr>
        <p:txBody>
          <a:bodyPr/>
          <a:lstStyle>
            <a:lvl1pPr>
              <a:defRPr>
                <a:noFill/>
              </a:defRPr>
            </a:lvl1pPr>
          </a:lstStyle>
          <a:p>
            <a:endParaRPr lang="en-US"/>
          </a:p>
        </p:txBody>
      </p:sp>
      <p:sp>
        <p:nvSpPr>
          <p:cNvPr id="9" name="Picture Placeholder 6">
            <a:extLst>
              <a:ext uri="{FF2B5EF4-FFF2-40B4-BE49-F238E27FC236}">
                <a16:creationId xmlns:a16="http://schemas.microsoft.com/office/drawing/2014/main" id="{D6741ED8-910C-4652-B7B9-9AAF0CBFA206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2" y="0"/>
            <a:ext cx="12196233" cy="6858000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>
                <a:noFill/>
              </a:defRPr>
            </a:lvl1pPr>
          </a:lstStyle>
          <a:p>
            <a:endParaRPr lang="en-US"/>
          </a:p>
        </p:txBody>
      </p:sp>
      <p:sp>
        <p:nvSpPr>
          <p:cNvPr id="12" name="Text Placeholder 21">
            <a:extLst>
              <a:ext uri="{FF2B5EF4-FFF2-40B4-BE49-F238E27FC236}">
                <a16:creationId xmlns:a16="http://schemas.microsoft.com/office/drawing/2014/main" id="{265E67DC-0D39-434C-8F32-63A1AD0CD7F3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5275351" y="4999434"/>
            <a:ext cx="1641299" cy="361041"/>
          </a:xfrm>
          <a:prstGeom prst="rect">
            <a:avLst/>
          </a:prstGeom>
        </p:spPr>
        <p:txBody>
          <a:bodyPr/>
          <a:lstStyle>
            <a:lvl1pPr algn="ctr">
              <a:defRPr sz="1600" b="0" i="0">
                <a:solidFill>
                  <a:schemeClr val="bg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defRPr>
            </a:lvl1pPr>
          </a:lstStyle>
          <a:p>
            <a:pPr lvl="0"/>
            <a:r>
              <a:rPr lang="en-GB"/>
              <a:t>Person Name</a:t>
            </a:r>
            <a:endParaRPr lang="en-US"/>
          </a:p>
        </p:txBody>
      </p:sp>
      <p:sp>
        <p:nvSpPr>
          <p:cNvPr id="15" name="Text Placeholder 9">
            <a:extLst>
              <a:ext uri="{FF2B5EF4-FFF2-40B4-BE49-F238E27FC236}">
                <a16:creationId xmlns:a16="http://schemas.microsoft.com/office/drawing/2014/main" id="{970925D7-95D9-DE4C-8670-93C1A5195C5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050887" y="1612900"/>
            <a:ext cx="8090227" cy="2764029"/>
          </a:xfrm>
          <a:prstGeom prst="rect">
            <a:avLst/>
          </a:prstGeom>
        </p:spPr>
        <p:txBody>
          <a:bodyPr/>
          <a:lstStyle>
            <a:lvl1pPr algn="ctr">
              <a:defRPr sz="2933" b="0" i="0">
                <a:solidFill>
                  <a:schemeClr val="bg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defRPr>
            </a:lvl1pPr>
            <a:lvl2pPr>
              <a:defRPr sz="2933" b="0" i="0">
                <a:solidFill>
                  <a:schemeClr val="tx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defRPr>
            </a:lvl2pPr>
            <a:lvl3pPr>
              <a:defRPr sz="2933" b="0" i="0">
                <a:solidFill>
                  <a:schemeClr val="tx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defRPr>
            </a:lvl3pPr>
            <a:lvl4pPr>
              <a:defRPr sz="2933" b="0" i="0">
                <a:solidFill>
                  <a:schemeClr val="tx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defRPr>
            </a:lvl4pPr>
            <a:lvl5pPr>
              <a:defRPr sz="2933" b="0" i="0">
                <a:solidFill>
                  <a:schemeClr val="tx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defRPr>
            </a:lvl5pPr>
          </a:lstStyle>
          <a:p>
            <a:pPr lvl="0"/>
            <a:r>
              <a:rPr lang="en-US" sz="3200">
                <a:solidFill>
                  <a:srgbClr val="FFFFFF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  <a:sym typeface="Helvetica Neue Light"/>
              </a:rPr>
              <a:t>Insert text here</a:t>
            </a:r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B6836383-F45D-47B3-ADBF-08BDF7D3AABD}"/>
              </a:ext>
            </a:extLst>
          </p:cNvPr>
          <p:cNvSpPr/>
          <p:nvPr userDrawn="1"/>
        </p:nvSpPr>
        <p:spPr>
          <a:xfrm>
            <a:off x="-1" y="-844774"/>
            <a:ext cx="12196233" cy="749580"/>
          </a:xfrm>
          <a:prstGeom prst="rect">
            <a:avLst/>
          </a:prstGeom>
          <a:solidFill>
            <a:srgbClr val="EDF1F6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2489">
                <a:solidFill>
                  <a:schemeClr val="tx1"/>
                </a:solidFill>
              </a:rPr>
              <a:t>PLEASE NOTE:</a:t>
            </a:r>
          </a:p>
          <a:p>
            <a:pPr algn="ctr"/>
            <a:r>
              <a:rPr lang="en-US" sz="2489">
                <a:solidFill>
                  <a:schemeClr val="tx1"/>
                </a:solidFill>
              </a:rPr>
              <a:t>In order to insert an image into the background, simply drag and drop your image onto the slide</a:t>
            </a:r>
          </a:p>
        </p:txBody>
      </p:sp>
    </p:spTree>
    <p:extLst>
      <p:ext uri="{BB962C8B-B14F-4D97-AF65-F5344CB8AC3E}">
        <p14:creationId xmlns:p14="http://schemas.microsoft.com/office/powerpoint/2010/main" val="329875540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Top Cen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E4E5C93-3A8E-4484-97CA-9286E439C1C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798422514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able Placeholder 2">
            <a:extLst>
              <a:ext uri="{FF2B5EF4-FFF2-40B4-BE49-F238E27FC236}">
                <a16:creationId xmlns:a16="http://schemas.microsoft.com/office/drawing/2014/main" id="{291315C8-5372-429E-98A3-1CFB19671AA6}"/>
              </a:ext>
            </a:extLst>
          </p:cNvPr>
          <p:cNvSpPr>
            <a:spLocks noGrp="1"/>
          </p:cNvSpPr>
          <p:nvPr>
            <p:ph type="tbl" sz="quarter" idx="15"/>
          </p:nvPr>
        </p:nvSpPr>
        <p:spPr>
          <a:xfrm>
            <a:off x="4729169" y="1602318"/>
            <a:ext cx="6743167" cy="1152727"/>
          </a:xfrm>
          <a:prstGeom prst="rect">
            <a:avLst/>
          </a:prstGeom>
          <a:solidFill>
            <a:srgbClr val="EDF1F6"/>
          </a:solidFill>
        </p:spPr>
        <p:txBody>
          <a:bodyPr lIns="72000" tIns="72000" rIns="72000" bIns="72000" anchor="ctr" anchorCtr="0"/>
          <a:lstStyle>
            <a:lvl1pPr>
              <a:spcAft>
                <a:spcPts val="800"/>
              </a:spcAft>
              <a:defRPr sz="1600">
                <a:latin typeface="+mn-lt"/>
              </a:defRPr>
            </a:lvl1pPr>
          </a:lstStyle>
          <a:p>
            <a:endParaRPr lang="en-US"/>
          </a:p>
        </p:txBody>
      </p:sp>
      <p:sp>
        <p:nvSpPr>
          <p:cNvPr id="33" name="Table Placeholder 32">
            <a:extLst>
              <a:ext uri="{FF2B5EF4-FFF2-40B4-BE49-F238E27FC236}">
                <a16:creationId xmlns:a16="http://schemas.microsoft.com/office/drawing/2014/main" id="{76374512-DC03-4B83-BB85-85A3FBF236B1}"/>
              </a:ext>
            </a:extLst>
          </p:cNvPr>
          <p:cNvSpPr>
            <a:spLocks noGrp="1"/>
          </p:cNvSpPr>
          <p:nvPr>
            <p:ph type="tbl" sz="quarter" idx="16"/>
          </p:nvPr>
        </p:nvSpPr>
        <p:spPr>
          <a:xfrm>
            <a:off x="4729167" y="2949999"/>
            <a:ext cx="6743167" cy="1152727"/>
          </a:xfrm>
          <a:prstGeom prst="rect">
            <a:avLst/>
          </a:prstGeom>
          <a:solidFill>
            <a:srgbClr val="EDF1F6"/>
          </a:solidFill>
        </p:spPr>
        <p:txBody>
          <a:bodyPr lIns="72000" tIns="72000" rIns="72000" bIns="72000" anchor="ctr" anchorCtr="0"/>
          <a:lstStyle>
            <a:lvl1pPr>
              <a:spcAft>
                <a:spcPts val="800"/>
              </a:spcAft>
              <a:defRPr lang="en-US" sz="1600">
                <a:latin typeface="+mn-lt"/>
              </a:defRPr>
            </a:lvl1pPr>
          </a:lstStyle>
          <a:p>
            <a:pPr lvl="0"/>
            <a:endParaRPr lang="en-US"/>
          </a:p>
        </p:txBody>
      </p:sp>
      <p:sp>
        <p:nvSpPr>
          <p:cNvPr id="36" name="Table Placeholder 35">
            <a:extLst>
              <a:ext uri="{FF2B5EF4-FFF2-40B4-BE49-F238E27FC236}">
                <a16:creationId xmlns:a16="http://schemas.microsoft.com/office/drawing/2014/main" id="{80CAC521-2683-4449-93C6-87F52104BE7A}"/>
              </a:ext>
            </a:extLst>
          </p:cNvPr>
          <p:cNvSpPr>
            <a:spLocks noGrp="1"/>
          </p:cNvSpPr>
          <p:nvPr>
            <p:ph type="tbl" sz="quarter" idx="17"/>
          </p:nvPr>
        </p:nvSpPr>
        <p:spPr>
          <a:xfrm>
            <a:off x="4729167" y="4297682"/>
            <a:ext cx="6743165" cy="1152727"/>
          </a:xfrm>
          <a:prstGeom prst="rect">
            <a:avLst/>
          </a:prstGeom>
          <a:solidFill>
            <a:srgbClr val="EDF1F6"/>
          </a:solidFill>
        </p:spPr>
        <p:txBody>
          <a:bodyPr lIns="72000" tIns="72000" rIns="72000" bIns="72000" anchor="ctr" anchorCtr="0"/>
          <a:lstStyle>
            <a:lvl1pPr>
              <a:spcAft>
                <a:spcPts val="800"/>
              </a:spcAft>
              <a:defRPr lang="en-US" sz="1600">
                <a:latin typeface="+mn-lt"/>
              </a:defRPr>
            </a:lvl1pPr>
          </a:lstStyle>
          <a:p>
            <a:pPr lvl="0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BD9AED8-6A3B-4418-8A35-72D2020889F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139" y="1608140"/>
            <a:ext cx="3793067" cy="1358899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A186C41-9705-4836-9BFB-C8F747EB9D5F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723115" y="3416302"/>
            <a:ext cx="3789091" cy="2034108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60DD964-6AEA-4168-B2B4-C81AC8DEAC6C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00473528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C7ACAD07-0E9D-41D1-BC32-C16D2E362C07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14301" y="408214"/>
            <a:ext cx="1193801" cy="1194105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>
                <a:noFill/>
              </a:defRPr>
            </a:lvl1pPr>
          </a:lstStyle>
          <a:p>
            <a:endParaRPr lang="en-US"/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54B24C29-5325-4B17-B777-A01160F2BFEF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996000"/>
            <a:ext cx="5846533" cy="4672800"/>
          </a:xfrm>
          <a:custGeom>
            <a:avLst/>
            <a:gdLst>
              <a:gd name="connsiteX0" fmla="*/ 127600 w 4384900"/>
              <a:gd name="connsiteY0" fmla="*/ 0 h 3504600"/>
              <a:gd name="connsiteX1" fmla="*/ 2632600 w 4384900"/>
              <a:gd name="connsiteY1" fmla="*/ 0 h 3504600"/>
              <a:gd name="connsiteX2" fmla="*/ 4384900 w 4384900"/>
              <a:gd name="connsiteY2" fmla="*/ 1752300 h 3504600"/>
              <a:gd name="connsiteX3" fmla="*/ 2632600 w 4384900"/>
              <a:gd name="connsiteY3" fmla="*/ 3504600 h 3504600"/>
              <a:gd name="connsiteX4" fmla="*/ 127600 w 4384900"/>
              <a:gd name="connsiteY4" fmla="*/ 3504600 h 3504600"/>
              <a:gd name="connsiteX5" fmla="*/ 0 w 4384900"/>
              <a:gd name="connsiteY5" fmla="*/ 3498157 h 3504600"/>
              <a:gd name="connsiteX6" fmla="*/ 0 w 4384900"/>
              <a:gd name="connsiteY6" fmla="*/ 6443 h 3504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384900" h="3504600">
                <a:moveTo>
                  <a:pt x="127600" y="0"/>
                </a:moveTo>
                <a:lnTo>
                  <a:pt x="2632600" y="0"/>
                </a:lnTo>
                <a:cubicBezTo>
                  <a:pt x="3600369" y="0"/>
                  <a:pt x="4384900" y="784531"/>
                  <a:pt x="4384900" y="1752300"/>
                </a:cubicBezTo>
                <a:cubicBezTo>
                  <a:pt x="4384900" y="2720069"/>
                  <a:pt x="3600369" y="3504600"/>
                  <a:pt x="2632600" y="3504600"/>
                </a:cubicBezTo>
                <a:lnTo>
                  <a:pt x="127600" y="3504600"/>
                </a:lnTo>
                <a:lnTo>
                  <a:pt x="0" y="3498157"/>
                </a:lnTo>
                <a:lnTo>
                  <a:pt x="0" y="6443"/>
                </a:lnTo>
                <a:close/>
              </a:path>
            </a:pathLst>
          </a:custGeom>
          <a:solidFill>
            <a:srgbClr val="EDF1F6"/>
          </a:solidFill>
        </p:spPr>
        <p:txBody>
          <a:bodyPr wrap="square">
            <a:noAutofit/>
          </a:bodyPr>
          <a:lstStyle/>
          <a:p>
            <a:endParaRPr lang="en-US"/>
          </a:p>
        </p:txBody>
      </p:sp>
      <p:sp>
        <p:nvSpPr>
          <p:cNvPr id="13" name="Picture Placeholder 11">
            <a:extLst>
              <a:ext uri="{FF2B5EF4-FFF2-40B4-BE49-F238E27FC236}">
                <a16:creationId xmlns:a16="http://schemas.microsoft.com/office/drawing/2014/main" id="{415A6F53-7A2A-446D-BE6F-72DFEBE1D528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3841748" y="4719861"/>
            <a:ext cx="1401181" cy="1401539"/>
          </a:xfrm>
          <a:prstGeom prst="rect">
            <a:avLst/>
          </a:prstGeom>
          <a:blipFill>
            <a:blip r:embed="rId3"/>
            <a:stretch>
              <a:fillRect/>
            </a:stretch>
          </a:blipFill>
        </p:spPr>
        <p:txBody>
          <a:bodyPr/>
          <a:lstStyle>
            <a:lvl1pPr>
              <a:defRPr>
                <a:noFill/>
              </a:defRPr>
            </a:lvl1pPr>
          </a:lstStyle>
          <a:p>
            <a:endParaRPr lang="en-US"/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5A865319-7E1E-4C7D-8F3D-C11C5F581DE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7004045" y="1612900"/>
            <a:ext cx="4480984" cy="819151"/>
          </a:xfrm>
        </p:spPr>
        <p:txBody>
          <a:bodyPr/>
          <a:lstStyle>
            <a:lvl1pPr>
              <a:defRPr sz="2000">
                <a:solidFill>
                  <a:schemeClr val="accent1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Insert short heading</a:t>
            </a:r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5008E675-2EF0-4050-B6BF-BA9467F9E5EA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6991350" y="2519364"/>
            <a:ext cx="4480981" cy="316177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A06037A2-F671-486F-93D2-B3874D8B347F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87125367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628178E9-5DA9-44DD-AADF-420059B1CD5D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10591801" y="488951"/>
            <a:ext cx="1301751" cy="1301751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>
                <a:noFill/>
              </a:defRPr>
            </a:lvl1pPr>
          </a:lstStyle>
          <a:p>
            <a:endParaRPr lang="en-US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F78B2954-CFD9-4530-9B20-E3B0177074C0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21435" y="1044900"/>
            <a:ext cx="6670565" cy="4873997"/>
          </a:xfrm>
          <a:custGeom>
            <a:avLst/>
            <a:gdLst>
              <a:gd name="connsiteX0" fmla="*/ 1827750 w 5002924"/>
              <a:gd name="connsiteY0" fmla="*/ 0 h 3655498"/>
              <a:gd name="connsiteX1" fmla="*/ 5002924 w 5002924"/>
              <a:gd name="connsiteY1" fmla="*/ 0 h 3655498"/>
              <a:gd name="connsiteX2" fmla="*/ 5002924 w 5002924"/>
              <a:gd name="connsiteY2" fmla="*/ 3655498 h 3655498"/>
              <a:gd name="connsiteX3" fmla="*/ 1827711 w 5002924"/>
              <a:gd name="connsiteY3" fmla="*/ 3655498 h 3655498"/>
              <a:gd name="connsiteX4" fmla="*/ 1640874 w 5002924"/>
              <a:gd name="connsiteY4" fmla="*/ 3646064 h 3655498"/>
              <a:gd name="connsiteX5" fmla="*/ 0 w 5002924"/>
              <a:gd name="connsiteY5" fmla="*/ 1827750 h 3655498"/>
              <a:gd name="connsiteX6" fmla="*/ 1827750 w 5002924"/>
              <a:gd name="connsiteY6" fmla="*/ 0 h 36554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002924" h="3655498">
                <a:moveTo>
                  <a:pt x="1827750" y="0"/>
                </a:moveTo>
                <a:lnTo>
                  <a:pt x="5002924" y="0"/>
                </a:lnTo>
                <a:lnTo>
                  <a:pt x="5002924" y="3655498"/>
                </a:lnTo>
                <a:lnTo>
                  <a:pt x="1827711" y="3655498"/>
                </a:lnTo>
                <a:lnTo>
                  <a:pt x="1640874" y="3646064"/>
                </a:lnTo>
                <a:cubicBezTo>
                  <a:pt x="719220" y="3552465"/>
                  <a:pt x="0" y="2774098"/>
                  <a:pt x="0" y="1827750"/>
                </a:cubicBezTo>
                <a:cubicBezTo>
                  <a:pt x="0" y="818312"/>
                  <a:pt x="818312" y="0"/>
                  <a:pt x="1827750" y="0"/>
                </a:cubicBezTo>
                <a:close/>
              </a:path>
            </a:pathLst>
          </a:custGeom>
          <a:solidFill>
            <a:srgbClr val="EDF1F6"/>
          </a:solidFill>
        </p:spPr>
        <p:txBody>
          <a:bodyPr wrap="square">
            <a:noAutofit/>
          </a:bodyPr>
          <a:lstStyle/>
          <a:p>
            <a:endParaRPr lang="en-US"/>
          </a:p>
        </p:txBody>
      </p:sp>
      <p:sp>
        <p:nvSpPr>
          <p:cNvPr id="12" name="Picture Placeholder 10">
            <a:extLst>
              <a:ext uri="{FF2B5EF4-FFF2-40B4-BE49-F238E27FC236}">
                <a16:creationId xmlns:a16="http://schemas.microsoft.com/office/drawing/2014/main" id="{0CCB00C6-BCBD-452F-819F-42406F8787EE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629399" y="5283201"/>
            <a:ext cx="984253" cy="984251"/>
          </a:xfrm>
          <a:prstGeom prst="rect">
            <a:avLst/>
          </a:prstGeom>
          <a:blipFill>
            <a:blip r:embed="rId3"/>
            <a:stretch>
              <a:fillRect/>
            </a:stretch>
          </a:blipFill>
        </p:spPr>
        <p:txBody>
          <a:bodyPr/>
          <a:lstStyle>
            <a:lvl1pPr>
              <a:defRPr>
                <a:noFill/>
              </a:defRPr>
            </a:lvl1pPr>
          </a:lstStyle>
          <a:p>
            <a:endParaRPr lang="en-US"/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41E0EB8A-C974-4157-ACB5-9C435793D71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719667" y="2967568"/>
            <a:ext cx="4029048" cy="2807757"/>
          </a:xfrm>
          <a:prstGeom prst="rect">
            <a:avLst/>
          </a:prstGeom>
        </p:spPr>
        <p:txBody>
          <a:bodyPr/>
          <a:lstStyle>
            <a:lvl1pPr marL="0" indent="0">
              <a:spcAft>
                <a:spcPts val="1600"/>
              </a:spcAft>
              <a:buFont typeface="Arial" panose="020B0604020202020204" pitchFamily="34" charset="0"/>
              <a:buNone/>
              <a:defRPr>
                <a:solidFill>
                  <a:schemeClr val="bg2"/>
                </a:solidFill>
                <a:latin typeface="+mn-lt"/>
              </a:defRPr>
            </a:lvl1pPr>
            <a:lvl2pPr marL="0" indent="0">
              <a:spcAft>
                <a:spcPts val="1600"/>
              </a:spcAft>
              <a:buFont typeface="Arial" panose="020B0604020202020204" pitchFamily="34" charset="0"/>
              <a:buNone/>
              <a:defRPr>
                <a:solidFill>
                  <a:schemeClr val="bg2"/>
                </a:solidFill>
                <a:latin typeface="+mn-lt"/>
              </a:defRPr>
            </a:lvl2pPr>
            <a:lvl3pPr marL="0" indent="0">
              <a:spcAft>
                <a:spcPts val="1600"/>
              </a:spcAft>
              <a:buFont typeface="Arial" panose="020B0604020202020204" pitchFamily="34" charset="0"/>
              <a:buNone/>
              <a:defRPr>
                <a:solidFill>
                  <a:schemeClr val="bg2"/>
                </a:solidFill>
                <a:latin typeface="+mn-lt"/>
              </a:defRPr>
            </a:lvl3pPr>
            <a:lvl4pPr marL="0" indent="0">
              <a:spcAft>
                <a:spcPts val="1600"/>
              </a:spcAft>
              <a:buFont typeface="Arial" panose="020B0604020202020204" pitchFamily="34" charset="0"/>
              <a:buNone/>
              <a:defRPr>
                <a:solidFill>
                  <a:schemeClr val="bg2"/>
                </a:solidFill>
                <a:latin typeface="+mn-lt"/>
              </a:defRPr>
            </a:lvl4pPr>
            <a:lvl5pPr marL="0" indent="0">
              <a:spcAft>
                <a:spcPts val="1600"/>
              </a:spcAft>
              <a:buFont typeface="Arial" panose="020B0604020202020204" pitchFamily="34" charset="0"/>
              <a:buNone/>
              <a:defRPr>
                <a:solidFill>
                  <a:schemeClr val="bg2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3FB6EE8-88E3-4BE5-841A-466E49FAAF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669" y="1155703"/>
            <a:ext cx="4029047" cy="136313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453401875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Text Placeholder 2">
            <a:extLst>
              <a:ext uri="{FF2B5EF4-FFF2-40B4-BE49-F238E27FC236}">
                <a16:creationId xmlns:a16="http://schemas.microsoft.com/office/drawing/2014/main" id="{78F8D08E-BDEF-4257-B4AF-8D45C9769B8D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402625" y="1719171"/>
            <a:ext cx="1974556" cy="756855"/>
          </a:xfrm>
        </p:spPr>
        <p:txBody>
          <a:bodyPr/>
          <a:lstStyle>
            <a:lvl1pPr>
              <a:defRPr sz="1200">
                <a:solidFill>
                  <a:schemeClr val="bg2"/>
                </a:solidFill>
              </a:defRPr>
            </a:lvl1pPr>
            <a:lvl5pPr>
              <a:defRPr/>
            </a:lvl5pPr>
          </a:lstStyle>
          <a:p>
            <a:pPr lvl="0"/>
            <a:r>
              <a:rPr lang="en-US"/>
              <a:t>Insert short description here</a:t>
            </a:r>
          </a:p>
        </p:txBody>
      </p:sp>
      <p:cxnSp>
        <p:nvCxnSpPr>
          <p:cNvPr id="6" name="Google Shape;1224;p213">
            <a:extLst>
              <a:ext uri="{FF2B5EF4-FFF2-40B4-BE49-F238E27FC236}">
                <a16:creationId xmlns:a16="http://schemas.microsoft.com/office/drawing/2014/main" id="{68C67C1E-F7FA-5548-8B9F-05D1053DB46A}"/>
              </a:ext>
            </a:extLst>
          </p:cNvPr>
          <p:cNvCxnSpPr/>
          <p:nvPr userDrawn="1"/>
        </p:nvCxnSpPr>
        <p:spPr>
          <a:xfrm>
            <a:off x="6504859" y="1170769"/>
            <a:ext cx="638000" cy="0"/>
          </a:xfrm>
          <a:prstGeom prst="straightConnector1">
            <a:avLst/>
          </a:prstGeom>
          <a:noFill/>
          <a:ln w="28575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</p:cxnSp>
      <p:cxnSp>
        <p:nvCxnSpPr>
          <p:cNvPr id="11" name="Google Shape;1229;p213">
            <a:extLst>
              <a:ext uri="{FF2B5EF4-FFF2-40B4-BE49-F238E27FC236}">
                <a16:creationId xmlns:a16="http://schemas.microsoft.com/office/drawing/2014/main" id="{FE8EF11A-BCE2-694B-9DCE-BD54298E5B40}"/>
              </a:ext>
            </a:extLst>
          </p:cNvPr>
          <p:cNvCxnSpPr/>
          <p:nvPr userDrawn="1"/>
        </p:nvCxnSpPr>
        <p:spPr>
          <a:xfrm>
            <a:off x="6504859" y="2883469"/>
            <a:ext cx="638000" cy="0"/>
          </a:xfrm>
          <a:prstGeom prst="straightConnector1">
            <a:avLst/>
          </a:prstGeom>
          <a:noFill/>
          <a:ln w="28575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</p:cxnSp>
      <p:cxnSp>
        <p:nvCxnSpPr>
          <p:cNvPr id="17" name="Google Shape;1235;p213">
            <a:extLst>
              <a:ext uri="{FF2B5EF4-FFF2-40B4-BE49-F238E27FC236}">
                <a16:creationId xmlns:a16="http://schemas.microsoft.com/office/drawing/2014/main" id="{C0F4385B-5632-1248-B982-AE73BA738930}"/>
              </a:ext>
            </a:extLst>
          </p:cNvPr>
          <p:cNvCxnSpPr/>
          <p:nvPr userDrawn="1"/>
        </p:nvCxnSpPr>
        <p:spPr>
          <a:xfrm>
            <a:off x="9338113" y="1170769"/>
            <a:ext cx="638000" cy="0"/>
          </a:xfrm>
          <a:prstGeom prst="straightConnector1">
            <a:avLst/>
          </a:prstGeom>
          <a:noFill/>
          <a:ln w="28575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</p:cxnSp>
      <p:cxnSp>
        <p:nvCxnSpPr>
          <p:cNvPr id="20" name="Google Shape;1238;p213">
            <a:extLst>
              <a:ext uri="{FF2B5EF4-FFF2-40B4-BE49-F238E27FC236}">
                <a16:creationId xmlns:a16="http://schemas.microsoft.com/office/drawing/2014/main" id="{EEF9B179-41FC-8140-81B8-5373ECB284D4}"/>
              </a:ext>
            </a:extLst>
          </p:cNvPr>
          <p:cNvCxnSpPr/>
          <p:nvPr userDrawn="1"/>
        </p:nvCxnSpPr>
        <p:spPr>
          <a:xfrm>
            <a:off x="9338113" y="2883469"/>
            <a:ext cx="638000" cy="0"/>
          </a:xfrm>
          <a:prstGeom prst="straightConnector1">
            <a:avLst/>
          </a:prstGeom>
          <a:noFill/>
          <a:ln w="28575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34" name="Text Placeholder 33">
            <a:extLst>
              <a:ext uri="{FF2B5EF4-FFF2-40B4-BE49-F238E27FC236}">
                <a16:creationId xmlns:a16="http://schemas.microsoft.com/office/drawing/2014/main" id="{E4F1703F-FD14-2747-80D3-F176B49F55A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402625" y="1321923"/>
            <a:ext cx="1974851" cy="383116"/>
          </a:xfrm>
          <a:prstGeom prst="rect">
            <a:avLst/>
          </a:prstGeom>
        </p:spPr>
        <p:txBody>
          <a:bodyPr/>
          <a:lstStyle>
            <a:lvl1pPr>
              <a:defRPr b="0" i="0">
                <a:solidFill>
                  <a:schemeClr val="tx1"/>
                </a:solidFill>
                <a:latin typeface="CiscoSansTT" panose="020B0503020201020303" pitchFamily="34" charset="0"/>
                <a:cs typeface="CiscoSansTT" panose="020B0503020201020303" pitchFamily="34" charset="0"/>
              </a:defRPr>
            </a:lvl1pPr>
          </a:lstStyle>
          <a:p>
            <a:pPr lvl="0"/>
            <a:r>
              <a:rPr lang="en-GB"/>
              <a:t>Lorem</a:t>
            </a:r>
            <a:endParaRPr lang="en-US"/>
          </a:p>
        </p:txBody>
      </p:sp>
      <p:sp>
        <p:nvSpPr>
          <p:cNvPr id="36" name="Text Placeholder 33">
            <a:extLst>
              <a:ext uri="{FF2B5EF4-FFF2-40B4-BE49-F238E27FC236}">
                <a16:creationId xmlns:a16="http://schemas.microsoft.com/office/drawing/2014/main" id="{738D0011-FE5C-6641-AED1-0F6D9B42410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258925" y="1316567"/>
            <a:ext cx="1974851" cy="383116"/>
          </a:xfrm>
          <a:prstGeom prst="rect">
            <a:avLst/>
          </a:prstGeom>
        </p:spPr>
        <p:txBody>
          <a:bodyPr/>
          <a:lstStyle>
            <a:lvl1pPr>
              <a:defRPr b="0" i="0">
                <a:solidFill>
                  <a:schemeClr val="tx1"/>
                </a:solidFill>
                <a:latin typeface="CiscoSansTT" panose="020B0503020201020303" pitchFamily="34" charset="0"/>
                <a:cs typeface="CiscoSansTT" panose="020B0503020201020303" pitchFamily="34" charset="0"/>
              </a:defRPr>
            </a:lvl1pPr>
          </a:lstStyle>
          <a:p>
            <a:pPr lvl="0"/>
            <a:r>
              <a:rPr lang="en-GB"/>
              <a:t>Lorem</a:t>
            </a:r>
            <a:endParaRPr lang="en-US"/>
          </a:p>
        </p:txBody>
      </p:sp>
      <p:sp>
        <p:nvSpPr>
          <p:cNvPr id="37" name="Text Placeholder 33">
            <a:extLst>
              <a:ext uri="{FF2B5EF4-FFF2-40B4-BE49-F238E27FC236}">
                <a16:creationId xmlns:a16="http://schemas.microsoft.com/office/drawing/2014/main" id="{0C772D10-64AC-0A46-AC66-15F55CB301D4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402625" y="3033310"/>
            <a:ext cx="1974851" cy="383116"/>
          </a:xfrm>
          <a:prstGeom prst="rect">
            <a:avLst/>
          </a:prstGeom>
        </p:spPr>
        <p:txBody>
          <a:bodyPr/>
          <a:lstStyle>
            <a:lvl1pPr>
              <a:defRPr b="0" i="0">
                <a:solidFill>
                  <a:schemeClr val="tx1"/>
                </a:solidFill>
                <a:latin typeface="CiscoSansTT" panose="020B0503020201020303" pitchFamily="34" charset="0"/>
                <a:cs typeface="CiscoSansTT" panose="020B0503020201020303" pitchFamily="34" charset="0"/>
              </a:defRPr>
            </a:lvl1pPr>
          </a:lstStyle>
          <a:p>
            <a:pPr lvl="0"/>
            <a:r>
              <a:rPr lang="en-GB"/>
              <a:t>Lorem</a:t>
            </a:r>
            <a:endParaRPr lang="en-US"/>
          </a:p>
        </p:txBody>
      </p:sp>
      <p:sp>
        <p:nvSpPr>
          <p:cNvPr id="38" name="Text Placeholder 33">
            <a:extLst>
              <a:ext uri="{FF2B5EF4-FFF2-40B4-BE49-F238E27FC236}">
                <a16:creationId xmlns:a16="http://schemas.microsoft.com/office/drawing/2014/main" id="{AFD5C6FC-1D6D-804C-B9DB-5C348B87BB43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9258925" y="3027955"/>
            <a:ext cx="1974851" cy="383116"/>
          </a:xfrm>
          <a:prstGeom prst="rect">
            <a:avLst/>
          </a:prstGeom>
        </p:spPr>
        <p:txBody>
          <a:bodyPr/>
          <a:lstStyle>
            <a:lvl1pPr>
              <a:defRPr b="0" i="0">
                <a:solidFill>
                  <a:schemeClr val="tx1"/>
                </a:solidFill>
                <a:latin typeface="CiscoSansTT" panose="020B0503020201020303" pitchFamily="34" charset="0"/>
                <a:cs typeface="CiscoSansTT" panose="020B0503020201020303" pitchFamily="34" charset="0"/>
              </a:defRPr>
            </a:lvl1pPr>
          </a:lstStyle>
          <a:p>
            <a:pPr lvl="0"/>
            <a:r>
              <a:rPr lang="en-GB"/>
              <a:t>Lorem</a:t>
            </a:r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B2D0F69-DC62-4D67-8A64-70C1D1EC982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139" y="1612901"/>
            <a:ext cx="4318000" cy="1287516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21" name="Google Shape;1229;p213">
            <a:extLst>
              <a:ext uri="{FF2B5EF4-FFF2-40B4-BE49-F238E27FC236}">
                <a16:creationId xmlns:a16="http://schemas.microsoft.com/office/drawing/2014/main" id="{CEA0F091-302A-4927-A8DD-577AC767374D}"/>
              </a:ext>
            </a:extLst>
          </p:cNvPr>
          <p:cNvCxnSpPr/>
          <p:nvPr userDrawn="1"/>
        </p:nvCxnSpPr>
        <p:spPr>
          <a:xfrm>
            <a:off x="6504859" y="4585269"/>
            <a:ext cx="638000" cy="0"/>
          </a:xfrm>
          <a:prstGeom prst="straightConnector1">
            <a:avLst/>
          </a:prstGeom>
          <a:noFill/>
          <a:ln w="28575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</p:cxnSp>
      <p:cxnSp>
        <p:nvCxnSpPr>
          <p:cNvPr id="22" name="Google Shape;1238;p213">
            <a:extLst>
              <a:ext uri="{FF2B5EF4-FFF2-40B4-BE49-F238E27FC236}">
                <a16:creationId xmlns:a16="http://schemas.microsoft.com/office/drawing/2014/main" id="{A868F961-DC9F-4B48-8F97-A1686F674246}"/>
              </a:ext>
            </a:extLst>
          </p:cNvPr>
          <p:cNvCxnSpPr/>
          <p:nvPr userDrawn="1"/>
        </p:nvCxnSpPr>
        <p:spPr>
          <a:xfrm>
            <a:off x="9338113" y="4585269"/>
            <a:ext cx="638000" cy="0"/>
          </a:xfrm>
          <a:prstGeom prst="straightConnector1">
            <a:avLst/>
          </a:prstGeom>
          <a:noFill/>
          <a:ln w="28575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23" name="Text Placeholder 33">
            <a:extLst>
              <a:ext uri="{FF2B5EF4-FFF2-40B4-BE49-F238E27FC236}">
                <a16:creationId xmlns:a16="http://schemas.microsoft.com/office/drawing/2014/main" id="{83E8820D-8E81-4A56-9485-BB161CE50651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402625" y="4735110"/>
            <a:ext cx="1974851" cy="383116"/>
          </a:xfrm>
          <a:prstGeom prst="rect">
            <a:avLst/>
          </a:prstGeom>
        </p:spPr>
        <p:txBody>
          <a:bodyPr/>
          <a:lstStyle>
            <a:lvl1pPr>
              <a:defRPr b="0" i="0">
                <a:solidFill>
                  <a:schemeClr val="tx1"/>
                </a:solidFill>
                <a:latin typeface="CiscoSansTT" panose="020B0503020201020303" pitchFamily="34" charset="0"/>
                <a:cs typeface="CiscoSansTT" panose="020B0503020201020303" pitchFamily="34" charset="0"/>
              </a:defRPr>
            </a:lvl1pPr>
          </a:lstStyle>
          <a:p>
            <a:pPr lvl="0"/>
            <a:r>
              <a:rPr lang="en-GB"/>
              <a:t>Lorem</a:t>
            </a:r>
            <a:endParaRPr lang="en-US"/>
          </a:p>
        </p:txBody>
      </p:sp>
      <p:sp>
        <p:nvSpPr>
          <p:cNvPr id="24" name="Text Placeholder 33">
            <a:extLst>
              <a:ext uri="{FF2B5EF4-FFF2-40B4-BE49-F238E27FC236}">
                <a16:creationId xmlns:a16="http://schemas.microsoft.com/office/drawing/2014/main" id="{964F4B52-8FE5-47F3-A1CA-2A5857DF7364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9258925" y="4729755"/>
            <a:ext cx="1974851" cy="383116"/>
          </a:xfrm>
          <a:prstGeom prst="rect">
            <a:avLst/>
          </a:prstGeom>
        </p:spPr>
        <p:txBody>
          <a:bodyPr/>
          <a:lstStyle>
            <a:lvl1pPr>
              <a:defRPr b="0" i="0">
                <a:solidFill>
                  <a:schemeClr val="tx1"/>
                </a:solidFill>
                <a:latin typeface="CiscoSansTT" panose="020B0503020201020303" pitchFamily="34" charset="0"/>
                <a:cs typeface="CiscoSansTT" panose="020B0503020201020303" pitchFamily="34" charset="0"/>
              </a:defRPr>
            </a:lvl1pPr>
          </a:lstStyle>
          <a:p>
            <a:pPr lvl="0"/>
            <a:r>
              <a:rPr lang="en-GB"/>
              <a:t>Lorem</a:t>
            </a:r>
            <a:endParaRPr lang="en-US"/>
          </a:p>
        </p:txBody>
      </p:sp>
      <p:sp>
        <p:nvSpPr>
          <p:cNvPr id="27" name="Text Placeholder 4">
            <a:extLst>
              <a:ext uri="{FF2B5EF4-FFF2-40B4-BE49-F238E27FC236}">
                <a16:creationId xmlns:a16="http://schemas.microsoft.com/office/drawing/2014/main" id="{7E5ABB63-A528-43FA-881E-D107DD2EE06D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719139" y="2967039"/>
            <a:ext cx="4318000" cy="2244724"/>
          </a:xfrm>
        </p:spPr>
        <p:txBody>
          <a:bodyPr/>
          <a:lstStyle>
            <a:lvl1pPr>
              <a:defRPr sz="1800">
                <a:solidFill>
                  <a:schemeClr val="accent1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Insert short heading</a:t>
            </a:r>
          </a:p>
        </p:txBody>
      </p:sp>
      <p:sp>
        <p:nvSpPr>
          <p:cNvPr id="29" name="Text Placeholder 2">
            <a:extLst>
              <a:ext uri="{FF2B5EF4-FFF2-40B4-BE49-F238E27FC236}">
                <a16:creationId xmlns:a16="http://schemas.microsoft.com/office/drawing/2014/main" id="{4C7B152B-019D-4E76-9537-028F94E0CDA7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9258925" y="1719171"/>
            <a:ext cx="1974556" cy="756855"/>
          </a:xfrm>
        </p:spPr>
        <p:txBody>
          <a:bodyPr/>
          <a:lstStyle>
            <a:lvl1pPr>
              <a:defRPr sz="1200">
                <a:solidFill>
                  <a:schemeClr val="bg2"/>
                </a:solidFill>
              </a:defRPr>
            </a:lvl1pPr>
            <a:lvl5pPr>
              <a:defRPr/>
            </a:lvl5pPr>
          </a:lstStyle>
          <a:p>
            <a:pPr lvl="0"/>
            <a:r>
              <a:rPr lang="en-US"/>
              <a:t>Insert short description here</a:t>
            </a:r>
          </a:p>
        </p:txBody>
      </p:sp>
      <p:sp>
        <p:nvSpPr>
          <p:cNvPr id="30" name="Text Placeholder 2">
            <a:extLst>
              <a:ext uri="{FF2B5EF4-FFF2-40B4-BE49-F238E27FC236}">
                <a16:creationId xmlns:a16="http://schemas.microsoft.com/office/drawing/2014/main" id="{2451295A-018C-4213-AD54-3E6A0B68ADBE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402625" y="3425870"/>
            <a:ext cx="1974556" cy="756855"/>
          </a:xfrm>
        </p:spPr>
        <p:txBody>
          <a:bodyPr/>
          <a:lstStyle>
            <a:lvl1pPr>
              <a:defRPr sz="1200">
                <a:solidFill>
                  <a:schemeClr val="bg2"/>
                </a:solidFill>
              </a:defRPr>
            </a:lvl1pPr>
            <a:lvl5pPr>
              <a:defRPr/>
            </a:lvl5pPr>
          </a:lstStyle>
          <a:p>
            <a:pPr lvl="0"/>
            <a:r>
              <a:rPr lang="en-US"/>
              <a:t>Insert short description here</a:t>
            </a:r>
          </a:p>
        </p:txBody>
      </p:sp>
      <p:sp>
        <p:nvSpPr>
          <p:cNvPr id="31" name="Text Placeholder 2">
            <a:extLst>
              <a:ext uri="{FF2B5EF4-FFF2-40B4-BE49-F238E27FC236}">
                <a16:creationId xmlns:a16="http://schemas.microsoft.com/office/drawing/2014/main" id="{4DC19EF5-D238-4EDE-8372-F96F6D145E12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9258925" y="3425870"/>
            <a:ext cx="1974556" cy="756855"/>
          </a:xfrm>
        </p:spPr>
        <p:txBody>
          <a:bodyPr/>
          <a:lstStyle>
            <a:lvl1pPr>
              <a:defRPr sz="1200">
                <a:solidFill>
                  <a:schemeClr val="bg2"/>
                </a:solidFill>
              </a:defRPr>
            </a:lvl1pPr>
            <a:lvl5pPr>
              <a:defRPr/>
            </a:lvl5pPr>
          </a:lstStyle>
          <a:p>
            <a:pPr lvl="0"/>
            <a:r>
              <a:rPr lang="en-US"/>
              <a:t>Insert short description here</a:t>
            </a:r>
          </a:p>
        </p:txBody>
      </p:sp>
      <p:sp>
        <p:nvSpPr>
          <p:cNvPr id="39" name="Text Placeholder 2">
            <a:extLst>
              <a:ext uri="{FF2B5EF4-FFF2-40B4-BE49-F238E27FC236}">
                <a16:creationId xmlns:a16="http://schemas.microsoft.com/office/drawing/2014/main" id="{74C80095-E327-4754-A961-951C33E82A14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6402625" y="5124026"/>
            <a:ext cx="1974556" cy="756855"/>
          </a:xfrm>
        </p:spPr>
        <p:txBody>
          <a:bodyPr/>
          <a:lstStyle>
            <a:lvl1pPr>
              <a:defRPr sz="1200">
                <a:solidFill>
                  <a:schemeClr val="bg2"/>
                </a:solidFill>
              </a:defRPr>
            </a:lvl1pPr>
            <a:lvl5pPr>
              <a:defRPr/>
            </a:lvl5pPr>
          </a:lstStyle>
          <a:p>
            <a:pPr lvl="0"/>
            <a:r>
              <a:rPr lang="en-US"/>
              <a:t>Insert short description here</a:t>
            </a:r>
          </a:p>
        </p:txBody>
      </p:sp>
      <p:sp>
        <p:nvSpPr>
          <p:cNvPr id="42" name="Text Placeholder 2">
            <a:extLst>
              <a:ext uri="{FF2B5EF4-FFF2-40B4-BE49-F238E27FC236}">
                <a16:creationId xmlns:a16="http://schemas.microsoft.com/office/drawing/2014/main" id="{51CC7C50-6BB9-4426-8656-99F7CB1F1F14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9258925" y="5124026"/>
            <a:ext cx="1974556" cy="756855"/>
          </a:xfrm>
        </p:spPr>
        <p:txBody>
          <a:bodyPr/>
          <a:lstStyle>
            <a:lvl1pPr>
              <a:defRPr sz="1200">
                <a:solidFill>
                  <a:schemeClr val="bg2"/>
                </a:solidFill>
              </a:defRPr>
            </a:lvl1pPr>
            <a:lvl5pPr>
              <a:defRPr/>
            </a:lvl5pPr>
          </a:lstStyle>
          <a:p>
            <a:pPr lvl="0"/>
            <a:r>
              <a:rPr lang="en-US"/>
              <a:t>Insert short description here</a:t>
            </a:r>
          </a:p>
        </p:txBody>
      </p:sp>
    </p:spTree>
    <p:extLst>
      <p:ext uri="{BB962C8B-B14F-4D97-AF65-F5344CB8AC3E}">
        <p14:creationId xmlns:p14="http://schemas.microsoft.com/office/powerpoint/2010/main" val="3368817781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Closing Slide" preserve="1">
  <p:cSld name="Closing Slide">
    <p:bg>
      <p:bgRef idx="1001">
        <a:schemeClr val="bg2"/>
      </p:bgRef>
    </p:bg>
    <p:spTree>
      <p:nvGrpSpPr>
        <p:cNvPr id="1" name="Shape 17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>
            <a:extLst>
              <a:ext uri="{FF2B5EF4-FFF2-40B4-BE49-F238E27FC236}">
                <a16:creationId xmlns:a16="http://schemas.microsoft.com/office/drawing/2014/main" id="{F2E8120F-5B0E-4DE5-B130-9C49D2B24A32}"/>
              </a:ext>
            </a:extLst>
          </p:cNvPr>
          <p:cNvGrpSpPr/>
          <p:nvPr userDrawn="1"/>
        </p:nvGrpSpPr>
        <p:grpSpPr>
          <a:xfrm>
            <a:off x="3522511" y="3058753"/>
            <a:ext cx="5146980" cy="724599"/>
            <a:chOff x="2641883" y="2294063"/>
            <a:chExt cx="3860235" cy="543449"/>
          </a:xfrm>
        </p:grpSpPr>
        <p:grpSp>
          <p:nvGrpSpPr>
            <p:cNvPr id="5" name="Graphic 29">
              <a:extLst>
                <a:ext uri="{FF2B5EF4-FFF2-40B4-BE49-F238E27FC236}">
                  <a16:creationId xmlns:a16="http://schemas.microsoft.com/office/drawing/2014/main" id="{0A172D14-3CBF-4949-9AE4-311DECBD8083}"/>
                </a:ext>
              </a:extLst>
            </p:cNvPr>
            <p:cNvGrpSpPr/>
            <p:nvPr userDrawn="1"/>
          </p:nvGrpSpPr>
          <p:grpSpPr>
            <a:xfrm>
              <a:off x="3586197" y="2294063"/>
              <a:ext cx="2915921" cy="543449"/>
              <a:chOff x="4208467" y="3085570"/>
              <a:chExt cx="4752975" cy="885825"/>
            </a:xfrm>
            <a:solidFill>
              <a:srgbClr val="FFFFFF"/>
            </a:solidFill>
          </p:grpSpPr>
          <p:sp>
            <p:nvSpPr>
              <p:cNvPr id="7" name="Freeform: Shape 6">
                <a:extLst>
                  <a:ext uri="{FF2B5EF4-FFF2-40B4-BE49-F238E27FC236}">
                    <a16:creationId xmlns:a16="http://schemas.microsoft.com/office/drawing/2014/main" id="{14114964-F8BB-4F60-8206-4F087B8FA367}"/>
                  </a:ext>
                </a:extLst>
              </p:cNvPr>
              <p:cNvSpPr/>
              <p:nvPr/>
            </p:nvSpPr>
            <p:spPr>
              <a:xfrm>
                <a:off x="4215135" y="3085570"/>
                <a:ext cx="285750" cy="342900"/>
              </a:xfrm>
              <a:custGeom>
                <a:avLst/>
                <a:gdLst>
                  <a:gd name="connsiteX0" fmla="*/ 149542 w 285750"/>
                  <a:gd name="connsiteY0" fmla="*/ 322898 h 342900"/>
                  <a:gd name="connsiteX1" fmla="*/ 227647 w 285750"/>
                  <a:gd name="connsiteY1" fmla="*/ 294323 h 342900"/>
                  <a:gd name="connsiteX2" fmla="*/ 259080 w 285750"/>
                  <a:gd name="connsiteY2" fmla="*/ 228600 h 342900"/>
                  <a:gd name="connsiteX3" fmla="*/ 284797 w 285750"/>
                  <a:gd name="connsiteY3" fmla="*/ 228600 h 342900"/>
                  <a:gd name="connsiteX4" fmla="*/ 239077 w 285750"/>
                  <a:gd name="connsiteY4" fmla="*/ 315278 h 342900"/>
                  <a:gd name="connsiteX5" fmla="*/ 149542 w 285750"/>
                  <a:gd name="connsiteY5" fmla="*/ 345758 h 342900"/>
                  <a:gd name="connsiteX6" fmla="*/ 36195 w 285750"/>
                  <a:gd name="connsiteY6" fmla="*/ 293370 h 342900"/>
                  <a:gd name="connsiteX7" fmla="*/ 0 w 285750"/>
                  <a:gd name="connsiteY7" fmla="*/ 175260 h 342900"/>
                  <a:gd name="connsiteX8" fmla="*/ 48577 w 285750"/>
                  <a:gd name="connsiteY8" fmla="*/ 39053 h 342900"/>
                  <a:gd name="connsiteX9" fmla="*/ 150495 w 285750"/>
                  <a:gd name="connsiteY9" fmla="*/ 0 h 342900"/>
                  <a:gd name="connsiteX10" fmla="*/ 246697 w 285750"/>
                  <a:gd name="connsiteY10" fmla="*/ 32385 h 342900"/>
                  <a:gd name="connsiteX11" fmla="*/ 286702 w 285750"/>
                  <a:gd name="connsiteY11" fmla="*/ 106680 h 342900"/>
                  <a:gd name="connsiteX12" fmla="*/ 260985 w 285750"/>
                  <a:gd name="connsiteY12" fmla="*/ 106680 h 342900"/>
                  <a:gd name="connsiteX13" fmla="*/ 219075 w 285750"/>
                  <a:gd name="connsiteY13" fmla="*/ 40958 h 342900"/>
                  <a:gd name="connsiteX14" fmla="*/ 150495 w 285750"/>
                  <a:gd name="connsiteY14" fmla="*/ 21908 h 342900"/>
                  <a:gd name="connsiteX15" fmla="*/ 58102 w 285750"/>
                  <a:gd name="connsiteY15" fmla="*/ 66675 h 342900"/>
                  <a:gd name="connsiteX16" fmla="*/ 27622 w 285750"/>
                  <a:gd name="connsiteY16" fmla="*/ 175260 h 342900"/>
                  <a:gd name="connsiteX17" fmla="*/ 67627 w 285750"/>
                  <a:gd name="connsiteY17" fmla="*/ 288608 h 342900"/>
                  <a:gd name="connsiteX18" fmla="*/ 149542 w 285750"/>
                  <a:gd name="connsiteY18" fmla="*/ 322898 h 3429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285750" h="342900">
                    <a:moveTo>
                      <a:pt x="149542" y="322898"/>
                    </a:moveTo>
                    <a:cubicBezTo>
                      <a:pt x="181927" y="322898"/>
                      <a:pt x="207645" y="313373"/>
                      <a:pt x="227647" y="294323"/>
                    </a:cubicBezTo>
                    <a:cubicBezTo>
                      <a:pt x="245745" y="277178"/>
                      <a:pt x="256222" y="255270"/>
                      <a:pt x="259080" y="228600"/>
                    </a:cubicBezTo>
                    <a:lnTo>
                      <a:pt x="284797" y="228600"/>
                    </a:lnTo>
                    <a:cubicBezTo>
                      <a:pt x="280988" y="264795"/>
                      <a:pt x="265747" y="293370"/>
                      <a:pt x="239077" y="315278"/>
                    </a:cubicBezTo>
                    <a:cubicBezTo>
                      <a:pt x="214313" y="335280"/>
                      <a:pt x="184785" y="345758"/>
                      <a:pt x="149542" y="345758"/>
                    </a:cubicBezTo>
                    <a:cubicBezTo>
                      <a:pt x="100965" y="345758"/>
                      <a:pt x="63817" y="328613"/>
                      <a:pt x="36195" y="293370"/>
                    </a:cubicBezTo>
                    <a:cubicBezTo>
                      <a:pt x="11430" y="262890"/>
                      <a:pt x="0" y="223838"/>
                      <a:pt x="0" y="175260"/>
                    </a:cubicBezTo>
                    <a:cubicBezTo>
                      <a:pt x="0" y="116205"/>
                      <a:pt x="16192" y="70485"/>
                      <a:pt x="48577" y="39053"/>
                    </a:cubicBezTo>
                    <a:cubicBezTo>
                      <a:pt x="75247" y="13335"/>
                      <a:pt x="109538" y="0"/>
                      <a:pt x="150495" y="0"/>
                    </a:cubicBezTo>
                    <a:cubicBezTo>
                      <a:pt x="189547" y="0"/>
                      <a:pt x="220980" y="10478"/>
                      <a:pt x="246697" y="32385"/>
                    </a:cubicBezTo>
                    <a:cubicBezTo>
                      <a:pt x="268605" y="51435"/>
                      <a:pt x="281940" y="76200"/>
                      <a:pt x="286702" y="106680"/>
                    </a:cubicBezTo>
                    <a:lnTo>
                      <a:pt x="260985" y="106680"/>
                    </a:lnTo>
                    <a:cubicBezTo>
                      <a:pt x="255270" y="77153"/>
                      <a:pt x="241935" y="55245"/>
                      <a:pt x="219075" y="40958"/>
                    </a:cubicBezTo>
                    <a:cubicBezTo>
                      <a:pt x="200977" y="28575"/>
                      <a:pt x="178117" y="21908"/>
                      <a:pt x="150495" y="21908"/>
                    </a:cubicBezTo>
                    <a:cubicBezTo>
                      <a:pt x="111442" y="21908"/>
                      <a:pt x="80963" y="37148"/>
                      <a:pt x="58102" y="66675"/>
                    </a:cubicBezTo>
                    <a:cubicBezTo>
                      <a:pt x="37147" y="93345"/>
                      <a:pt x="27622" y="129540"/>
                      <a:pt x="27622" y="175260"/>
                    </a:cubicBezTo>
                    <a:cubicBezTo>
                      <a:pt x="27622" y="223838"/>
                      <a:pt x="40958" y="260985"/>
                      <a:pt x="67627" y="288608"/>
                    </a:cubicBezTo>
                    <a:cubicBezTo>
                      <a:pt x="87630" y="311468"/>
                      <a:pt x="115252" y="322898"/>
                      <a:pt x="149542" y="322898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2489">
                  <a:latin typeface="CiscoSansTT Light" panose="020B0503020201020303" pitchFamily="34" charset="0"/>
                  <a:cs typeface="CiscoSansTT Light" panose="020B0503020201020303" pitchFamily="34" charset="0"/>
                </a:endParaRPr>
              </a:p>
            </p:txBody>
          </p:sp>
          <p:sp>
            <p:nvSpPr>
              <p:cNvPr id="8" name="Freeform: Shape 7">
                <a:extLst>
                  <a:ext uri="{FF2B5EF4-FFF2-40B4-BE49-F238E27FC236}">
                    <a16:creationId xmlns:a16="http://schemas.microsoft.com/office/drawing/2014/main" id="{CCC4FD87-FD89-4B76-9ACC-3A4FB1A981E4}"/>
                  </a:ext>
                </a:extLst>
              </p:cNvPr>
              <p:cNvSpPr/>
              <p:nvPr/>
            </p:nvSpPr>
            <p:spPr>
              <a:xfrm>
                <a:off x="4544699" y="3092237"/>
                <a:ext cx="28575" cy="323850"/>
              </a:xfrm>
              <a:custGeom>
                <a:avLst/>
                <a:gdLst>
                  <a:gd name="connsiteX0" fmla="*/ 29528 w 28575"/>
                  <a:gd name="connsiteY0" fmla="*/ 34290 h 323850"/>
                  <a:gd name="connsiteX1" fmla="*/ 0 w 28575"/>
                  <a:gd name="connsiteY1" fmla="*/ 34290 h 323850"/>
                  <a:gd name="connsiteX2" fmla="*/ 0 w 28575"/>
                  <a:gd name="connsiteY2" fmla="*/ 0 h 323850"/>
                  <a:gd name="connsiteX3" fmla="*/ 29528 w 28575"/>
                  <a:gd name="connsiteY3" fmla="*/ 0 h 323850"/>
                  <a:gd name="connsiteX4" fmla="*/ 29528 w 28575"/>
                  <a:gd name="connsiteY4" fmla="*/ 34290 h 323850"/>
                  <a:gd name="connsiteX5" fmla="*/ 27623 w 28575"/>
                  <a:gd name="connsiteY5" fmla="*/ 332423 h 323850"/>
                  <a:gd name="connsiteX6" fmla="*/ 2858 w 28575"/>
                  <a:gd name="connsiteY6" fmla="*/ 332423 h 323850"/>
                  <a:gd name="connsiteX7" fmla="*/ 2858 w 28575"/>
                  <a:gd name="connsiteY7" fmla="*/ 92393 h 323850"/>
                  <a:gd name="connsiteX8" fmla="*/ 27623 w 28575"/>
                  <a:gd name="connsiteY8" fmla="*/ 92393 h 323850"/>
                  <a:gd name="connsiteX9" fmla="*/ 27623 w 28575"/>
                  <a:gd name="connsiteY9" fmla="*/ 332423 h 3238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28575" h="323850">
                    <a:moveTo>
                      <a:pt x="29528" y="34290"/>
                    </a:moveTo>
                    <a:lnTo>
                      <a:pt x="0" y="34290"/>
                    </a:lnTo>
                    <a:lnTo>
                      <a:pt x="0" y="0"/>
                    </a:lnTo>
                    <a:lnTo>
                      <a:pt x="29528" y="0"/>
                    </a:lnTo>
                    <a:lnTo>
                      <a:pt x="29528" y="34290"/>
                    </a:lnTo>
                    <a:close/>
                    <a:moveTo>
                      <a:pt x="27623" y="332423"/>
                    </a:moveTo>
                    <a:lnTo>
                      <a:pt x="2858" y="332423"/>
                    </a:lnTo>
                    <a:lnTo>
                      <a:pt x="2858" y="92393"/>
                    </a:lnTo>
                    <a:lnTo>
                      <a:pt x="27623" y="92393"/>
                    </a:lnTo>
                    <a:lnTo>
                      <a:pt x="27623" y="332423"/>
                    </a:ln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2489">
                  <a:latin typeface="CiscoSansTT Light" panose="020B0503020201020303" pitchFamily="34" charset="0"/>
                  <a:cs typeface="CiscoSansTT Light" panose="020B0503020201020303" pitchFamily="34" charset="0"/>
                </a:endParaRPr>
              </a:p>
            </p:txBody>
          </p:sp>
          <p:sp>
            <p:nvSpPr>
              <p:cNvPr id="9" name="Freeform: Shape 8">
                <a:extLst>
                  <a:ext uri="{FF2B5EF4-FFF2-40B4-BE49-F238E27FC236}">
                    <a16:creationId xmlns:a16="http://schemas.microsoft.com/office/drawing/2014/main" id="{7B244809-8CCE-49C2-8048-F167F8AAB089}"/>
                  </a:ext>
                </a:extLst>
              </p:cNvPr>
              <p:cNvSpPr/>
              <p:nvPr/>
            </p:nvSpPr>
            <p:spPr>
              <a:xfrm>
                <a:off x="4616137" y="3177962"/>
                <a:ext cx="190500" cy="247650"/>
              </a:xfrm>
              <a:custGeom>
                <a:avLst/>
                <a:gdLst>
                  <a:gd name="connsiteX0" fmla="*/ 164783 w 190500"/>
                  <a:gd name="connsiteY0" fmla="*/ 183833 h 247650"/>
                  <a:gd name="connsiteX1" fmla="*/ 143828 w 190500"/>
                  <a:gd name="connsiteY1" fmla="*/ 147638 h 247650"/>
                  <a:gd name="connsiteX2" fmla="*/ 86678 w 190500"/>
                  <a:gd name="connsiteY2" fmla="*/ 130493 h 247650"/>
                  <a:gd name="connsiteX3" fmla="*/ 8573 w 190500"/>
                  <a:gd name="connsiteY3" fmla="*/ 63818 h 247650"/>
                  <a:gd name="connsiteX4" fmla="*/ 33338 w 190500"/>
                  <a:gd name="connsiteY4" fmla="*/ 16192 h 247650"/>
                  <a:gd name="connsiteX5" fmla="*/ 95250 w 190500"/>
                  <a:gd name="connsiteY5" fmla="*/ 0 h 247650"/>
                  <a:gd name="connsiteX6" fmla="*/ 160973 w 190500"/>
                  <a:gd name="connsiteY6" fmla="*/ 20003 h 247650"/>
                  <a:gd name="connsiteX7" fmla="*/ 188595 w 190500"/>
                  <a:gd name="connsiteY7" fmla="*/ 65723 h 247650"/>
                  <a:gd name="connsiteX8" fmla="*/ 162878 w 190500"/>
                  <a:gd name="connsiteY8" fmla="*/ 65723 h 247650"/>
                  <a:gd name="connsiteX9" fmla="*/ 139065 w 190500"/>
                  <a:gd name="connsiteY9" fmla="*/ 31433 h 247650"/>
                  <a:gd name="connsiteX10" fmla="*/ 94298 w 190500"/>
                  <a:gd name="connsiteY10" fmla="*/ 20003 h 247650"/>
                  <a:gd name="connsiteX11" fmla="*/ 46673 w 190500"/>
                  <a:gd name="connsiteY11" fmla="*/ 34290 h 247650"/>
                  <a:gd name="connsiteX12" fmla="*/ 33338 w 190500"/>
                  <a:gd name="connsiteY12" fmla="*/ 61913 h 247650"/>
                  <a:gd name="connsiteX13" fmla="*/ 47625 w 190500"/>
                  <a:gd name="connsiteY13" fmla="*/ 93345 h 247650"/>
                  <a:gd name="connsiteX14" fmla="*/ 100013 w 190500"/>
                  <a:gd name="connsiteY14" fmla="*/ 111443 h 247650"/>
                  <a:gd name="connsiteX15" fmla="*/ 171450 w 190500"/>
                  <a:gd name="connsiteY15" fmla="*/ 139065 h 247650"/>
                  <a:gd name="connsiteX16" fmla="*/ 190500 w 190500"/>
                  <a:gd name="connsiteY16" fmla="*/ 183833 h 247650"/>
                  <a:gd name="connsiteX17" fmla="*/ 161925 w 190500"/>
                  <a:gd name="connsiteY17" fmla="*/ 236220 h 247650"/>
                  <a:gd name="connsiteX18" fmla="*/ 96203 w 190500"/>
                  <a:gd name="connsiteY18" fmla="*/ 255270 h 247650"/>
                  <a:gd name="connsiteX19" fmla="*/ 25718 w 190500"/>
                  <a:gd name="connsiteY19" fmla="*/ 233363 h 247650"/>
                  <a:gd name="connsiteX20" fmla="*/ 0 w 190500"/>
                  <a:gd name="connsiteY20" fmla="*/ 184785 h 247650"/>
                  <a:gd name="connsiteX21" fmla="*/ 25718 w 190500"/>
                  <a:gd name="connsiteY21" fmla="*/ 184785 h 247650"/>
                  <a:gd name="connsiteX22" fmla="*/ 49530 w 190500"/>
                  <a:gd name="connsiteY22" fmla="*/ 222885 h 247650"/>
                  <a:gd name="connsiteX23" fmla="*/ 96203 w 190500"/>
                  <a:gd name="connsiteY23" fmla="*/ 235268 h 247650"/>
                  <a:gd name="connsiteX24" fmla="*/ 148590 w 190500"/>
                  <a:gd name="connsiteY24" fmla="*/ 218122 h 247650"/>
                  <a:gd name="connsiteX25" fmla="*/ 164783 w 190500"/>
                  <a:gd name="connsiteY25" fmla="*/ 183833 h 2476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</a:cxnLst>
                <a:rect l="l" t="t" r="r" b="b"/>
                <a:pathLst>
                  <a:path w="190500" h="247650">
                    <a:moveTo>
                      <a:pt x="164783" y="183833"/>
                    </a:moveTo>
                    <a:cubicBezTo>
                      <a:pt x="164783" y="167640"/>
                      <a:pt x="158115" y="156210"/>
                      <a:pt x="143828" y="147638"/>
                    </a:cubicBezTo>
                    <a:cubicBezTo>
                      <a:pt x="132398" y="140970"/>
                      <a:pt x="113348" y="135255"/>
                      <a:pt x="86678" y="130493"/>
                    </a:cubicBezTo>
                    <a:cubicBezTo>
                      <a:pt x="34290" y="121920"/>
                      <a:pt x="8573" y="99060"/>
                      <a:pt x="8573" y="63818"/>
                    </a:cubicBezTo>
                    <a:cubicBezTo>
                      <a:pt x="8573" y="43815"/>
                      <a:pt x="17145" y="27623"/>
                      <a:pt x="33338" y="16192"/>
                    </a:cubicBezTo>
                    <a:cubicBezTo>
                      <a:pt x="48578" y="5715"/>
                      <a:pt x="69533" y="0"/>
                      <a:pt x="95250" y="0"/>
                    </a:cubicBezTo>
                    <a:cubicBezTo>
                      <a:pt x="121920" y="0"/>
                      <a:pt x="143828" y="6667"/>
                      <a:pt x="160973" y="20003"/>
                    </a:cubicBezTo>
                    <a:cubicBezTo>
                      <a:pt x="176213" y="32385"/>
                      <a:pt x="185738" y="47625"/>
                      <a:pt x="188595" y="65723"/>
                    </a:cubicBezTo>
                    <a:lnTo>
                      <a:pt x="162878" y="65723"/>
                    </a:lnTo>
                    <a:cubicBezTo>
                      <a:pt x="160973" y="51435"/>
                      <a:pt x="152400" y="40005"/>
                      <a:pt x="139065" y="31433"/>
                    </a:cubicBezTo>
                    <a:cubicBezTo>
                      <a:pt x="126683" y="23813"/>
                      <a:pt x="111443" y="20003"/>
                      <a:pt x="94298" y="20003"/>
                    </a:cubicBezTo>
                    <a:cubicBezTo>
                      <a:pt x="73343" y="20003"/>
                      <a:pt x="57150" y="24765"/>
                      <a:pt x="46673" y="34290"/>
                    </a:cubicBezTo>
                    <a:cubicBezTo>
                      <a:pt x="38100" y="40958"/>
                      <a:pt x="33338" y="50483"/>
                      <a:pt x="33338" y="61913"/>
                    </a:cubicBezTo>
                    <a:cubicBezTo>
                      <a:pt x="33338" y="75248"/>
                      <a:pt x="38100" y="85725"/>
                      <a:pt x="47625" y="93345"/>
                    </a:cubicBezTo>
                    <a:cubicBezTo>
                      <a:pt x="57150" y="100965"/>
                      <a:pt x="75248" y="106680"/>
                      <a:pt x="100013" y="111443"/>
                    </a:cubicBezTo>
                    <a:cubicBezTo>
                      <a:pt x="133350" y="118110"/>
                      <a:pt x="157163" y="126683"/>
                      <a:pt x="171450" y="139065"/>
                    </a:cubicBezTo>
                    <a:cubicBezTo>
                      <a:pt x="183833" y="149543"/>
                      <a:pt x="190500" y="164783"/>
                      <a:pt x="190500" y="183833"/>
                    </a:cubicBezTo>
                    <a:cubicBezTo>
                      <a:pt x="190500" y="205740"/>
                      <a:pt x="180975" y="222885"/>
                      <a:pt x="161925" y="236220"/>
                    </a:cubicBezTo>
                    <a:cubicBezTo>
                      <a:pt x="144780" y="248603"/>
                      <a:pt x="122873" y="255270"/>
                      <a:pt x="96203" y="255270"/>
                    </a:cubicBezTo>
                    <a:cubicBezTo>
                      <a:pt x="66675" y="255270"/>
                      <a:pt x="42863" y="247650"/>
                      <a:pt x="25718" y="233363"/>
                    </a:cubicBezTo>
                    <a:cubicBezTo>
                      <a:pt x="11430" y="220980"/>
                      <a:pt x="2858" y="204788"/>
                      <a:pt x="0" y="184785"/>
                    </a:cubicBezTo>
                    <a:lnTo>
                      <a:pt x="25718" y="184785"/>
                    </a:lnTo>
                    <a:cubicBezTo>
                      <a:pt x="27623" y="200978"/>
                      <a:pt x="35243" y="214313"/>
                      <a:pt x="49530" y="222885"/>
                    </a:cubicBezTo>
                    <a:cubicBezTo>
                      <a:pt x="61913" y="230505"/>
                      <a:pt x="77153" y="235268"/>
                      <a:pt x="96203" y="235268"/>
                    </a:cubicBezTo>
                    <a:cubicBezTo>
                      <a:pt x="119063" y="235268"/>
                      <a:pt x="136208" y="229553"/>
                      <a:pt x="148590" y="218122"/>
                    </a:cubicBezTo>
                    <a:cubicBezTo>
                      <a:pt x="160020" y="206693"/>
                      <a:pt x="164783" y="196215"/>
                      <a:pt x="164783" y="183833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2489">
                  <a:latin typeface="CiscoSansTT Light" panose="020B0503020201020303" pitchFamily="34" charset="0"/>
                  <a:cs typeface="CiscoSansTT Light" panose="020B0503020201020303" pitchFamily="34" charset="0"/>
                </a:endParaRPr>
              </a:p>
            </p:txBody>
          </p:sp>
          <p:sp>
            <p:nvSpPr>
              <p:cNvPr id="10" name="Freeform: Shape 9">
                <a:extLst>
                  <a:ext uri="{FF2B5EF4-FFF2-40B4-BE49-F238E27FC236}">
                    <a16:creationId xmlns:a16="http://schemas.microsoft.com/office/drawing/2014/main" id="{C1A3968A-1BCA-4C5D-A55D-7F2B0758390C}"/>
                  </a:ext>
                </a:extLst>
              </p:cNvPr>
              <p:cNvSpPr/>
              <p:nvPr/>
            </p:nvSpPr>
            <p:spPr>
              <a:xfrm>
                <a:off x="4843785" y="3177010"/>
                <a:ext cx="200025" cy="247650"/>
              </a:xfrm>
              <a:custGeom>
                <a:avLst/>
                <a:gdLst>
                  <a:gd name="connsiteX0" fmla="*/ 179070 w 200025"/>
                  <a:gd name="connsiteY0" fmla="*/ 177165 h 247650"/>
                  <a:gd name="connsiteX1" fmla="*/ 205740 w 200025"/>
                  <a:gd name="connsiteY1" fmla="*/ 177165 h 247650"/>
                  <a:gd name="connsiteX2" fmla="*/ 169545 w 200025"/>
                  <a:gd name="connsiteY2" fmla="*/ 235267 h 247650"/>
                  <a:gd name="connsiteX3" fmla="*/ 106680 w 200025"/>
                  <a:gd name="connsiteY3" fmla="*/ 254317 h 247650"/>
                  <a:gd name="connsiteX4" fmla="*/ 27622 w 200025"/>
                  <a:gd name="connsiteY4" fmla="*/ 218123 h 247650"/>
                  <a:gd name="connsiteX5" fmla="*/ 0 w 200025"/>
                  <a:gd name="connsiteY5" fmla="*/ 129540 h 247650"/>
                  <a:gd name="connsiteX6" fmla="*/ 35242 w 200025"/>
                  <a:gd name="connsiteY6" fmla="*/ 28575 h 247650"/>
                  <a:gd name="connsiteX7" fmla="*/ 107633 w 200025"/>
                  <a:gd name="connsiteY7" fmla="*/ 0 h 247650"/>
                  <a:gd name="connsiteX8" fmla="*/ 176213 w 200025"/>
                  <a:gd name="connsiteY8" fmla="*/ 22860 h 247650"/>
                  <a:gd name="connsiteX9" fmla="*/ 205740 w 200025"/>
                  <a:gd name="connsiteY9" fmla="*/ 73342 h 247650"/>
                  <a:gd name="connsiteX10" fmla="*/ 178117 w 200025"/>
                  <a:gd name="connsiteY10" fmla="*/ 73342 h 247650"/>
                  <a:gd name="connsiteX11" fmla="*/ 152400 w 200025"/>
                  <a:gd name="connsiteY11" fmla="*/ 33338 h 247650"/>
                  <a:gd name="connsiteX12" fmla="*/ 108585 w 200025"/>
                  <a:gd name="connsiteY12" fmla="*/ 20955 h 247650"/>
                  <a:gd name="connsiteX13" fmla="*/ 47625 w 200025"/>
                  <a:gd name="connsiteY13" fmla="*/ 51435 h 247650"/>
                  <a:gd name="connsiteX14" fmla="*/ 26670 w 200025"/>
                  <a:gd name="connsiteY14" fmla="*/ 129540 h 247650"/>
                  <a:gd name="connsiteX15" fmla="*/ 54292 w 200025"/>
                  <a:gd name="connsiteY15" fmla="*/ 210503 h 247650"/>
                  <a:gd name="connsiteX16" fmla="*/ 108585 w 200025"/>
                  <a:gd name="connsiteY16" fmla="*/ 232410 h 247650"/>
                  <a:gd name="connsiteX17" fmla="*/ 159067 w 200025"/>
                  <a:gd name="connsiteY17" fmla="*/ 215265 h 247650"/>
                  <a:gd name="connsiteX18" fmla="*/ 179070 w 200025"/>
                  <a:gd name="connsiteY18" fmla="*/ 177165 h 2476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200025" h="247650">
                    <a:moveTo>
                      <a:pt x="179070" y="177165"/>
                    </a:moveTo>
                    <a:lnTo>
                      <a:pt x="205740" y="177165"/>
                    </a:lnTo>
                    <a:cubicBezTo>
                      <a:pt x="201930" y="201930"/>
                      <a:pt x="189547" y="220980"/>
                      <a:pt x="169545" y="235267"/>
                    </a:cubicBezTo>
                    <a:cubicBezTo>
                      <a:pt x="152400" y="248603"/>
                      <a:pt x="130492" y="254317"/>
                      <a:pt x="106680" y="254317"/>
                    </a:cubicBezTo>
                    <a:cubicBezTo>
                      <a:pt x="73342" y="254317"/>
                      <a:pt x="46672" y="241935"/>
                      <a:pt x="27622" y="218123"/>
                    </a:cubicBezTo>
                    <a:cubicBezTo>
                      <a:pt x="9525" y="196215"/>
                      <a:pt x="0" y="166688"/>
                      <a:pt x="0" y="129540"/>
                    </a:cubicBezTo>
                    <a:cubicBezTo>
                      <a:pt x="0" y="85725"/>
                      <a:pt x="11430" y="52388"/>
                      <a:pt x="35242" y="28575"/>
                    </a:cubicBezTo>
                    <a:cubicBezTo>
                      <a:pt x="54292" y="9525"/>
                      <a:pt x="78105" y="0"/>
                      <a:pt x="107633" y="0"/>
                    </a:cubicBezTo>
                    <a:cubicBezTo>
                      <a:pt x="135255" y="0"/>
                      <a:pt x="158115" y="7620"/>
                      <a:pt x="176213" y="22860"/>
                    </a:cubicBezTo>
                    <a:cubicBezTo>
                      <a:pt x="191452" y="36195"/>
                      <a:pt x="201930" y="52388"/>
                      <a:pt x="205740" y="73342"/>
                    </a:cubicBezTo>
                    <a:lnTo>
                      <a:pt x="178117" y="73342"/>
                    </a:lnTo>
                    <a:cubicBezTo>
                      <a:pt x="175260" y="56197"/>
                      <a:pt x="166688" y="42863"/>
                      <a:pt x="152400" y="33338"/>
                    </a:cubicBezTo>
                    <a:cubicBezTo>
                      <a:pt x="140017" y="24765"/>
                      <a:pt x="125730" y="20955"/>
                      <a:pt x="108585" y="20955"/>
                    </a:cubicBezTo>
                    <a:cubicBezTo>
                      <a:pt x="82867" y="20955"/>
                      <a:pt x="61913" y="31432"/>
                      <a:pt x="47625" y="51435"/>
                    </a:cubicBezTo>
                    <a:cubicBezTo>
                      <a:pt x="33338" y="70485"/>
                      <a:pt x="26670" y="96203"/>
                      <a:pt x="26670" y="129540"/>
                    </a:cubicBezTo>
                    <a:cubicBezTo>
                      <a:pt x="26670" y="164783"/>
                      <a:pt x="36195" y="192405"/>
                      <a:pt x="54292" y="210503"/>
                    </a:cubicBezTo>
                    <a:cubicBezTo>
                      <a:pt x="68580" y="224790"/>
                      <a:pt x="86677" y="232410"/>
                      <a:pt x="108585" y="232410"/>
                    </a:cubicBezTo>
                    <a:cubicBezTo>
                      <a:pt x="128588" y="232410"/>
                      <a:pt x="145733" y="226695"/>
                      <a:pt x="159067" y="215265"/>
                    </a:cubicBezTo>
                    <a:cubicBezTo>
                      <a:pt x="168592" y="205740"/>
                      <a:pt x="176213" y="192405"/>
                      <a:pt x="179070" y="177165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2489">
                  <a:latin typeface="CiscoSansTT Light" panose="020B0503020201020303" pitchFamily="34" charset="0"/>
                  <a:cs typeface="CiscoSansTT Light" panose="020B0503020201020303" pitchFamily="34" charset="0"/>
                </a:endParaRPr>
              </a:p>
            </p:txBody>
          </p:sp>
          <p:sp>
            <p:nvSpPr>
              <p:cNvPr id="11" name="Freeform: Shape 10">
                <a:extLst>
                  <a:ext uri="{FF2B5EF4-FFF2-40B4-BE49-F238E27FC236}">
                    <a16:creationId xmlns:a16="http://schemas.microsoft.com/office/drawing/2014/main" id="{3A19A275-F179-48AE-8547-BDAB10054D7E}"/>
                  </a:ext>
                </a:extLst>
              </p:cNvPr>
              <p:cNvSpPr/>
              <p:nvPr/>
            </p:nvSpPr>
            <p:spPr>
              <a:xfrm>
                <a:off x="5084767" y="3177962"/>
                <a:ext cx="219075" cy="247650"/>
              </a:xfrm>
              <a:custGeom>
                <a:avLst/>
                <a:gdLst>
                  <a:gd name="connsiteX0" fmla="*/ 0 w 219075"/>
                  <a:gd name="connsiteY0" fmla="*/ 126683 h 247650"/>
                  <a:gd name="connsiteX1" fmla="*/ 36195 w 219075"/>
                  <a:gd name="connsiteY1" fmla="*/ 27623 h 247650"/>
                  <a:gd name="connsiteX2" fmla="*/ 110490 w 219075"/>
                  <a:gd name="connsiteY2" fmla="*/ 0 h 247650"/>
                  <a:gd name="connsiteX3" fmla="*/ 193357 w 219075"/>
                  <a:gd name="connsiteY3" fmla="*/ 36195 h 247650"/>
                  <a:gd name="connsiteX4" fmla="*/ 220980 w 219075"/>
                  <a:gd name="connsiteY4" fmla="*/ 126683 h 247650"/>
                  <a:gd name="connsiteX5" fmla="*/ 185738 w 219075"/>
                  <a:gd name="connsiteY5" fmla="*/ 225743 h 247650"/>
                  <a:gd name="connsiteX6" fmla="*/ 111442 w 219075"/>
                  <a:gd name="connsiteY6" fmla="*/ 254318 h 247650"/>
                  <a:gd name="connsiteX7" fmla="*/ 28575 w 219075"/>
                  <a:gd name="connsiteY7" fmla="*/ 217170 h 247650"/>
                  <a:gd name="connsiteX8" fmla="*/ 0 w 219075"/>
                  <a:gd name="connsiteY8" fmla="*/ 126683 h 247650"/>
                  <a:gd name="connsiteX9" fmla="*/ 25717 w 219075"/>
                  <a:gd name="connsiteY9" fmla="*/ 126683 h 247650"/>
                  <a:gd name="connsiteX10" fmla="*/ 53340 w 219075"/>
                  <a:gd name="connsiteY10" fmla="*/ 209550 h 247650"/>
                  <a:gd name="connsiteX11" fmla="*/ 110490 w 219075"/>
                  <a:gd name="connsiteY11" fmla="*/ 233363 h 247650"/>
                  <a:gd name="connsiteX12" fmla="*/ 174307 w 219075"/>
                  <a:gd name="connsiteY12" fmla="*/ 202883 h 247650"/>
                  <a:gd name="connsiteX13" fmla="*/ 195263 w 219075"/>
                  <a:gd name="connsiteY13" fmla="*/ 126683 h 247650"/>
                  <a:gd name="connsiteX14" fmla="*/ 168592 w 219075"/>
                  <a:gd name="connsiteY14" fmla="*/ 42863 h 247650"/>
                  <a:gd name="connsiteX15" fmla="*/ 110490 w 219075"/>
                  <a:gd name="connsiteY15" fmla="*/ 20003 h 247650"/>
                  <a:gd name="connsiteX16" fmla="*/ 46672 w 219075"/>
                  <a:gd name="connsiteY16" fmla="*/ 50483 h 247650"/>
                  <a:gd name="connsiteX17" fmla="*/ 25717 w 219075"/>
                  <a:gd name="connsiteY17" fmla="*/ 126683 h 2476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219075" h="247650">
                    <a:moveTo>
                      <a:pt x="0" y="126683"/>
                    </a:moveTo>
                    <a:cubicBezTo>
                      <a:pt x="0" y="82868"/>
                      <a:pt x="12382" y="50483"/>
                      <a:pt x="36195" y="27623"/>
                    </a:cubicBezTo>
                    <a:cubicBezTo>
                      <a:pt x="56197" y="9525"/>
                      <a:pt x="80963" y="0"/>
                      <a:pt x="110490" y="0"/>
                    </a:cubicBezTo>
                    <a:cubicBezTo>
                      <a:pt x="145732" y="0"/>
                      <a:pt x="173355" y="12383"/>
                      <a:pt x="193357" y="36195"/>
                    </a:cubicBezTo>
                    <a:cubicBezTo>
                      <a:pt x="211455" y="58103"/>
                      <a:pt x="220980" y="88583"/>
                      <a:pt x="220980" y="126683"/>
                    </a:cubicBezTo>
                    <a:cubicBezTo>
                      <a:pt x="220980" y="170498"/>
                      <a:pt x="209550" y="202883"/>
                      <a:pt x="185738" y="225743"/>
                    </a:cubicBezTo>
                    <a:cubicBezTo>
                      <a:pt x="166688" y="244793"/>
                      <a:pt x="141922" y="254318"/>
                      <a:pt x="111442" y="254318"/>
                    </a:cubicBezTo>
                    <a:cubicBezTo>
                      <a:pt x="76200" y="254318"/>
                      <a:pt x="48578" y="241935"/>
                      <a:pt x="28575" y="217170"/>
                    </a:cubicBezTo>
                    <a:cubicBezTo>
                      <a:pt x="9525" y="194310"/>
                      <a:pt x="0" y="163830"/>
                      <a:pt x="0" y="126683"/>
                    </a:cubicBezTo>
                    <a:close/>
                    <a:moveTo>
                      <a:pt x="25717" y="126683"/>
                    </a:moveTo>
                    <a:cubicBezTo>
                      <a:pt x="25717" y="162878"/>
                      <a:pt x="35242" y="190500"/>
                      <a:pt x="53340" y="209550"/>
                    </a:cubicBezTo>
                    <a:cubicBezTo>
                      <a:pt x="68580" y="224790"/>
                      <a:pt x="87630" y="233363"/>
                      <a:pt x="110490" y="233363"/>
                    </a:cubicBezTo>
                    <a:cubicBezTo>
                      <a:pt x="138113" y="233363"/>
                      <a:pt x="159067" y="222885"/>
                      <a:pt x="174307" y="202883"/>
                    </a:cubicBezTo>
                    <a:cubicBezTo>
                      <a:pt x="188595" y="183833"/>
                      <a:pt x="195263" y="159068"/>
                      <a:pt x="195263" y="126683"/>
                    </a:cubicBezTo>
                    <a:cubicBezTo>
                      <a:pt x="195263" y="90488"/>
                      <a:pt x="186690" y="61913"/>
                      <a:pt x="168592" y="42863"/>
                    </a:cubicBezTo>
                    <a:cubicBezTo>
                      <a:pt x="154305" y="27623"/>
                      <a:pt x="134303" y="20003"/>
                      <a:pt x="110490" y="20003"/>
                    </a:cubicBezTo>
                    <a:cubicBezTo>
                      <a:pt x="83820" y="20003"/>
                      <a:pt x="61913" y="30480"/>
                      <a:pt x="46672" y="50483"/>
                    </a:cubicBezTo>
                    <a:cubicBezTo>
                      <a:pt x="33338" y="69533"/>
                      <a:pt x="25717" y="94298"/>
                      <a:pt x="25717" y="126683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2489">
                  <a:latin typeface="CiscoSansTT Light" panose="020B0503020201020303" pitchFamily="34" charset="0"/>
                  <a:cs typeface="CiscoSansTT Light" panose="020B0503020201020303" pitchFamily="34" charset="0"/>
                </a:endParaRPr>
              </a:p>
            </p:txBody>
          </p:sp>
          <p:sp>
            <p:nvSpPr>
              <p:cNvPr id="12" name="Freeform: Shape 11">
                <a:extLst>
                  <a:ext uri="{FF2B5EF4-FFF2-40B4-BE49-F238E27FC236}">
                    <a16:creationId xmlns:a16="http://schemas.microsoft.com/office/drawing/2014/main" id="{021A6D23-10F4-4562-BC27-FDB4C8C2FDDF}"/>
                  </a:ext>
                </a:extLst>
              </p:cNvPr>
              <p:cNvSpPr/>
              <p:nvPr/>
            </p:nvSpPr>
            <p:spPr>
              <a:xfrm>
                <a:off x="4208467" y="3553247"/>
                <a:ext cx="304800" cy="342900"/>
              </a:xfrm>
              <a:custGeom>
                <a:avLst/>
                <a:gdLst>
                  <a:gd name="connsiteX0" fmla="*/ 156210 w 304800"/>
                  <a:gd name="connsiteY0" fmla="*/ 290513 h 342900"/>
                  <a:gd name="connsiteX1" fmla="*/ 228600 w 304800"/>
                  <a:gd name="connsiteY1" fmla="*/ 216218 h 342900"/>
                  <a:gd name="connsiteX2" fmla="*/ 307657 w 304800"/>
                  <a:gd name="connsiteY2" fmla="*/ 216218 h 342900"/>
                  <a:gd name="connsiteX3" fmla="*/ 256222 w 304800"/>
                  <a:gd name="connsiteY3" fmla="*/ 317183 h 342900"/>
                  <a:gd name="connsiteX4" fmla="*/ 155257 w 304800"/>
                  <a:gd name="connsiteY4" fmla="*/ 345758 h 342900"/>
                  <a:gd name="connsiteX5" fmla="*/ 39052 w 304800"/>
                  <a:gd name="connsiteY5" fmla="*/ 296228 h 342900"/>
                  <a:gd name="connsiteX6" fmla="*/ 0 w 304800"/>
                  <a:gd name="connsiteY6" fmla="*/ 171450 h 342900"/>
                  <a:gd name="connsiteX7" fmla="*/ 48577 w 304800"/>
                  <a:gd name="connsiteY7" fmla="*/ 38100 h 342900"/>
                  <a:gd name="connsiteX8" fmla="*/ 158115 w 304800"/>
                  <a:gd name="connsiteY8" fmla="*/ 0 h 342900"/>
                  <a:gd name="connsiteX9" fmla="*/ 260985 w 304800"/>
                  <a:gd name="connsiteY9" fmla="*/ 33338 h 342900"/>
                  <a:gd name="connsiteX10" fmla="*/ 304800 w 304800"/>
                  <a:gd name="connsiteY10" fmla="*/ 115253 h 342900"/>
                  <a:gd name="connsiteX11" fmla="*/ 227647 w 304800"/>
                  <a:gd name="connsiteY11" fmla="*/ 115253 h 342900"/>
                  <a:gd name="connsiteX12" fmla="*/ 158115 w 304800"/>
                  <a:gd name="connsiteY12" fmla="*/ 54293 h 342900"/>
                  <a:gd name="connsiteX13" fmla="*/ 100013 w 304800"/>
                  <a:gd name="connsiteY13" fmla="*/ 85725 h 342900"/>
                  <a:gd name="connsiteX14" fmla="*/ 80963 w 304800"/>
                  <a:gd name="connsiteY14" fmla="*/ 172402 h 342900"/>
                  <a:gd name="connsiteX15" fmla="*/ 105727 w 304800"/>
                  <a:gd name="connsiteY15" fmla="*/ 268605 h 342900"/>
                  <a:gd name="connsiteX16" fmla="*/ 156210 w 304800"/>
                  <a:gd name="connsiteY16" fmla="*/ 290513 h 3429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304800" h="342900">
                    <a:moveTo>
                      <a:pt x="156210" y="290513"/>
                    </a:moveTo>
                    <a:cubicBezTo>
                      <a:pt x="200977" y="290513"/>
                      <a:pt x="224790" y="265748"/>
                      <a:pt x="228600" y="216218"/>
                    </a:cubicBezTo>
                    <a:lnTo>
                      <a:pt x="307657" y="216218"/>
                    </a:lnTo>
                    <a:cubicBezTo>
                      <a:pt x="301942" y="260985"/>
                      <a:pt x="284797" y="295275"/>
                      <a:pt x="256222" y="317183"/>
                    </a:cubicBezTo>
                    <a:cubicBezTo>
                      <a:pt x="230505" y="336233"/>
                      <a:pt x="197167" y="345758"/>
                      <a:pt x="155257" y="345758"/>
                    </a:cubicBezTo>
                    <a:cubicBezTo>
                      <a:pt x="105727" y="345758"/>
                      <a:pt x="67627" y="329565"/>
                      <a:pt x="39052" y="296228"/>
                    </a:cubicBezTo>
                    <a:cubicBezTo>
                      <a:pt x="13335" y="265748"/>
                      <a:pt x="0" y="223838"/>
                      <a:pt x="0" y="171450"/>
                    </a:cubicBezTo>
                    <a:cubicBezTo>
                      <a:pt x="0" y="112395"/>
                      <a:pt x="16192" y="67628"/>
                      <a:pt x="48577" y="38100"/>
                    </a:cubicBezTo>
                    <a:cubicBezTo>
                      <a:pt x="76200" y="12383"/>
                      <a:pt x="112395" y="0"/>
                      <a:pt x="158115" y="0"/>
                    </a:cubicBezTo>
                    <a:cubicBezTo>
                      <a:pt x="200025" y="0"/>
                      <a:pt x="234315" y="11430"/>
                      <a:pt x="260985" y="33338"/>
                    </a:cubicBezTo>
                    <a:cubicBezTo>
                      <a:pt x="284797" y="53340"/>
                      <a:pt x="299085" y="80963"/>
                      <a:pt x="304800" y="115253"/>
                    </a:cubicBezTo>
                    <a:lnTo>
                      <a:pt x="227647" y="115253"/>
                    </a:lnTo>
                    <a:cubicBezTo>
                      <a:pt x="219075" y="74295"/>
                      <a:pt x="196215" y="54293"/>
                      <a:pt x="158115" y="54293"/>
                    </a:cubicBezTo>
                    <a:cubicBezTo>
                      <a:pt x="132397" y="54293"/>
                      <a:pt x="112395" y="64770"/>
                      <a:pt x="100013" y="85725"/>
                    </a:cubicBezTo>
                    <a:cubicBezTo>
                      <a:pt x="87630" y="105728"/>
                      <a:pt x="80963" y="134303"/>
                      <a:pt x="80963" y="172402"/>
                    </a:cubicBezTo>
                    <a:cubicBezTo>
                      <a:pt x="80963" y="216218"/>
                      <a:pt x="89535" y="248602"/>
                      <a:pt x="105727" y="268605"/>
                    </a:cubicBezTo>
                    <a:cubicBezTo>
                      <a:pt x="119063" y="282893"/>
                      <a:pt x="135255" y="290513"/>
                      <a:pt x="156210" y="290513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2489">
                  <a:latin typeface="CiscoSansTT Light" panose="020B0503020201020303" pitchFamily="34" charset="0"/>
                  <a:cs typeface="CiscoSansTT Light" panose="020B0503020201020303" pitchFamily="34" charset="0"/>
                </a:endParaRPr>
              </a:p>
            </p:txBody>
          </p:sp>
          <p:sp>
            <p:nvSpPr>
              <p:cNvPr id="13" name="Freeform: Shape 12">
                <a:extLst>
                  <a:ext uri="{FF2B5EF4-FFF2-40B4-BE49-F238E27FC236}">
                    <a16:creationId xmlns:a16="http://schemas.microsoft.com/office/drawing/2014/main" id="{0CF1C08D-E0B7-4B68-AE5D-1BA4C9F3E632}"/>
                  </a:ext>
                </a:extLst>
              </p:cNvPr>
              <p:cNvSpPr/>
              <p:nvPr/>
            </p:nvSpPr>
            <p:spPr>
              <a:xfrm>
                <a:off x="4550415" y="3651355"/>
                <a:ext cx="219075" cy="238125"/>
              </a:xfrm>
              <a:custGeom>
                <a:avLst/>
                <a:gdLst>
                  <a:gd name="connsiteX0" fmla="*/ 0 w 219075"/>
                  <a:gd name="connsiteY0" fmla="*/ 0 h 238125"/>
                  <a:gd name="connsiteX1" fmla="*/ 72390 w 219075"/>
                  <a:gd name="connsiteY1" fmla="*/ 0 h 238125"/>
                  <a:gd name="connsiteX2" fmla="*/ 72390 w 219075"/>
                  <a:gd name="connsiteY2" fmla="*/ 159067 h 238125"/>
                  <a:gd name="connsiteX3" fmla="*/ 81915 w 219075"/>
                  <a:gd name="connsiteY3" fmla="*/ 186690 h 238125"/>
                  <a:gd name="connsiteX4" fmla="*/ 110490 w 219075"/>
                  <a:gd name="connsiteY4" fmla="*/ 196215 h 238125"/>
                  <a:gd name="connsiteX5" fmla="*/ 143828 w 219075"/>
                  <a:gd name="connsiteY5" fmla="*/ 180975 h 238125"/>
                  <a:gd name="connsiteX6" fmla="*/ 155258 w 219075"/>
                  <a:gd name="connsiteY6" fmla="*/ 143827 h 238125"/>
                  <a:gd name="connsiteX7" fmla="*/ 155258 w 219075"/>
                  <a:gd name="connsiteY7" fmla="*/ 0 h 238125"/>
                  <a:gd name="connsiteX8" fmla="*/ 227647 w 219075"/>
                  <a:gd name="connsiteY8" fmla="*/ 0 h 238125"/>
                  <a:gd name="connsiteX9" fmla="*/ 227647 w 219075"/>
                  <a:gd name="connsiteY9" fmla="*/ 240030 h 238125"/>
                  <a:gd name="connsiteX10" fmla="*/ 166688 w 219075"/>
                  <a:gd name="connsiteY10" fmla="*/ 240030 h 238125"/>
                  <a:gd name="connsiteX11" fmla="*/ 160020 w 219075"/>
                  <a:gd name="connsiteY11" fmla="*/ 214313 h 238125"/>
                  <a:gd name="connsiteX12" fmla="*/ 87630 w 219075"/>
                  <a:gd name="connsiteY12" fmla="*/ 246698 h 238125"/>
                  <a:gd name="connsiteX13" fmla="*/ 20003 w 219075"/>
                  <a:gd name="connsiteY13" fmla="*/ 220027 h 238125"/>
                  <a:gd name="connsiteX14" fmla="*/ 0 w 219075"/>
                  <a:gd name="connsiteY14" fmla="*/ 156210 h 238125"/>
                  <a:gd name="connsiteX15" fmla="*/ 0 w 219075"/>
                  <a:gd name="connsiteY15" fmla="*/ 0 h 2381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219075" h="238125">
                    <a:moveTo>
                      <a:pt x="0" y="0"/>
                    </a:moveTo>
                    <a:lnTo>
                      <a:pt x="72390" y="0"/>
                    </a:lnTo>
                    <a:lnTo>
                      <a:pt x="72390" y="159067"/>
                    </a:lnTo>
                    <a:cubicBezTo>
                      <a:pt x="72390" y="171450"/>
                      <a:pt x="75247" y="180023"/>
                      <a:pt x="81915" y="186690"/>
                    </a:cubicBezTo>
                    <a:cubicBezTo>
                      <a:pt x="88583" y="193357"/>
                      <a:pt x="98108" y="196215"/>
                      <a:pt x="110490" y="196215"/>
                    </a:cubicBezTo>
                    <a:cubicBezTo>
                      <a:pt x="124778" y="196215"/>
                      <a:pt x="135255" y="191452"/>
                      <a:pt x="143828" y="180975"/>
                    </a:cubicBezTo>
                    <a:cubicBezTo>
                      <a:pt x="151447" y="171450"/>
                      <a:pt x="155258" y="159067"/>
                      <a:pt x="155258" y="143827"/>
                    </a:cubicBezTo>
                    <a:lnTo>
                      <a:pt x="155258" y="0"/>
                    </a:lnTo>
                    <a:lnTo>
                      <a:pt x="227647" y="0"/>
                    </a:lnTo>
                    <a:lnTo>
                      <a:pt x="227647" y="240030"/>
                    </a:lnTo>
                    <a:lnTo>
                      <a:pt x="166688" y="240030"/>
                    </a:lnTo>
                    <a:lnTo>
                      <a:pt x="160020" y="214313"/>
                    </a:lnTo>
                    <a:cubicBezTo>
                      <a:pt x="142875" y="236220"/>
                      <a:pt x="118110" y="246698"/>
                      <a:pt x="87630" y="246698"/>
                    </a:cubicBezTo>
                    <a:cubicBezTo>
                      <a:pt x="58103" y="246698"/>
                      <a:pt x="35242" y="238125"/>
                      <a:pt x="20003" y="220027"/>
                    </a:cubicBezTo>
                    <a:cubicBezTo>
                      <a:pt x="6667" y="204788"/>
                      <a:pt x="0" y="182880"/>
                      <a:pt x="0" y="156210"/>
                    </a:cubicBez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2489">
                  <a:latin typeface="CiscoSansTT Light" panose="020B0503020201020303" pitchFamily="34" charset="0"/>
                  <a:cs typeface="CiscoSansTT Light" panose="020B0503020201020303" pitchFamily="34" charset="0"/>
                </a:endParaRPr>
              </a:p>
            </p:txBody>
          </p:sp>
          <p:sp>
            <p:nvSpPr>
              <p:cNvPr id="14" name="Freeform: Shape 13">
                <a:extLst>
                  <a:ext uri="{FF2B5EF4-FFF2-40B4-BE49-F238E27FC236}">
                    <a16:creationId xmlns:a16="http://schemas.microsoft.com/office/drawing/2014/main" id="{9C85BB10-5D31-4B95-A484-AECFE585457E}"/>
                  </a:ext>
                </a:extLst>
              </p:cNvPr>
              <p:cNvSpPr/>
              <p:nvPr/>
            </p:nvSpPr>
            <p:spPr>
              <a:xfrm>
                <a:off x="4810447" y="3643735"/>
                <a:ext cx="219075" cy="247650"/>
              </a:xfrm>
              <a:custGeom>
                <a:avLst/>
                <a:gdLst>
                  <a:gd name="connsiteX0" fmla="*/ 113347 w 219075"/>
                  <a:gd name="connsiteY0" fmla="*/ 205740 h 247650"/>
                  <a:gd name="connsiteX1" fmla="*/ 153352 w 219075"/>
                  <a:gd name="connsiteY1" fmla="*/ 182880 h 247650"/>
                  <a:gd name="connsiteX2" fmla="*/ 144780 w 219075"/>
                  <a:gd name="connsiteY2" fmla="*/ 167640 h 247650"/>
                  <a:gd name="connsiteX3" fmla="*/ 96202 w 219075"/>
                  <a:gd name="connsiteY3" fmla="*/ 153352 h 247650"/>
                  <a:gd name="connsiteX4" fmla="*/ 32385 w 219075"/>
                  <a:gd name="connsiteY4" fmla="*/ 126683 h 247650"/>
                  <a:gd name="connsiteX5" fmla="*/ 9525 w 219075"/>
                  <a:gd name="connsiteY5" fmla="*/ 75248 h 247650"/>
                  <a:gd name="connsiteX6" fmla="*/ 40005 w 219075"/>
                  <a:gd name="connsiteY6" fmla="*/ 18098 h 247650"/>
                  <a:gd name="connsiteX7" fmla="*/ 115252 w 219075"/>
                  <a:gd name="connsiteY7" fmla="*/ 0 h 247650"/>
                  <a:gd name="connsiteX8" fmla="*/ 194310 w 219075"/>
                  <a:gd name="connsiteY8" fmla="*/ 21908 h 247650"/>
                  <a:gd name="connsiteX9" fmla="*/ 225742 w 219075"/>
                  <a:gd name="connsiteY9" fmla="*/ 73343 h 247650"/>
                  <a:gd name="connsiteX10" fmla="*/ 153352 w 219075"/>
                  <a:gd name="connsiteY10" fmla="*/ 73343 h 247650"/>
                  <a:gd name="connsiteX11" fmla="*/ 113347 w 219075"/>
                  <a:gd name="connsiteY11" fmla="*/ 48578 h 247650"/>
                  <a:gd name="connsiteX12" fmla="*/ 80963 w 219075"/>
                  <a:gd name="connsiteY12" fmla="*/ 68580 h 247650"/>
                  <a:gd name="connsiteX13" fmla="*/ 90488 w 219075"/>
                  <a:gd name="connsiteY13" fmla="*/ 83820 h 247650"/>
                  <a:gd name="connsiteX14" fmla="*/ 131445 w 219075"/>
                  <a:gd name="connsiteY14" fmla="*/ 97155 h 247650"/>
                  <a:gd name="connsiteX15" fmla="*/ 140017 w 219075"/>
                  <a:gd name="connsiteY15" fmla="*/ 99060 h 247650"/>
                  <a:gd name="connsiteX16" fmla="*/ 199072 w 219075"/>
                  <a:gd name="connsiteY16" fmla="*/ 120968 h 247650"/>
                  <a:gd name="connsiteX17" fmla="*/ 226695 w 219075"/>
                  <a:gd name="connsiteY17" fmla="*/ 172402 h 247650"/>
                  <a:gd name="connsiteX18" fmla="*/ 195263 w 219075"/>
                  <a:gd name="connsiteY18" fmla="*/ 233363 h 247650"/>
                  <a:gd name="connsiteX19" fmla="*/ 114300 w 219075"/>
                  <a:gd name="connsiteY19" fmla="*/ 253365 h 247650"/>
                  <a:gd name="connsiteX20" fmla="*/ 31433 w 219075"/>
                  <a:gd name="connsiteY20" fmla="*/ 229552 h 247650"/>
                  <a:gd name="connsiteX21" fmla="*/ 0 w 219075"/>
                  <a:gd name="connsiteY21" fmla="*/ 178118 h 247650"/>
                  <a:gd name="connsiteX22" fmla="*/ 72390 w 219075"/>
                  <a:gd name="connsiteY22" fmla="*/ 178118 h 247650"/>
                  <a:gd name="connsiteX23" fmla="*/ 86677 w 219075"/>
                  <a:gd name="connsiteY23" fmla="*/ 197168 h 247650"/>
                  <a:gd name="connsiteX24" fmla="*/ 113347 w 219075"/>
                  <a:gd name="connsiteY24" fmla="*/ 205740 h 2476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</a:cxnLst>
                <a:rect l="l" t="t" r="r" b="b"/>
                <a:pathLst>
                  <a:path w="219075" h="247650">
                    <a:moveTo>
                      <a:pt x="113347" y="205740"/>
                    </a:moveTo>
                    <a:cubicBezTo>
                      <a:pt x="140017" y="205740"/>
                      <a:pt x="153352" y="198120"/>
                      <a:pt x="153352" y="182880"/>
                    </a:cubicBezTo>
                    <a:cubicBezTo>
                      <a:pt x="153352" y="175260"/>
                      <a:pt x="150495" y="170498"/>
                      <a:pt x="144780" y="167640"/>
                    </a:cubicBezTo>
                    <a:cubicBezTo>
                      <a:pt x="139065" y="164783"/>
                      <a:pt x="122872" y="160020"/>
                      <a:pt x="96202" y="153352"/>
                    </a:cubicBezTo>
                    <a:cubicBezTo>
                      <a:pt x="66675" y="146685"/>
                      <a:pt x="44767" y="137160"/>
                      <a:pt x="32385" y="126683"/>
                    </a:cubicBezTo>
                    <a:cubicBezTo>
                      <a:pt x="17145" y="114300"/>
                      <a:pt x="9525" y="97155"/>
                      <a:pt x="9525" y="75248"/>
                    </a:cubicBezTo>
                    <a:cubicBezTo>
                      <a:pt x="9525" y="50483"/>
                      <a:pt x="20002" y="31433"/>
                      <a:pt x="40005" y="18098"/>
                    </a:cubicBezTo>
                    <a:cubicBezTo>
                      <a:pt x="58102" y="5715"/>
                      <a:pt x="83820" y="0"/>
                      <a:pt x="115252" y="0"/>
                    </a:cubicBezTo>
                    <a:cubicBezTo>
                      <a:pt x="148590" y="0"/>
                      <a:pt x="174308" y="7620"/>
                      <a:pt x="194310" y="21908"/>
                    </a:cubicBezTo>
                    <a:cubicBezTo>
                      <a:pt x="211455" y="34290"/>
                      <a:pt x="221933" y="51435"/>
                      <a:pt x="225742" y="73343"/>
                    </a:cubicBezTo>
                    <a:lnTo>
                      <a:pt x="153352" y="73343"/>
                    </a:lnTo>
                    <a:cubicBezTo>
                      <a:pt x="149542" y="57150"/>
                      <a:pt x="136208" y="48578"/>
                      <a:pt x="113347" y="48578"/>
                    </a:cubicBezTo>
                    <a:cubicBezTo>
                      <a:pt x="91440" y="48578"/>
                      <a:pt x="80963" y="55245"/>
                      <a:pt x="80963" y="68580"/>
                    </a:cubicBezTo>
                    <a:cubicBezTo>
                      <a:pt x="80963" y="75248"/>
                      <a:pt x="83820" y="80010"/>
                      <a:pt x="90488" y="83820"/>
                    </a:cubicBezTo>
                    <a:cubicBezTo>
                      <a:pt x="96202" y="87630"/>
                      <a:pt x="110490" y="91440"/>
                      <a:pt x="131445" y="97155"/>
                    </a:cubicBezTo>
                    <a:lnTo>
                      <a:pt x="140017" y="99060"/>
                    </a:lnTo>
                    <a:cubicBezTo>
                      <a:pt x="167640" y="105727"/>
                      <a:pt x="187642" y="113348"/>
                      <a:pt x="199072" y="120968"/>
                    </a:cubicBezTo>
                    <a:cubicBezTo>
                      <a:pt x="217170" y="133350"/>
                      <a:pt x="226695" y="149543"/>
                      <a:pt x="226695" y="172402"/>
                    </a:cubicBezTo>
                    <a:cubicBezTo>
                      <a:pt x="226695" y="199073"/>
                      <a:pt x="216217" y="219075"/>
                      <a:pt x="195263" y="233363"/>
                    </a:cubicBezTo>
                    <a:cubicBezTo>
                      <a:pt x="175260" y="246698"/>
                      <a:pt x="148590" y="253365"/>
                      <a:pt x="114300" y="253365"/>
                    </a:cubicBezTo>
                    <a:cubicBezTo>
                      <a:pt x="80010" y="253365"/>
                      <a:pt x="52388" y="245745"/>
                      <a:pt x="31433" y="229552"/>
                    </a:cubicBezTo>
                    <a:cubicBezTo>
                      <a:pt x="14288" y="216218"/>
                      <a:pt x="2858" y="199073"/>
                      <a:pt x="0" y="178118"/>
                    </a:cubicBezTo>
                    <a:lnTo>
                      <a:pt x="72390" y="178118"/>
                    </a:lnTo>
                    <a:cubicBezTo>
                      <a:pt x="74295" y="185738"/>
                      <a:pt x="78105" y="192405"/>
                      <a:pt x="86677" y="197168"/>
                    </a:cubicBezTo>
                    <a:cubicBezTo>
                      <a:pt x="92392" y="203835"/>
                      <a:pt x="101917" y="205740"/>
                      <a:pt x="113347" y="205740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2489">
                  <a:latin typeface="CiscoSansTT Light" panose="020B0503020201020303" pitchFamily="34" charset="0"/>
                  <a:cs typeface="CiscoSansTT Light" panose="020B0503020201020303" pitchFamily="34" charset="0"/>
                </a:endParaRPr>
              </a:p>
            </p:txBody>
          </p:sp>
          <p:sp>
            <p:nvSpPr>
              <p:cNvPr id="15" name="Freeform: Shape 14">
                <a:extLst>
                  <a:ext uri="{FF2B5EF4-FFF2-40B4-BE49-F238E27FC236}">
                    <a16:creationId xmlns:a16="http://schemas.microsoft.com/office/drawing/2014/main" id="{235BA894-88A9-4B6D-96F6-D671B66122E2}"/>
                  </a:ext>
                </a:extLst>
              </p:cNvPr>
              <p:cNvSpPr/>
              <p:nvPr/>
            </p:nvSpPr>
            <p:spPr>
              <a:xfrm>
                <a:off x="5056192" y="3594205"/>
                <a:ext cx="152400" cy="295275"/>
              </a:xfrm>
              <a:custGeom>
                <a:avLst/>
                <a:gdLst>
                  <a:gd name="connsiteX0" fmla="*/ 158115 w 152400"/>
                  <a:gd name="connsiteY0" fmla="*/ 248602 h 295275"/>
                  <a:gd name="connsiteX1" fmla="*/ 158115 w 152400"/>
                  <a:gd name="connsiteY1" fmla="*/ 297180 h 295275"/>
                  <a:gd name="connsiteX2" fmla="*/ 114300 w 152400"/>
                  <a:gd name="connsiteY2" fmla="*/ 303848 h 295275"/>
                  <a:gd name="connsiteX3" fmla="*/ 54292 w 152400"/>
                  <a:gd name="connsiteY3" fmla="*/ 281940 h 295275"/>
                  <a:gd name="connsiteX4" fmla="*/ 36195 w 152400"/>
                  <a:gd name="connsiteY4" fmla="*/ 229552 h 295275"/>
                  <a:gd name="connsiteX5" fmla="*/ 36195 w 152400"/>
                  <a:gd name="connsiteY5" fmla="*/ 107632 h 295275"/>
                  <a:gd name="connsiteX6" fmla="*/ 0 w 152400"/>
                  <a:gd name="connsiteY6" fmla="*/ 107632 h 295275"/>
                  <a:gd name="connsiteX7" fmla="*/ 0 w 152400"/>
                  <a:gd name="connsiteY7" fmla="*/ 58102 h 295275"/>
                  <a:gd name="connsiteX8" fmla="*/ 36195 w 152400"/>
                  <a:gd name="connsiteY8" fmla="*/ 58102 h 295275"/>
                  <a:gd name="connsiteX9" fmla="*/ 40957 w 152400"/>
                  <a:gd name="connsiteY9" fmla="*/ 0 h 295275"/>
                  <a:gd name="connsiteX10" fmla="*/ 108585 w 152400"/>
                  <a:gd name="connsiteY10" fmla="*/ 0 h 295275"/>
                  <a:gd name="connsiteX11" fmla="*/ 108585 w 152400"/>
                  <a:gd name="connsiteY11" fmla="*/ 58102 h 295275"/>
                  <a:gd name="connsiteX12" fmla="*/ 158115 w 152400"/>
                  <a:gd name="connsiteY12" fmla="*/ 58102 h 295275"/>
                  <a:gd name="connsiteX13" fmla="*/ 158115 w 152400"/>
                  <a:gd name="connsiteY13" fmla="*/ 107632 h 295275"/>
                  <a:gd name="connsiteX14" fmla="*/ 108585 w 152400"/>
                  <a:gd name="connsiteY14" fmla="*/ 107632 h 295275"/>
                  <a:gd name="connsiteX15" fmla="*/ 108585 w 152400"/>
                  <a:gd name="connsiteY15" fmla="*/ 233363 h 295275"/>
                  <a:gd name="connsiteX16" fmla="*/ 115253 w 152400"/>
                  <a:gd name="connsiteY16" fmla="*/ 248602 h 295275"/>
                  <a:gd name="connsiteX17" fmla="*/ 132397 w 152400"/>
                  <a:gd name="connsiteY17" fmla="*/ 254317 h 295275"/>
                  <a:gd name="connsiteX18" fmla="*/ 158115 w 152400"/>
                  <a:gd name="connsiteY18" fmla="*/ 248602 h 2952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152400" h="295275">
                    <a:moveTo>
                      <a:pt x="158115" y="248602"/>
                    </a:moveTo>
                    <a:lnTo>
                      <a:pt x="158115" y="297180"/>
                    </a:lnTo>
                    <a:cubicBezTo>
                      <a:pt x="142875" y="301942"/>
                      <a:pt x="128588" y="303848"/>
                      <a:pt x="114300" y="303848"/>
                    </a:cubicBezTo>
                    <a:cubicBezTo>
                      <a:pt x="88582" y="303848"/>
                      <a:pt x="68580" y="296228"/>
                      <a:pt x="54292" y="281940"/>
                    </a:cubicBezTo>
                    <a:cubicBezTo>
                      <a:pt x="41910" y="269557"/>
                      <a:pt x="36195" y="252413"/>
                      <a:pt x="36195" y="229552"/>
                    </a:cubicBezTo>
                    <a:lnTo>
                      <a:pt x="36195" y="107632"/>
                    </a:lnTo>
                    <a:lnTo>
                      <a:pt x="0" y="107632"/>
                    </a:lnTo>
                    <a:lnTo>
                      <a:pt x="0" y="58102"/>
                    </a:lnTo>
                    <a:lnTo>
                      <a:pt x="36195" y="58102"/>
                    </a:lnTo>
                    <a:lnTo>
                      <a:pt x="40957" y="0"/>
                    </a:lnTo>
                    <a:lnTo>
                      <a:pt x="108585" y="0"/>
                    </a:lnTo>
                    <a:lnTo>
                      <a:pt x="108585" y="58102"/>
                    </a:lnTo>
                    <a:lnTo>
                      <a:pt x="158115" y="58102"/>
                    </a:lnTo>
                    <a:lnTo>
                      <a:pt x="158115" y="107632"/>
                    </a:lnTo>
                    <a:lnTo>
                      <a:pt x="108585" y="107632"/>
                    </a:lnTo>
                    <a:lnTo>
                      <a:pt x="108585" y="233363"/>
                    </a:lnTo>
                    <a:cubicBezTo>
                      <a:pt x="108585" y="240030"/>
                      <a:pt x="110490" y="244792"/>
                      <a:pt x="115253" y="248602"/>
                    </a:cubicBezTo>
                    <a:cubicBezTo>
                      <a:pt x="119063" y="252413"/>
                      <a:pt x="124778" y="254317"/>
                      <a:pt x="132397" y="254317"/>
                    </a:cubicBezTo>
                    <a:cubicBezTo>
                      <a:pt x="138113" y="253365"/>
                      <a:pt x="146685" y="251460"/>
                      <a:pt x="158115" y="248602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2489">
                  <a:latin typeface="CiscoSansTT Light" panose="020B0503020201020303" pitchFamily="34" charset="0"/>
                  <a:cs typeface="CiscoSansTT Light" panose="020B0503020201020303" pitchFamily="34" charset="0"/>
                </a:endParaRPr>
              </a:p>
            </p:txBody>
          </p:sp>
          <p:sp>
            <p:nvSpPr>
              <p:cNvPr id="16" name="Freeform: Shape 15">
                <a:extLst>
                  <a:ext uri="{FF2B5EF4-FFF2-40B4-BE49-F238E27FC236}">
                    <a16:creationId xmlns:a16="http://schemas.microsoft.com/office/drawing/2014/main" id="{F90A1336-2D46-49AB-AD59-131208C200DC}"/>
                  </a:ext>
                </a:extLst>
              </p:cNvPr>
              <p:cNvSpPr/>
              <p:nvPr/>
            </p:nvSpPr>
            <p:spPr>
              <a:xfrm>
                <a:off x="5231452" y="3644688"/>
                <a:ext cx="247650" cy="247650"/>
              </a:xfrm>
              <a:custGeom>
                <a:avLst/>
                <a:gdLst>
                  <a:gd name="connsiteX0" fmla="*/ 0 w 247650"/>
                  <a:gd name="connsiteY0" fmla="*/ 125730 h 247650"/>
                  <a:gd name="connsiteX1" fmla="*/ 38100 w 247650"/>
                  <a:gd name="connsiteY1" fmla="*/ 27622 h 247650"/>
                  <a:gd name="connsiteX2" fmla="*/ 126682 w 247650"/>
                  <a:gd name="connsiteY2" fmla="*/ 0 h 247650"/>
                  <a:gd name="connsiteX3" fmla="*/ 224790 w 247650"/>
                  <a:gd name="connsiteY3" fmla="*/ 36195 h 247650"/>
                  <a:gd name="connsiteX4" fmla="*/ 254318 w 247650"/>
                  <a:gd name="connsiteY4" fmla="*/ 125730 h 247650"/>
                  <a:gd name="connsiteX5" fmla="*/ 216218 w 247650"/>
                  <a:gd name="connsiteY5" fmla="*/ 224790 h 247650"/>
                  <a:gd name="connsiteX6" fmla="*/ 127635 w 247650"/>
                  <a:gd name="connsiteY6" fmla="*/ 253365 h 247650"/>
                  <a:gd name="connsiteX7" fmla="*/ 30480 w 247650"/>
                  <a:gd name="connsiteY7" fmla="*/ 216218 h 247650"/>
                  <a:gd name="connsiteX8" fmla="*/ 0 w 247650"/>
                  <a:gd name="connsiteY8" fmla="*/ 125730 h 247650"/>
                  <a:gd name="connsiteX9" fmla="*/ 73343 w 247650"/>
                  <a:gd name="connsiteY9" fmla="*/ 125730 h 247650"/>
                  <a:gd name="connsiteX10" fmla="*/ 88582 w 247650"/>
                  <a:gd name="connsiteY10" fmla="*/ 189547 h 247650"/>
                  <a:gd name="connsiteX11" fmla="*/ 125730 w 247650"/>
                  <a:gd name="connsiteY11" fmla="*/ 204787 h 247650"/>
                  <a:gd name="connsiteX12" fmla="*/ 166688 w 247650"/>
                  <a:gd name="connsiteY12" fmla="*/ 184785 h 247650"/>
                  <a:gd name="connsiteX13" fmla="*/ 178118 w 247650"/>
                  <a:gd name="connsiteY13" fmla="*/ 125730 h 247650"/>
                  <a:gd name="connsiteX14" fmla="*/ 162878 w 247650"/>
                  <a:gd name="connsiteY14" fmla="*/ 62865 h 247650"/>
                  <a:gd name="connsiteX15" fmla="*/ 124778 w 247650"/>
                  <a:gd name="connsiteY15" fmla="*/ 48577 h 247650"/>
                  <a:gd name="connsiteX16" fmla="*/ 82868 w 247650"/>
                  <a:gd name="connsiteY16" fmla="*/ 68580 h 247650"/>
                  <a:gd name="connsiteX17" fmla="*/ 73343 w 247650"/>
                  <a:gd name="connsiteY17" fmla="*/ 125730 h 2476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247650" h="247650">
                    <a:moveTo>
                      <a:pt x="0" y="125730"/>
                    </a:moveTo>
                    <a:cubicBezTo>
                      <a:pt x="0" y="81915"/>
                      <a:pt x="12382" y="49530"/>
                      <a:pt x="38100" y="27622"/>
                    </a:cubicBezTo>
                    <a:cubicBezTo>
                      <a:pt x="60007" y="9525"/>
                      <a:pt x="89535" y="0"/>
                      <a:pt x="126682" y="0"/>
                    </a:cubicBezTo>
                    <a:cubicBezTo>
                      <a:pt x="170497" y="0"/>
                      <a:pt x="202882" y="12382"/>
                      <a:pt x="224790" y="36195"/>
                    </a:cubicBezTo>
                    <a:cubicBezTo>
                      <a:pt x="243840" y="58103"/>
                      <a:pt x="254318" y="87630"/>
                      <a:pt x="254318" y="125730"/>
                    </a:cubicBezTo>
                    <a:cubicBezTo>
                      <a:pt x="254318" y="169545"/>
                      <a:pt x="241935" y="202883"/>
                      <a:pt x="216218" y="224790"/>
                    </a:cubicBezTo>
                    <a:cubicBezTo>
                      <a:pt x="194310" y="243840"/>
                      <a:pt x="164782" y="253365"/>
                      <a:pt x="127635" y="253365"/>
                    </a:cubicBezTo>
                    <a:cubicBezTo>
                      <a:pt x="84772" y="253365"/>
                      <a:pt x="53340" y="240983"/>
                      <a:pt x="30480" y="216218"/>
                    </a:cubicBezTo>
                    <a:cubicBezTo>
                      <a:pt x="9525" y="194310"/>
                      <a:pt x="0" y="164783"/>
                      <a:pt x="0" y="125730"/>
                    </a:cubicBezTo>
                    <a:close/>
                    <a:moveTo>
                      <a:pt x="73343" y="125730"/>
                    </a:moveTo>
                    <a:cubicBezTo>
                      <a:pt x="73343" y="155258"/>
                      <a:pt x="78105" y="177165"/>
                      <a:pt x="88582" y="189547"/>
                    </a:cubicBezTo>
                    <a:cubicBezTo>
                      <a:pt x="97155" y="200025"/>
                      <a:pt x="109538" y="204787"/>
                      <a:pt x="125730" y="204787"/>
                    </a:cubicBezTo>
                    <a:cubicBezTo>
                      <a:pt x="144780" y="204787"/>
                      <a:pt x="159068" y="198120"/>
                      <a:pt x="166688" y="184785"/>
                    </a:cubicBezTo>
                    <a:cubicBezTo>
                      <a:pt x="174307" y="172403"/>
                      <a:pt x="178118" y="152400"/>
                      <a:pt x="178118" y="125730"/>
                    </a:cubicBezTo>
                    <a:cubicBezTo>
                      <a:pt x="178118" y="95250"/>
                      <a:pt x="173355" y="74295"/>
                      <a:pt x="162878" y="62865"/>
                    </a:cubicBezTo>
                    <a:cubicBezTo>
                      <a:pt x="154305" y="53340"/>
                      <a:pt x="141922" y="48577"/>
                      <a:pt x="124778" y="48577"/>
                    </a:cubicBezTo>
                    <a:cubicBezTo>
                      <a:pt x="105728" y="48577"/>
                      <a:pt x="91440" y="55245"/>
                      <a:pt x="82868" y="68580"/>
                    </a:cubicBezTo>
                    <a:cubicBezTo>
                      <a:pt x="77153" y="80010"/>
                      <a:pt x="73343" y="100012"/>
                      <a:pt x="73343" y="125730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2489">
                  <a:latin typeface="CiscoSansTT Light" panose="020B0503020201020303" pitchFamily="34" charset="0"/>
                  <a:cs typeface="CiscoSansTT Light" panose="020B0503020201020303" pitchFamily="34" charset="0"/>
                </a:endParaRPr>
              </a:p>
            </p:txBody>
          </p:sp>
          <p:sp>
            <p:nvSpPr>
              <p:cNvPr id="17" name="Freeform: Shape 16">
                <a:extLst>
                  <a:ext uri="{FF2B5EF4-FFF2-40B4-BE49-F238E27FC236}">
                    <a16:creationId xmlns:a16="http://schemas.microsoft.com/office/drawing/2014/main" id="{B240106F-2142-4512-9261-2BFFC7910B11}"/>
                  </a:ext>
                </a:extLst>
              </p:cNvPr>
              <p:cNvSpPr/>
              <p:nvPr/>
            </p:nvSpPr>
            <p:spPr>
              <a:xfrm>
                <a:off x="5521965" y="3644688"/>
                <a:ext cx="371475" cy="238125"/>
              </a:xfrm>
              <a:custGeom>
                <a:avLst/>
                <a:gdLst>
                  <a:gd name="connsiteX0" fmla="*/ 72390 w 371475"/>
                  <a:gd name="connsiteY0" fmla="*/ 246697 h 238125"/>
                  <a:gd name="connsiteX1" fmla="*/ 0 w 371475"/>
                  <a:gd name="connsiteY1" fmla="*/ 246697 h 238125"/>
                  <a:gd name="connsiteX2" fmla="*/ 0 w 371475"/>
                  <a:gd name="connsiteY2" fmla="*/ 6668 h 238125"/>
                  <a:gd name="connsiteX3" fmla="*/ 50482 w 371475"/>
                  <a:gd name="connsiteY3" fmla="*/ 6668 h 238125"/>
                  <a:gd name="connsiteX4" fmla="*/ 62865 w 371475"/>
                  <a:gd name="connsiteY4" fmla="*/ 33338 h 238125"/>
                  <a:gd name="connsiteX5" fmla="*/ 136207 w 371475"/>
                  <a:gd name="connsiteY5" fmla="*/ 0 h 238125"/>
                  <a:gd name="connsiteX6" fmla="*/ 208597 w 371475"/>
                  <a:gd name="connsiteY6" fmla="*/ 33338 h 238125"/>
                  <a:gd name="connsiteX7" fmla="*/ 287655 w 371475"/>
                  <a:gd name="connsiteY7" fmla="*/ 0 h 238125"/>
                  <a:gd name="connsiteX8" fmla="*/ 353378 w 371475"/>
                  <a:gd name="connsiteY8" fmla="*/ 23813 h 238125"/>
                  <a:gd name="connsiteX9" fmla="*/ 375285 w 371475"/>
                  <a:gd name="connsiteY9" fmla="*/ 90487 h 238125"/>
                  <a:gd name="connsiteX10" fmla="*/ 375285 w 371475"/>
                  <a:gd name="connsiteY10" fmla="*/ 246697 h 238125"/>
                  <a:gd name="connsiteX11" fmla="*/ 302895 w 371475"/>
                  <a:gd name="connsiteY11" fmla="*/ 246697 h 238125"/>
                  <a:gd name="connsiteX12" fmla="*/ 302895 w 371475"/>
                  <a:gd name="connsiteY12" fmla="*/ 89535 h 238125"/>
                  <a:gd name="connsiteX13" fmla="*/ 264795 w 371475"/>
                  <a:gd name="connsiteY13" fmla="*/ 51435 h 238125"/>
                  <a:gd name="connsiteX14" fmla="*/ 231457 w 371475"/>
                  <a:gd name="connsiteY14" fmla="*/ 67628 h 238125"/>
                  <a:gd name="connsiteX15" fmla="*/ 222885 w 371475"/>
                  <a:gd name="connsiteY15" fmla="*/ 100012 h 238125"/>
                  <a:gd name="connsiteX16" fmla="*/ 222885 w 371475"/>
                  <a:gd name="connsiteY16" fmla="*/ 246697 h 238125"/>
                  <a:gd name="connsiteX17" fmla="*/ 150495 w 371475"/>
                  <a:gd name="connsiteY17" fmla="*/ 246697 h 238125"/>
                  <a:gd name="connsiteX18" fmla="*/ 150495 w 371475"/>
                  <a:gd name="connsiteY18" fmla="*/ 89535 h 238125"/>
                  <a:gd name="connsiteX19" fmla="*/ 112395 w 371475"/>
                  <a:gd name="connsiteY19" fmla="*/ 51435 h 238125"/>
                  <a:gd name="connsiteX20" fmla="*/ 80963 w 371475"/>
                  <a:gd name="connsiteY20" fmla="*/ 66675 h 238125"/>
                  <a:gd name="connsiteX21" fmla="*/ 71438 w 371475"/>
                  <a:gd name="connsiteY21" fmla="*/ 97155 h 238125"/>
                  <a:gd name="connsiteX22" fmla="*/ 71438 w 371475"/>
                  <a:gd name="connsiteY22" fmla="*/ 246697 h 2381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</a:cxnLst>
                <a:rect l="l" t="t" r="r" b="b"/>
                <a:pathLst>
                  <a:path w="371475" h="238125">
                    <a:moveTo>
                      <a:pt x="72390" y="246697"/>
                    </a:moveTo>
                    <a:lnTo>
                      <a:pt x="0" y="246697"/>
                    </a:lnTo>
                    <a:lnTo>
                      <a:pt x="0" y="6668"/>
                    </a:lnTo>
                    <a:lnTo>
                      <a:pt x="50482" y="6668"/>
                    </a:lnTo>
                    <a:lnTo>
                      <a:pt x="62865" y="33338"/>
                    </a:lnTo>
                    <a:cubicBezTo>
                      <a:pt x="80963" y="11430"/>
                      <a:pt x="105728" y="0"/>
                      <a:pt x="136207" y="0"/>
                    </a:cubicBezTo>
                    <a:cubicBezTo>
                      <a:pt x="169545" y="0"/>
                      <a:pt x="194310" y="11430"/>
                      <a:pt x="208597" y="33338"/>
                    </a:cubicBezTo>
                    <a:cubicBezTo>
                      <a:pt x="228600" y="11430"/>
                      <a:pt x="254318" y="0"/>
                      <a:pt x="287655" y="0"/>
                    </a:cubicBezTo>
                    <a:cubicBezTo>
                      <a:pt x="316230" y="0"/>
                      <a:pt x="338138" y="7620"/>
                      <a:pt x="353378" y="23813"/>
                    </a:cubicBezTo>
                    <a:cubicBezTo>
                      <a:pt x="367665" y="39052"/>
                      <a:pt x="375285" y="61912"/>
                      <a:pt x="375285" y="90487"/>
                    </a:cubicBezTo>
                    <a:lnTo>
                      <a:pt x="375285" y="246697"/>
                    </a:lnTo>
                    <a:lnTo>
                      <a:pt x="302895" y="246697"/>
                    </a:lnTo>
                    <a:lnTo>
                      <a:pt x="302895" y="89535"/>
                    </a:lnTo>
                    <a:cubicBezTo>
                      <a:pt x="302895" y="63818"/>
                      <a:pt x="290513" y="51435"/>
                      <a:pt x="264795" y="51435"/>
                    </a:cubicBezTo>
                    <a:cubicBezTo>
                      <a:pt x="250507" y="51435"/>
                      <a:pt x="239078" y="57150"/>
                      <a:pt x="231457" y="67628"/>
                    </a:cubicBezTo>
                    <a:cubicBezTo>
                      <a:pt x="225743" y="76200"/>
                      <a:pt x="222885" y="86678"/>
                      <a:pt x="222885" y="100012"/>
                    </a:cubicBezTo>
                    <a:lnTo>
                      <a:pt x="222885" y="246697"/>
                    </a:lnTo>
                    <a:lnTo>
                      <a:pt x="150495" y="246697"/>
                    </a:lnTo>
                    <a:lnTo>
                      <a:pt x="150495" y="89535"/>
                    </a:lnTo>
                    <a:cubicBezTo>
                      <a:pt x="150495" y="63818"/>
                      <a:pt x="138113" y="51435"/>
                      <a:pt x="112395" y="51435"/>
                    </a:cubicBezTo>
                    <a:cubicBezTo>
                      <a:pt x="99060" y="51435"/>
                      <a:pt x="88582" y="56197"/>
                      <a:pt x="80963" y="66675"/>
                    </a:cubicBezTo>
                    <a:cubicBezTo>
                      <a:pt x="74295" y="75247"/>
                      <a:pt x="71438" y="85725"/>
                      <a:pt x="71438" y="97155"/>
                    </a:cubicBezTo>
                    <a:lnTo>
                      <a:pt x="71438" y="246697"/>
                    </a:ln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2489">
                  <a:latin typeface="CiscoSansTT Light" panose="020B0503020201020303" pitchFamily="34" charset="0"/>
                  <a:cs typeface="CiscoSansTT Light" panose="020B0503020201020303" pitchFamily="34" charset="0"/>
                </a:endParaRPr>
              </a:p>
            </p:txBody>
          </p:sp>
          <p:sp>
            <p:nvSpPr>
              <p:cNvPr id="18" name="Freeform: Shape 17">
                <a:extLst>
                  <a:ext uri="{FF2B5EF4-FFF2-40B4-BE49-F238E27FC236}">
                    <a16:creationId xmlns:a16="http://schemas.microsoft.com/office/drawing/2014/main" id="{DB8CFF30-3B90-4182-8B59-B81025B2D96E}"/>
                  </a:ext>
                </a:extLst>
              </p:cNvPr>
              <p:cNvSpPr/>
              <p:nvPr/>
            </p:nvSpPr>
            <p:spPr>
              <a:xfrm>
                <a:off x="5934397" y="3645640"/>
                <a:ext cx="247650" cy="247650"/>
              </a:xfrm>
              <a:custGeom>
                <a:avLst/>
                <a:gdLst>
                  <a:gd name="connsiteX0" fmla="*/ 170498 w 247650"/>
                  <a:gd name="connsiteY0" fmla="*/ 176213 h 247650"/>
                  <a:gd name="connsiteX1" fmla="*/ 243840 w 247650"/>
                  <a:gd name="connsiteY1" fmla="*/ 176213 h 247650"/>
                  <a:gd name="connsiteX2" fmla="*/ 203835 w 247650"/>
                  <a:gd name="connsiteY2" fmla="*/ 234315 h 247650"/>
                  <a:gd name="connsiteX3" fmla="*/ 125730 w 247650"/>
                  <a:gd name="connsiteY3" fmla="*/ 253365 h 247650"/>
                  <a:gd name="connsiteX4" fmla="*/ 30480 w 247650"/>
                  <a:gd name="connsiteY4" fmla="*/ 215265 h 247650"/>
                  <a:gd name="connsiteX5" fmla="*/ 0 w 247650"/>
                  <a:gd name="connsiteY5" fmla="*/ 126682 h 247650"/>
                  <a:gd name="connsiteX6" fmla="*/ 38100 w 247650"/>
                  <a:gd name="connsiteY6" fmla="*/ 28575 h 247650"/>
                  <a:gd name="connsiteX7" fmla="*/ 123825 w 247650"/>
                  <a:gd name="connsiteY7" fmla="*/ 0 h 247650"/>
                  <a:gd name="connsiteX8" fmla="*/ 218123 w 247650"/>
                  <a:gd name="connsiteY8" fmla="*/ 40957 h 247650"/>
                  <a:gd name="connsiteX9" fmla="*/ 247650 w 247650"/>
                  <a:gd name="connsiteY9" fmla="*/ 144780 h 247650"/>
                  <a:gd name="connsiteX10" fmla="*/ 72390 w 247650"/>
                  <a:gd name="connsiteY10" fmla="*/ 144780 h 247650"/>
                  <a:gd name="connsiteX11" fmla="*/ 129540 w 247650"/>
                  <a:gd name="connsiteY11" fmla="*/ 203835 h 247650"/>
                  <a:gd name="connsiteX12" fmla="*/ 157163 w 247650"/>
                  <a:gd name="connsiteY12" fmla="*/ 197168 h 247650"/>
                  <a:gd name="connsiteX13" fmla="*/ 170498 w 247650"/>
                  <a:gd name="connsiteY13" fmla="*/ 176213 h 247650"/>
                  <a:gd name="connsiteX14" fmla="*/ 121920 w 247650"/>
                  <a:gd name="connsiteY14" fmla="*/ 44768 h 247650"/>
                  <a:gd name="connsiteX15" fmla="*/ 72390 w 247650"/>
                  <a:gd name="connsiteY15" fmla="*/ 101918 h 247650"/>
                  <a:gd name="connsiteX16" fmla="*/ 173355 w 247650"/>
                  <a:gd name="connsiteY16" fmla="*/ 101918 h 247650"/>
                  <a:gd name="connsiteX17" fmla="*/ 121920 w 247650"/>
                  <a:gd name="connsiteY17" fmla="*/ 44768 h 2476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247650" h="247650">
                    <a:moveTo>
                      <a:pt x="170498" y="176213"/>
                    </a:moveTo>
                    <a:lnTo>
                      <a:pt x="243840" y="176213"/>
                    </a:lnTo>
                    <a:cubicBezTo>
                      <a:pt x="238125" y="200978"/>
                      <a:pt x="223838" y="220980"/>
                      <a:pt x="203835" y="234315"/>
                    </a:cubicBezTo>
                    <a:cubicBezTo>
                      <a:pt x="183833" y="246697"/>
                      <a:pt x="157163" y="253365"/>
                      <a:pt x="125730" y="253365"/>
                    </a:cubicBezTo>
                    <a:cubicBezTo>
                      <a:pt x="84773" y="253365"/>
                      <a:pt x="53340" y="240983"/>
                      <a:pt x="30480" y="215265"/>
                    </a:cubicBezTo>
                    <a:cubicBezTo>
                      <a:pt x="9525" y="192405"/>
                      <a:pt x="0" y="162878"/>
                      <a:pt x="0" y="126682"/>
                    </a:cubicBezTo>
                    <a:cubicBezTo>
                      <a:pt x="0" y="83820"/>
                      <a:pt x="12383" y="50482"/>
                      <a:pt x="38100" y="28575"/>
                    </a:cubicBezTo>
                    <a:cubicBezTo>
                      <a:pt x="60008" y="9525"/>
                      <a:pt x="88583" y="0"/>
                      <a:pt x="123825" y="0"/>
                    </a:cubicBezTo>
                    <a:cubicBezTo>
                      <a:pt x="165735" y="0"/>
                      <a:pt x="197168" y="13335"/>
                      <a:pt x="218123" y="40957"/>
                    </a:cubicBezTo>
                    <a:cubicBezTo>
                      <a:pt x="237173" y="65722"/>
                      <a:pt x="247650" y="100013"/>
                      <a:pt x="247650" y="144780"/>
                    </a:cubicBezTo>
                    <a:lnTo>
                      <a:pt x="72390" y="144780"/>
                    </a:lnTo>
                    <a:cubicBezTo>
                      <a:pt x="77153" y="183833"/>
                      <a:pt x="96203" y="203835"/>
                      <a:pt x="129540" y="203835"/>
                    </a:cubicBezTo>
                    <a:cubicBezTo>
                      <a:pt x="140018" y="203835"/>
                      <a:pt x="149543" y="201930"/>
                      <a:pt x="157163" y="197168"/>
                    </a:cubicBezTo>
                    <a:cubicBezTo>
                      <a:pt x="163830" y="191453"/>
                      <a:pt x="168593" y="184785"/>
                      <a:pt x="170498" y="176213"/>
                    </a:cubicBezTo>
                    <a:close/>
                    <a:moveTo>
                      <a:pt x="121920" y="44768"/>
                    </a:moveTo>
                    <a:cubicBezTo>
                      <a:pt x="92393" y="44768"/>
                      <a:pt x="76200" y="63818"/>
                      <a:pt x="72390" y="101918"/>
                    </a:cubicBezTo>
                    <a:lnTo>
                      <a:pt x="173355" y="101918"/>
                    </a:lnTo>
                    <a:cubicBezTo>
                      <a:pt x="170498" y="63818"/>
                      <a:pt x="153353" y="44768"/>
                      <a:pt x="121920" y="44768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2489">
                  <a:latin typeface="CiscoSansTT Light" panose="020B0503020201020303" pitchFamily="34" charset="0"/>
                  <a:cs typeface="CiscoSansTT Light" panose="020B0503020201020303" pitchFamily="34" charset="0"/>
                </a:endParaRPr>
              </a:p>
            </p:txBody>
          </p:sp>
          <p:sp>
            <p:nvSpPr>
              <p:cNvPr id="19" name="Freeform: Shape 18">
                <a:extLst>
                  <a:ext uri="{FF2B5EF4-FFF2-40B4-BE49-F238E27FC236}">
                    <a16:creationId xmlns:a16="http://schemas.microsoft.com/office/drawing/2014/main" id="{2D192A82-0EAF-4951-B698-9291EB2AF632}"/>
                  </a:ext>
                </a:extLst>
              </p:cNvPr>
              <p:cNvSpPr/>
              <p:nvPr/>
            </p:nvSpPr>
            <p:spPr>
              <a:xfrm>
                <a:off x="6216337" y="3643735"/>
                <a:ext cx="152400" cy="247650"/>
              </a:xfrm>
              <a:custGeom>
                <a:avLst/>
                <a:gdLst>
                  <a:gd name="connsiteX0" fmla="*/ 72390 w 152400"/>
                  <a:gd name="connsiteY0" fmla="*/ 247650 h 247650"/>
                  <a:gd name="connsiteX1" fmla="*/ 0 w 152400"/>
                  <a:gd name="connsiteY1" fmla="*/ 247650 h 247650"/>
                  <a:gd name="connsiteX2" fmla="*/ 0 w 152400"/>
                  <a:gd name="connsiteY2" fmla="*/ 7620 h 247650"/>
                  <a:gd name="connsiteX3" fmla="*/ 60008 w 152400"/>
                  <a:gd name="connsiteY3" fmla="*/ 7620 h 247650"/>
                  <a:gd name="connsiteX4" fmla="*/ 67628 w 152400"/>
                  <a:gd name="connsiteY4" fmla="*/ 43815 h 247650"/>
                  <a:gd name="connsiteX5" fmla="*/ 130493 w 152400"/>
                  <a:gd name="connsiteY5" fmla="*/ 0 h 247650"/>
                  <a:gd name="connsiteX6" fmla="*/ 158115 w 152400"/>
                  <a:gd name="connsiteY6" fmla="*/ 2858 h 247650"/>
                  <a:gd name="connsiteX7" fmla="*/ 158115 w 152400"/>
                  <a:gd name="connsiteY7" fmla="*/ 69533 h 247650"/>
                  <a:gd name="connsiteX8" fmla="*/ 127635 w 152400"/>
                  <a:gd name="connsiteY8" fmla="*/ 64770 h 247650"/>
                  <a:gd name="connsiteX9" fmla="*/ 87630 w 152400"/>
                  <a:gd name="connsiteY9" fmla="*/ 88583 h 247650"/>
                  <a:gd name="connsiteX10" fmla="*/ 73343 w 152400"/>
                  <a:gd name="connsiteY10" fmla="*/ 146685 h 247650"/>
                  <a:gd name="connsiteX11" fmla="*/ 73343 w 152400"/>
                  <a:gd name="connsiteY11" fmla="*/ 247650 h 2476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152400" h="247650">
                    <a:moveTo>
                      <a:pt x="72390" y="247650"/>
                    </a:moveTo>
                    <a:lnTo>
                      <a:pt x="0" y="247650"/>
                    </a:lnTo>
                    <a:lnTo>
                      <a:pt x="0" y="7620"/>
                    </a:lnTo>
                    <a:lnTo>
                      <a:pt x="60008" y="7620"/>
                    </a:lnTo>
                    <a:lnTo>
                      <a:pt x="67628" y="43815"/>
                    </a:lnTo>
                    <a:cubicBezTo>
                      <a:pt x="80963" y="15240"/>
                      <a:pt x="101918" y="0"/>
                      <a:pt x="130493" y="0"/>
                    </a:cubicBezTo>
                    <a:cubicBezTo>
                      <a:pt x="140970" y="0"/>
                      <a:pt x="150495" y="953"/>
                      <a:pt x="158115" y="2858"/>
                    </a:cubicBezTo>
                    <a:lnTo>
                      <a:pt x="158115" y="69533"/>
                    </a:lnTo>
                    <a:cubicBezTo>
                      <a:pt x="148590" y="66675"/>
                      <a:pt x="138113" y="64770"/>
                      <a:pt x="127635" y="64770"/>
                    </a:cubicBezTo>
                    <a:cubicBezTo>
                      <a:pt x="111443" y="64770"/>
                      <a:pt x="98108" y="72390"/>
                      <a:pt x="87630" y="88583"/>
                    </a:cubicBezTo>
                    <a:cubicBezTo>
                      <a:pt x="78105" y="102870"/>
                      <a:pt x="73343" y="122873"/>
                      <a:pt x="73343" y="146685"/>
                    </a:cubicBezTo>
                    <a:lnTo>
                      <a:pt x="73343" y="247650"/>
                    </a:ln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2489">
                  <a:latin typeface="CiscoSansTT Light" panose="020B0503020201020303" pitchFamily="34" charset="0"/>
                  <a:cs typeface="CiscoSansTT Light" panose="020B0503020201020303" pitchFamily="34" charset="0"/>
                </a:endParaRPr>
              </a:p>
            </p:txBody>
          </p:sp>
          <p:sp>
            <p:nvSpPr>
              <p:cNvPr id="20" name="Freeform: Shape 19">
                <a:extLst>
                  <a:ext uri="{FF2B5EF4-FFF2-40B4-BE49-F238E27FC236}">
                    <a16:creationId xmlns:a16="http://schemas.microsoft.com/office/drawing/2014/main" id="{80C91A13-B1E2-46AB-A230-643F57D492E5}"/>
                  </a:ext>
                </a:extLst>
              </p:cNvPr>
              <p:cNvSpPr/>
              <p:nvPr/>
            </p:nvSpPr>
            <p:spPr>
              <a:xfrm>
                <a:off x="6522090" y="3559915"/>
                <a:ext cx="219075" cy="323850"/>
              </a:xfrm>
              <a:custGeom>
                <a:avLst/>
                <a:gdLst>
                  <a:gd name="connsiteX0" fmla="*/ 210503 w 219075"/>
                  <a:gd name="connsiteY0" fmla="*/ 137160 h 323850"/>
                  <a:gd name="connsiteX1" fmla="*/ 210503 w 219075"/>
                  <a:gd name="connsiteY1" fmla="*/ 190500 h 323850"/>
                  <a:gd name="connsiteX2" fmla="*/ 77153 w 219075"/>
                  <a:gd name="connsiteY2" fmla="*/ 190500 h 323850"/>
                  <a:gd name="connsiteX3" fmla="*/ 77153 w 219075"/>
                  <a:gd name="connsiteY3" fmla="*/ 275272 h 323850"/>
                  <a:gd name="connsiteX4" fmla="*/ 223838 w 219075"/>
                  <a:gd name="connsiteY4" fmla="*/ 275272 h 323850"/>
                  <a:gd name="connsiteX5" fmla="*/ 223838 w 219075"/>
                  <a:gd name="connsiteY5" fmla="*/ 331470 h 323850"/>
                  <a:gd name="connsiteX6" fmla="*/ 0 w 219075"/>
                  <a:gd name="connsiteY6" fmla="*/ 331470 h 323850"/>
                  <a:gd name="connsiteX7" fmla="*/ 0 w 219075"/>
                  <a:gd name="connsiteY7" fmla="*/ 0 h 323850"/>
                  <a:gd name="connsiteX8" fmla="*/ 223838 w 219075"/>
                  <a:gd name="connsiteY8" fmla="*/ 0 h 323850"/>
                  <a:gd name="connsiteX9" fmla="*/ 223838 w 219075"/>
                  <a:gd name="connsiteY9" fmla="*/ 57150 h 323850"/>
                  <a:gd name="connsiteX10" fmla="*/ 77153 w 219075"/>
                  <a:gd name="connsiteY10" fmla="*/ 57150 h 323850"/>
                  <a:gd name="connsiteX11" fmla="*/ 77153 w 219075"/>
                  <a:gd name="connsiteY11" fmla="*/ 138113 h 323850"/>
                  <a:gd name="connsiteX12" fmla="*/ 210503 w 219075"/>
                  <a:gd name="connsiteY12" fmla="*/ 138113 h 3238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219075" h="323850">
                    <a:moveTo>
                      <a:pt x="210503" y="137160"/>
                    </a:moveTo>
                    <a:lnTo>
                      <a:pt x="210503" y="190500"/>
                    </a:lnTo>
                    <a:lnTo>
                      <a:pt x="77153" y="190500"/>
                    </a:lnTo>
                    <a:lnTo>
                      <a:pt x="77153" y="275272"/>
                    </a:lnTo>
                    <a:lnTo>
                      <a:pt x="223838" y="275272"/>
                    </a:lnTo>
                    <a:lnTo>
                      <a:pt x="223838" y="331470"/>
                    </a:lnTo>
                    <a:lnTo>
                      <a:pt x="0" y="331470"/>
                    </a:lnTo>
                    <a:lnTo>
                      <a:pt x="0" y="0"/>
                    </a:lnTo>
                    <a:lnTo>
                      <a:pt x="223838" y="0"/>
                    </a:lnTo>
                    <a:lnTo>
                      <a:pt x="223838" y="57150"/>
                    </a:lnTo>
                    <a:lnTo>
                      <a:pt x="77153" y="57150"/>
                    </a:lnTo>
                    <a:lnTo>
                      <a:pt x="77153" y="138113"/>
                    </a:lnTo>
                    <a:lnTo>
                      <a:pt x="210503" y="138113"/>
                    </a:ln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2489">
                  <a:latin typeface="CiscoSansTT Light" panose="020B0503020201020303" pitchFamily="34" charset="0"/>
                  <a:cs typeface="CiscoSansTT Light" panose="020B0503020201020303" pitchFamily="34" charset="0"/>
                </a:endParaRPr>
              </a:p>
            </p:txBody>
          </p:sp>
          <p:sp>
            <p:nvSpPr>
              <p:cNvPr id="21" name="Freeform: Shape 20">
                <a:extLst>
                  <a:ext uri="{FF2B5EF4-FFF2-40B4-BE49-F238E27FC236}">
                    <a16:creationId xmlns:a16="http://schemas.microsoft.com/office/drawing/2014/main" id="{2D1B10F0-040A-47F8-B34E-69FE25EF43B1}"/>
                  </a:ext>
                </a:extLst>
              </p:cNvPr>
              <p:cNvSpPr/>
              <p:nvPr/>
            </p:nvSpPr>
            <p:spPr>
              <a:xfrm>
                <a:off x="6768787" y="3651355"/>
                <a:ext cx="257175" cy="238125"/>
              </a:xfrm>
              <a:custGeom>
                <a:avLst/>
                <a:gdLst>
                  <a:gd name="connsiteX0" fmla="*/ 246697 w 257175"/>
                  <a:gd name="connsiteY0" fmla="*/ 0 h 238125"/>
                  <a:gd name="connsiteX1" fmla="*/ 167640 w 257175"/>
                  <a:gd name="connsiteY1" fmla="*/ 113348 h 238125"/>
                  <a:gd name="connsiteX2" fmla="*/ 259080 w 257175"/>
                  <a:gd name="connsiteY2" fmla="*/ 240982 h 238125"/>
                  <a:gd name="connsiteX3" fmla="*/ 172403 w 257175"/>
                  <a:gd name="connsiteY3" fmla="*/ 240982 h 238125"/>
                  <a:gd name="connsiteX4" fmla="*/ 125730 w 257175"/>
                  <a:gd name="connsiteY4" fmla="*/ 166688 h 238125"/>
                  <a:gd name="connsiteX5" fmla="*/ 76200 w 257175"/>
                  <a:gd name="connsiteY5" fmla="*/ 240982 h 238125"/>
                  <a:gd name="connsiteX6" fmla="*/ 0 w 257175"/>
                  <a:gd name="connsiteY6" fmla="*/ 240982 h 238125"/>
                  <a:gd name="connsiteX7" fmla="*/ 89535 w 257175"/>
                  <a:gd name="connsiteY7" fmla="*/ 114300 h 238125"/>
                  <a:gd name="connsiteX8" fmla="*/ 4763 w 257175"/>
                  <a:gd name="connsiteY8" fmla="*/ 952 h 238125"/>
                  <a:gd name="connsiteX9" fmla="*/ 88583 w 257175"/>
                  <a:gd name="connsiteY9" fmla="*/ 952 h 238125"/>
                  <a:gd name="connsiteX10" fmla="*/ 129540 w 257175"/>
                  <a:gd name="connsiteY10" fmla="*/ 62865 h 238125"/>
                  <a:gd name="connsiteX11" fmla="*/ 171450 w 257175"/>
                  <a:gd name="connsiteY11" fmla="*/ 0 h 238125"/>
                  <a:gd name="connsiteX12" fmla="*/ 246697 w 257175"/>
                  <a:gd name="connsiteY12" fmla="*/ 0 h 2381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257175" h="238125">
                    <a:moveTo>
                      <a:pt x="246697" y="0"/>
                    </a:moveTo>
                    <a:lnTo>
                      <a:pt x="167640" y="113348"/>
                    </a:lnTo>
                    <a:lnTo>
                      <a:pt x="259080" y="240982"/>
                    </a:lnTo>
                    <a:lnTo>
                      <a:pt x="172403" y="240982"/>
                    </a:lnTo>
                    <a:lnTo>
                      <a:pt x="125730" y="166688"/>
                    </a:lnTo>
                    <a:lnTo>
                      <a:pt x="76200" y="240982"/>
                    </a:lnTo>
                    <a:lnTo>
                      <a:pt x="0" y="240982"/>
                    </a:lnTo>
                    <a:lnTo>
                      <a:pt x="89535" y="114300"/>
                    </a:lnTo>
                    <a:lnTo>
                      <a:pt x="4763" y="952"/>
                    </a:lnTo>
                    <a:lnTo>
                      <a:pt x="88583" y="952"/>
                    </a:lnTo>
                    <a:lnTo>
                      <a:pt x="129540" y="62865"/>
                    </a:lnTo>
                    <a:lnTo>
                      <a:pt x="171450" y="0"/>
                    </a:lnTo>
                    <a:lnTo>
                      <a:pt x="246697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2489">
                  <a:latin typeface="CiscoSansTT Light" panose="020B0503020201020303" pitchFamily="34" charset="0"/>
                  <a:cs typeface="CiscoSansTT Light" panose="020B0503020201020303" pitchFamily="34" charset="0"/>
                </a:endParaRPr>
              </a:p>
            </p:txBody>
          </p:sp>
          <p:sp>
            <p:nvSpPr>
              <p:cNvPr id="22" name="Freeform: Shape 21">
                <a:extLst>
                  <a:ext uri="{FF2B5EF4-FFF2-40B4-BE49-F238E27FC236}">
                    <a16:creationId xmlns:a16="http://schemas.microsoft.com/office/drawing/2014/main" id="{89AB0E61-3929-4193-9DEA-833BB0837D27}"/>
                  </a:ext>
                </a:extLst>
              </p:cNvPr>
              <p:cNvSpPr/>
              <p:nvPr/>
            </p:nvSpPr>
            <p:spPr>
              <a:xfrm>
                <a:off x="7052632" y="3644688"/>
                <a:ext cx="247650" cy="323850"/>
              </a:xfrm>
              <a:custGeom>
                <a:avLst/>
                <a:gdLst>
                  <a:gd name="connsiteX0" fmla="*/ 138113 w 247650"/>
                  <a:gd name="connsiteY0" fmla="*/ 253365 h 323850"/>
                  <a:gd name="connsiteX1" fmla="*/ 72390 w 247650"/>
                  <a:gd name="connsiteY1" fmla="*/ 225743 h 323850"/>
                  <a:gd name="connsiteX2" fmla="*/ 72390 w 247650"/>
                  <a:gd name="connsiteY2" fmla="*/ 329565 h 323850"/>
                  <a:gd name="connsiteX3" fmla="*/ 0 w 247650"/>
                  <a:gd name="connsiteY3" fmla="*/ 329565 h 323850"/>
                  <a:gd name="connsiteX4" fmla="*/ 0 w 247650"/>
                  <a:gd name="connsiteY4" fmla="*/ 6668 h 323850"/>
                  <a:gd name="connsiteX5" fmla="*/ 54292 w 247650"/>
                  <a:gd name="connsiteY5" fmla="*/ 6668 h 323850"/>
                  <a:gd name="connsiteX6" fmla="*/ 68580 w 247650"/>
                  <a:gd name="connsiteY6" fmla="*/ 33338 h 323850"/>
                  <a:gd name="connsiteX7" fmla="*/ 144780 w 247650"/>
                  <a:gd name="connsiteY7" fmla="*/ 0 h 323850"/>
                  <a:gd name="connsiteX8" fmla="*/ 225742 w 247650"/>
                  <a:gd name="connsiteY8" fmla="*/ 36195 h 323850"/>
                  <a:gd name="connsiteX9" fmla="*/ 251460 w 247650"/>
                  <a:gd name="connsiteY9" fmla="*/ 123825 h 323850"/>
                  <a:gd name="connsiteX10" fmla="*/ 214313 w 247650"/>
                  <a:gd name="connsiteY10" fmla="*/ 224790 h 323850"/>
                  <a:gd name="connsiteX11" fmla="*/ 138113 w 247650"/>
                  <a:gd name="connsiteY11" fmla="*/ 253365 h 323850"/>
                  <a:gd name="connsiteX12" fmla="*/ 179070 w 247650"/>
                  <a:gd name="connsiteY12" fmla="*/ 124778 h 323850"/>
                  <a:gd name="connsiteX13" fmla="*/ 125730 w 247650"/>
                  <a:gd name="connsiteY13" fmla="*/ 52387 h 323850"/>
                  <a:gd name="connsiteX14" fmla="*/ 83820 w 247650"/>
                  <a:gd name="connsiteY14" fmla="*/ 72390 h 323850"/>
                  <a:gd name="connsiteX15" fmla="*/ 69532 w 247650"/>
                  <a:gd name="connsiteY15" fmla="*/ 123825 h 323850"/>
                  <a:gd name="connsiteX16" fmla="*/ 122872 w 247650"/>
                  <a:gd name="connsiteY16" fmla="*/ 200978 h 323850"/>
                  <a:gd name="connsiteX17" fmla="*/ 164782 w 247650"/>
                  <a:gd name="connsiteY17" fmla="*/ 180022 h 323850"/>
                  <a:gd name="connsiteX18" fmla="*/ 179070 w 247650"/>
                  <a:gd name="connsiteY18" fmla="*/ 124778 h 3238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247650" h="323850">
                    <a:moveTo>
                      <a:pt x="138113" y="253365"/>
                    </a:moveTo>
                    <a:cubicBezTo>
                      <a:pt x="112395" y="253365"/>
                      <a:pt x="89535" y="243840"/>
                      <a:pt x="72390" y="225743"/>
                    </a:cubicBezTo>
                    <a:lnTo>
                      <a:pt x="72390" y="329565"/>
                    </a:lnTo>
                    <a:lnTo>
                      <a:pt x="0" y="329565"/>
                    </a:lnTo>
                    <a:lnTo>
                      <a:pt x="0" y="6668"/>
                    </a:lnTo>
                    <a:lnTo>
                      <a:pt x="54292" y="6668"/>
                    </a:lnTo>
                    <a:lnTo>
                      <a:pt x="68580" y="33338"/>
                    </a:lnTo>
                    <a:cubicBezTo>
                      <a:pt x="87630" y="10477"/>
                      <a:pt x="113347" y="0"/>
                      <a:pt x="144780" y="0"/>
                    </a:cubicBezTo>
                    <a:cubicBezTo>
                      <a:pt x="180022" y="0"/>
                      <a:pt x="206692" y="12382"/>
                      <a:pt x="225742" y="36195"/>
                    </a:cubicBezTo>
                    <a:cubicBezTo>
                      <a:pt x="242888" y="58103"/>
                      <a:pt x="251460" y="86678"/>
                      <a:pt x="251460" y="123825"/>
                    </a:cubicBezTo>
                    <a:cubicBezTo>
                      <a:pt x="251460" y="166687"/>
                      <a:pt x="239077" y="200025"/>
                      <a:pt x="214313" y="224790"/>
                    </a:cubicBezTo>
                    <a:cubicBezTo>
                      <a:pt x="194310" y="243840"/>
                      <a:pt x="169545" y="253365"/>
                      <a:pt x="138113" y="253365"/>
                    </a:cubicBezTo>
                    <a:close/>
                    <a:moveTo>
                      <a:pt x="179070" y="124778"/>
                    </a:moveTo>
                    <a:cubicBezTo>
                      <a:pt x="179070" y="76200"/>
                      <a:pt x="160972" y="52387"/>
                      <a:pt x="125730" y="52387"/>
                    </a:cubicBezTo>
                    <a:cubicBezTo>
                      <a:pt x="107632" y="52387"/>
                      <a:pt x="93345" y="59055"/>
                      <a:pt x="83820" y="72390"/>
                    </a:cubicBezTo>
                    <a:cubicBezTo>
                      <a:pt x="74295" y="84772"/>
                      <a:pt x="69532" y="101918"/>
                      <a:pt x="69532" y="123825"/>
                    </a:cubicBezTo>
                    <a:cubicBezTo>
                      <a:pt x="69532" y="175260"/>
                      <a:pt x="87630" y="200978"/>
                      <a:pt x="122872" y="200978"/>
                    </a:cubicBezTo>
                    <a:cubicBezTo>
                      <a:pt x="140970" y="200978"/>
                      <a:pt x="155257" y="194310"/>
                      <a:pt x="164782" y="180022"/>
                    </a:cubicBezTo>
                    <a:cubicBezTo>
                      <a:pt x="175260" y="166687"/>
                      <a:pt x="179070" y="148590"/>
                      <a:pt x="179070" y="124778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2489">
                  <a:latin typeface="CiscoSansTT Light" panose="020B0503020201020303" pitchFamily="34" charset="0"/>
                  <a:cs typeface="CiscoSansTT Light" panose="020B0503020201020303" pitchFamily="34" charset="0"/>
                </a:endParaRPr>
              </a:p>
            </p:txBody>
          </p:sp>
          <p:sp>
            <p:nvSpPr>
              <p:cNvPr id="23" name="Freeform: Shape 22">
                <a:extLst>
                  <a:ext uri="{FF2B5EF4-FFF2-40B4-BE49-F238E27FC236}">
                    <a16:creationId xmlns:a16="http://schemas.microsoft.com/office/drawing/2014/main" id="{2E4DD595-C4FA-44EC-8D49-177AF0C87545}"/>
                  </a:ext>
                </a:extLst>
              </p:cNvPr>
              <p:cNvSpPr/>
              <p:nvPr/>
            </p:nvSpPr>
            <p:spPr>
              <a:xfrm>
                <a:off x="7332667" y="3645640"/>
                <a:ext cx="238125" cy="247650"/>
              </a:xfrm>
              <a:custGeom>
                <a:avLst/>
                <a:gdLst>
                  <a:gd name="connsiteX0" fmla="*/ 170497 w 238125"/>
                  <a:gd name="connsiteY0" fmla="*/ 176213 h 247650"/>
                  <a:gd name="connsiteX1" fmla="*/ 243840 w 238125"/>
                  <a:gd name="connsiteY1" fmla="*/ 176213 h 247650"/>
                  <a:gd name="connsiteX2" fmla="*/ 203835 w 238125"/>
                  <a:gd name="connsiteY2" fmla="*/ 234315 h 247650"/>
                  <a:gd name="connsiteX3" fmla="*/ 125730 w 238125"/>
                  <a:gd name="connsiteY3" fmla="*/ 253365 h 247650"/>
                  <a:gd name="connsiteX4" fmla="*/ 30480 w 238125"/>
                  <a:gd name="connsiteY4" fmla="*/ 215265 h 247650"/>
                  <a:gd name="connsiteX5" fmla="*/ 0 w 238125"/>
                  <a:gd name="connsiteY5" fmla="*/ 126682 h 247650"/>
                  <a:gd name="connsiteX6" fmla="*/ 38100 w 238125"/>
                  <a:gd name="connsiteY6" fmla="*/ 28575 h 247650"/>
                  <a:gd name="connsiteX7" fmla="*/ 123825 w 238125"/>
                  <a:gd name="connsiteY7" fmla="*/ 0 h 247650"/>
                  <a:gd name="connsiteX8" fmla="*/ 218122 w 238125"/>
                  <a:gd name="connsiteY8" fmla="*/ 40957 h 247650"/>
                  <a:gd name="connsiteX9" fmla="*/ 247650 w 238125"/>
                  <a:gd name="connsiteY9" fmla="*/ 144780 h 247650"/>
                  <a:gd name="connsiteX10" fmla="*/ 72390 w 238125"/>
                  <a:gd name="connsiteY10" fmla="*/ 144780 h 247650"/>
                  <a:gd name="connsiteX11" fmla="*/ 129540 w 238125"/>
                  <a:gd name="connsiteY11" fmla="*/ 203835 h 247650"/>
                  <a:gd name="connsiteX12" fmla="*/ 157163 w 238125"/>
                  <a:gd name="connsiteY12" fmla="*/ 197168 h 247650"/>
                  <a:gd name="connsiteX13" fmla="*/ 170497 w 238125"/>
                  <a:gd name="connsiteY13" fmla="*/ 176213 h 247650"/>
                  <a:gd name="connsiteX14" fmla="*/ 121920 w 238125"/>
                  <a:gd name="connsiteY14" fmla="*/ 44768 h 247650"/>
                  <a:gd name="connsiteX15" fmla="*/ 72390 w 238125"/>
                  <a:gd name="connsiteY15" fmla="*/ 101918 h 247650"/>
                  <a:gd name="connsiteX16" fmla="*/ 173355 w 238125"/>
                  <a:gd name="connsiteY16" fmla="*/ 101918 h 247650"/>
                  <a:gd name="connsiteX17" fmla="*/ 121920 w 238125"/>
                  <a:gd name="connsiteY17" fmla="*/ 44768 h 2476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238125" h="247650">
                    <a:moveTo>
                      <a:pt x="170497" y="176213"/>
                    </a:moveTo>
                    <a:lnTo>
                      <a:pt x="243840" y="176213"/>
                    </a:lnTo>
                    <a:cubicBezTo>
                      <a:pt x="238125" y="200978"/>
                      <a:pt x="224790" y="220980"/>
                      <a:pt x="203835" y="234315"/>
                    </a:cubicBezTo>
                    <a:cubicBezTo>
                      <a:pt x="183832" y="246697"/>
                      <a:pt x="157163" y="253365"/>
                      <a:pt x="125730" y="253365"/>
                    </a:cubicBezTo>
                    <a:cubicBezTo>
                      <a:pt x="84772" y="253365"/>
                      <a:pt x="53340" y="240983"/>
                      <a:pt x="30480" y="215265"/>
                    </a:cubicBezTo>
                    <a:cubicBezTo>
                      <a:pt x="9525" y="192405"/>
                      <a:pt x="0" y="162878"/>
                      <a:pt x="0" y="126682"/>
                    </a:cubicBezTo>
                    <a:cubicBezTo>
                      <a:pt x="0" y="83820"/>
                      <a:pt x="12382" y="50482"/>
                      <a:pt x="38100" y="28575"/>
                    </a:cubicBezTo>
                    <a:cubicBezTo>
                      <a:pt x="60007" y="9525"/>
                      <a:pt x="88582" y="0"/>
                      <a:pt x="123825" y="0"/>
                    </a:cubicBezTo>
                    <a:cubicBezTo>
                      <a:pt x="165735" y="0"/>
                      <a:pt x="197167" y="13335"/>
                      <a:pt x="218122" y="40957"/>
                    </a:cubicBezTo>
                    <a:cubicBezTo>
                      <a:pt x="237172" y="65722"/>
                      <a:pt x="247650" y="100013"/>
                      <a:pt x="247650" y="144780"/>
                    </a:cubicBezTo>
                    <a:lnTo>
                      <a:pt x="72390" y="144780"/>
                    </a:lnTo>
                    <a:cubicBezTo>
                      <a:pt x="77153" y="183833"/>
                      <a:pt x="96203" y="203835"/>
                      <a:pt x="129540" y="203835"/>
                    </a:cubicBezTo>
                    <a:cubicBezTo>
                      <a:pt x="140017" y="203835"/>
                      <a:pt x="149542" y="201930"/>
                      <a:pt x="157163" y="197168"/>
                    </a:cubicBezTo>
                    <a:cubicBezTo>
                      <a:pt x="164782" y="192405"/>
                      <a:pt x="168592" y="184785"/>
                      <a:pt x="170497" y="176213"/>
                    </a:cubicBezTo>
                    <a:close/>
                    <a:moveTo>
                      <a:pt x="121920" y="44768"/>
                    </a:moveTo>
                    <a:cubicBezTo>
                      <a:pt x="92392" y="44768"/>
                      <a:pt x="76200" y="63818"/>
                      <a:pt x="72390" y="101918"/>
                    </a:cubicBezTo>
                    <a:lnTo>
                      <a:pt x="173355" y="101918"/>
                    </a:lnTo>
                    <a:cubicBezTo>
                      <a:pt x="171450" y="63818"/>
                      <a:pt x="154305" y="44768"/>
                      <a:pt x="121920" y="44768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2489">
                  <a:latin typeface="CiscoSansTT Light" panose="020B0503020201020303" pitchFamily="34" charset="0"/>
                  <a:cs typeface="CiscoSansTT Light" panose="020B0503020201020303" pitchFamily="34" charset="0"/>
                </a:endParaRPr>
              </a:p>
            </p:txBody>
          </p:sp>
          <p:sp>
            <p:nvSpPr>
              <p:cNvPr id="24" name="Freeform: Shape 23">
                <a:extLst>
                  <a:ext uri="{FF2B5EF4-FFF2-40B4-BE49-F238E27FC236}">
                    <a16:creationId xmlns:a16="http://schemas.microsoft.com/office/drawing/2014/main" id="{44F3F178-9A7F-42B2-A659-A9EFAFEEB18E}"/>
                  </a:ext>
                </a:extLst>
              </p:cNvPr>
              <p:cNvSpPr/>
              <p:nvPr/>
            </p:nvSpPr>
            <p:spPr>
              <a:xfrm>
                <a:off x="7614607" y="3643735"/>
                <a:ext cx="152400" cy="247650"/>
              </a:xfrm>
              <a:custGeom>
                <a:avLst/>
                <a:gdLst>
                  <a:gd name="connsiteX0" fmla="*/ 72390 w 152400"/>
                  <a:gd name="connsiteY0" fmla="*/ 247650 h 247650"/>
                  <a:gd name="connsiteX1" fmla="*/ 0 w 152400"/>
                  <a:gd name="connsiteY1" fmla="*/ 247650 h 247650"/>
                  <a:gd name="connsiteX2" fmla="*/ 0 w 152400"/>
                  <a:gd name="connsiteY2" fmla="*/ 7620 h 247650"/>
                  <a:gd name="connsiteX3" fmla="*/ 60007 w 152400"/>
                  <a:gd name="connsiteY3" fmla="*/ 7620 h 247650"/>
                  <a:gd name="connsiteX4" fmla="*/ 67627 w 152400"/>
                  <a:gd name="connsiteY4" fmla="*/ 43815 h 247650"/>
                  <a:gd name="connsiteX5" fmla="*/ 130493 w 152400"/>
                  <a:gd name="connsiteY5" fmla="*/ 0 h 247650"/>
                  <a:gd name="connsiteX6" fmla="*/ 158115 w 152400"/>
                  <a:gd name="connsiteY6" fmla="*/ 2858 h 247650"/>
                  <a:gd name="connsiteX7" fmla="*/ 158115 w 152400"/>
                  <a:gd name="connsiteY7" fmla="*/ 69533 h 247650"/>
                  <a:gd name="connsiteX8" fmla="*/ 127635 w 152400"/>
                  <a:gd name="connsiteY8" fmla="*/ 64770 h 247650"/>
                  <a:gd name="connsiteX9" fmla="*/ 87630 w 152400"/>
                  <a:gd name="connsiteY9" fmla="*/ 88583 h 247650"/>
                  <a:gd name="connsiteX10" fmla="*/ 73343 w 152400"/>
                  <a:gd name="connsiteY10" fmla="*/ 146685 h 247650"/>
                  <a:gd name="connsiteX11" fmla="*/ 73343 w 152400"/>
                  <a:gd name="connsiteY11" fmla="*/ 247650 h 2476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152400" h="247650">
                    <a:moveTo>
                      <a:pt x="72390" y="247650"/>
                    </a:moveTo>
                    <a:lnTo>
                      <a:pt x="0" y="247650"/>
                    </a:lnTo>
                    <a:lnTo>
                      <a:pt x="0" y="7620"/>
                    </a:lnTo>
                    <a:lnTo>
                      <a:pt x="60007" y="7620"/>
                    </a:lnTo>
                    <a:lnTo>
                      <a:pt x="67627" y="43815"/>
                    </a:lnTo>
                    <a:cubicBezTo>
                      <a:pt x="80963" y="15240"/>
                      <a:pt x="101918" y="0"/>
                      <a:pt x="130493" y="0"/>
                    </a:cubicBezTo>
                    <a:cubicBezTo>
                      <a:pt x="140970" y="0"/>
                      <a:pt x="150495" y="953"/>
                      <a:pt x="158115" y="2858"/>
                    </a:cubicBezTo>
                    <a:lnTo>
                      <a:pt x="158115" y="69533"/>
                    </a:lnTo>
                    <a:cubicBezTo>
                      <a:pt x="148590" y="66675"/>
                      <a:pt x="138113" y="64770"/>
                      <a:pt x="127635" y="64770"/>
                    </a:cubicBezTo>
                    <a:cubicBezTo>
                      <a:pt x="111443" y="64770"/>
                      <a:pt x="98107" y="72390"/>
                      <a:pt x="87630" y="88583"/>
                    </a:cubicBezTo>
                    <a:cubicBezTo>
                      <a:pt x="78105" y="102870"/>
                      <a:pt x="73343" y="122873"/>
                      <a:pt x="73343" y="146685"/>
                    </a:cubicBezTo>
                    <a:lnTo>
                      <a:pt x="73343" y="247650"/>
                    </a:ln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2489">
                  <a:latin typeface="CiscoSansTT Light" panose="020B0503020201020303" pitchFamily="34" charset="0"/>
                  <a:cs typeface="CiscoSansTT Light" panose="020B0503020201020303" pitchFamily="34" charset="0"/>
                </a:endParaRPr>
              </a:p>
            </p:txBody>
          </p:sp>
          <p:sp>
            <p:nvSpPr>
              <p:cNvPr id="25" name="Freeform: Shape 24">
                <a:extLst>
                  <a:ext uri="{FF2B5EF4-FFF2-40B4-BE49-F238E27FC236}">
                    <a16:creationId xmlns:a16="http://schemas.microsoft.com/office/drawing/2014/main" id="{C6DEB7E9-6706-4C5F-B271-C7423D03763C}"/>
                  </a:ext>
                </a:extLst>
              </p:cNvPr>
              <p:cNvSpPr/>
              <p:nvPr/>
            </p:nvSpPr>
            <p:spPr>
              <a:xfrm>
                <a:off x="7793677" y="3559915"/>
                <a:ext cx="76200" cy="323850"/>
              </a:xfrm>
              <a:custGeom>
                <a:avLst/>
                <a:gdLst>
                  <a:gd name="connsiteX0" fmla="*/ 78105 w 76200"/>
                  <a:gd name="connsiteY0" fmla="*/ 60960 h 323850"/>
                  <a:gd name="connsiteX1" fmla="*/ 0 w 76200"/>
                  <a:gd name="connsiteY1" fmla="*/ 60960 h 323850"/>
                  <a:gd name="connsiteX2" fmla="*/ 0 w 76200"/>
                  <a:gd name="connsiteY2" fmla="*/ 0 h 323850"/>
                  <a:gd name="connsiteX3" fmla="*/ 77152 w 76200"/>
                  <a:gd name="connsiteY3" fmla="*/ 0 h 323850"/>
                  <a:gd name="connsiteX4" fmla="*/ 77152 w 76200"/>
                  <a:gd name="connsiteY4" fmla="*/ 60960 h 323850"/>
                  <a:gd name="connsiteX5" fmla="*/ 75248 w 76200"/>
                  <a:gd name="connsiteY5" fmla="*/ 331470 h 323850"/>
                  <a:gd name="connsiteX6" fmla="*/ 2857 w 76200"/>
                  <a:gd name="connsiteY6" fmla="*/ 331470 h 323850"/>
                  <a:gd name="connsiteX7" fmla="*/ 2857 w 76200"/>
                  <a:gd name="connsiteY7" fmla="*/ 91440 h 323850"/>
                  <a:gd name="connsiteX8" fmla="*/ 75248 w 76200"/>
                  <a:gd name="connsiteY8" fmla="*/ 91440 h 323850"/>
                  <a:gd name="connsiteX9" fmla="*/ 75248 w 76200"/>
                  <a:gd name="connsiteY9" fmla="*/ 331470 h 3238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76200" h="323850">
                    <a:moveTo>
                      <a:pt x="78105" y="60960"/>
                    </a:moveTo>
                    <a:lnTo>
                      <a:pt x="0" y="60960"/>
                    </a:lnTo>
                    <a:lnTo>
                      <a:pt x="0" y="0"/>
                    </a:lnTo>
                    <a:lnTo>
                      <a:pt x="77152" y="0"/>
                    </a:lnTo>
                    <a:lnTo>
                      <a:pt x="77152" y="60960"/>
                    </a:lnTo>
                    <a:close/>
                    <a:moveTo>
                      <a:pt x="75248" y="331470"/>
                    </a:moveTo>
                    <a:lnTo>
                      <a:pt x="2857" y="331470"/>
                    </a:lnTo>
                    <a:lnTo>
                      <a:pt x="2857" y="91440"/>
                    </a:lnTo>
                    <a:lnTo>
                      <a:pt x="75248" y="91440"/>
                    </a:lnTo>
                    <a:lnTo>
                      <a:pt x="75248" y="331470"/>
                    </a:ln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2489">
                  <a:latin typeface="CiscoSansTT Light" panose="020B0503020201020303" pitchFamily="34" charset="0"/>
                  <a:cs typeface="CiscoSansTT Light" panose="020B0503020201020303" pitchFamily="34" charset="0"/>
                </a:endParaRPr>
              </a:p>
            </p:txBody>
          </p:sp>
          <p:sp>
            <p:nvSpPr>
              <p:cNvPr id="26" name="Freeform: Shape 25">
                <a:extLst>
                  <a:ext uri="{FF2B5EF4-FFF2-40B4-BE49-F238E27FC236}">
                    <a16:creationId xmlns:a16="http://schemas.microsoft.com/office/drawing/2014/main" id="{95A062F9-FA01-4CE8-90EC-8589B31E96CE}"/>
                  </a:ext>
                </a:extLst>
              </p:cNvPr>
              <p:cNvSpPr/>
              <p:nvPr/>
            </p:nvSpPr>
            <p:spPr>
              <a:xfrm>
                <a:off x="7907025" y="3645640"/>
                <a:ext cx="247650" cy="247650"/>
              </a:xfrm>
              <a:custGeom>
                <a:avLst/>
                <a:gdLst>
                  <a:gd name="connsiteX0" fmla="*/ 170497 w 247650"/>
                  <a:gd name="connsiteY0" fmla="*/ 176213 h 247650"/>
                  <a:gd name="connsiteX1" fmla="*/ 243840 w 247650"/>
                  <a:gd name="connsiteY1" fmla="*/ 176213 h 247650"/>
                  <a:gd name="connsiteX2" fmla="*/ 203835 w 247650"/>
                  <a:gd name="connsiteY2" fmla="*/ 234315 h 247650"/>
                  <a:gd name="connsiteX3" fmla="*/ 125730 w 247650"/>
                  <a:gd name="connsiteY3" fmla="*/ 253365 h 247650"/>
                  <a:gd name="connsiteX4" fmla="*/ 30480 w 247650"/>
                  <a:gd name="connsiteY4" fmla="*/ 215265 h 247650"/>
                  <a:gd name="connsiteX5" fmla="*/ 0 w 247650"/>
                  <a:gd name="connsiteY5" fmla="*/ 126682 h 247650"/>
                  <a:gd name="connsiteX6" fmla="*/ 38100 w 247650"/>
                  <a:gd name="connsiteY6" fmla="*/ 28575 h 247650"/>
                  <a:gd name="connsiteX7" fmla="*/ 123825 w 247650"/>
                  <a:gd name="connsiteY7" fmla="*/ 0 h 247650"/>
                  <a:gd name="connsiteX8" fmla="*/ 218122 w 247650"/>
                  <a:gd name="connsiteY8" fmla="*/ 40957 h 247650"/>
                  <a:gd name="connsiteX9" fmla="*/ 247650 w 247650"/>
                  <a:gd name="connsiteY9" fmla="*/ 144780 h 247650"/>
                  <a:gd name="connsiteX10" fmla="*/ 73342 w 247650"/>
                  <a:gd name="connsiteY10" fmla="*/ 144780 h 247650"/>
                  <a:gd name="connsiteX11" fmla="*/ 130492 w 247650"/>
                  <a:gd name="connsiteY11" fmla="*/ 203835 h 247650"/>
                  <a:gd name="connsiteX12" fmla="*/ 158115 w 247650"/>
                  <a:gd name="connsiteY12" fmla="*/ 197168 h 247650"/>
                  <a:gd name="connsiteX13" fmla="*/ 170497 w 247650"/>
                  <a:gd name="connsiteY13" fmla="*/ 176213 h 247650"/>
                  <a:gd name="connsiteX14" fmla="*/ 120967 w 247650"/>
                  <a:gd name="connsiteY14" fmla="*/ 44768 h 247650"/>
                  <a:gd name="connsiteX15" fmla="*/ 71438 w 247650"/>
                  <a:gd name="connsiteY15" fmla="*/ 101918 h 247650"/>
                  <a:gd name="connsiteX16" fmla="*/ 172402 w 247650"/>
                  <a:gd name="connsiteY16" fmla="*/ 101918 h 247650"/>
                  <a:gd name="connsiteX17" fmla="*/ 120967 w 247650"/>
                  <a:gd name="connsiteY17" fmla="*/ 44768 h 2476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247650" h="247650">
                    <a:moveTo>
                      <a:pt x="170497" y="176213"/>
                    </a:moveTo>
                    <a:lnTo>
                      <a:pt x="243840" y="176213"/>
                    </a:lnTo>
                    <a:cubicBezTo>
                      <a:pt x="238125" y="200978"/>
                      <a:pt x="223838" y="220980"/>
                      <a:pt x="203835" y="234315"/>
                    </a:cubicBezTo>
                    <a:cubicBezTo>
                      <a:pt x="183832" y="246697"/>
                      <a:pt x="157163" y="253365"/>
                      <a:pt x="125730" y="253365"/>
                    </a:cubicBezTo>
                    <a:cubicBezTo>
                      <a:pt x="84772" y="253365"/>
                      <a:pt x="53340" y="240983"/>
                      <a:pt x="30480" y="215265"/>
                    </a:cubicBezTo>
                    <a:cubicBezTo>
                      <a:pt x="9525" y="192405"/>
                      <a:pt x="0" y="162878"/>
                      <a:pt x="0" y="126682"/>
                    </a:cubicBezTo>
                    <a:cubicBezTo>
                      <a:pt x="0" y="83820"/>
                      <a:pt x="12382" y="50482"/>
                      <a:pt x="38100" y="28575"/>
                    </a:cubicBezTo>
                    <a:cubicBezTo>
                      <a:pt x="60007" y="9525"/>
                      <a:pt x="88582" y="0"/>
                      <a:pt x="123825" y="0"/>
                    </a:cubicBezTo>
                    <a:cubicBezTo>
                      <a:pt x="165735" y="0"/>
                      <a:pt x="197167" y="13335"/>
                      <a:pt x="218122" y="40957"/>
                    </a:cubicBezTo>
                    <a:cubicBezTo>
                      <a:pt x="237172" y="65722"/>
                      <a:pt x="247650" y="100013"/>
                      <a:pt x="247650" y="144780"/>
                    </a:cubicBezTo>
                    <a:lnTo>
                      <a:pt x="73342" y="144780"/>
                    </a:lnTo>
                    <a:cubicBezTo>
                      <a:pt x="78105" y="183833"/>
                      <a:pt x="97155" y="203835"/>
                      <a:pt x="130492" y="203835"/>
                    </a:cubicBezTo>
                    <a:cubicBezTo>
                      <a:pt x="140970" y="203835"/>
                      <a:pt x="150495" y="201930"/>
                      <a:pt x="158115" y="197168"/>
                    </a:cubicBezTo>
                    <a:cubicBezTo>
                      <a:pt x="165735" y="192405"/>
                      <a:pt x="167640" y="184785"/>
                      <a:pt x="170497" y="176213"/>
                    </a:cubicBezTo>
                    <a:close/>
                    <a:moveTo>
                      <a:pt x="120967" y="44768"/>
                    </a:moveTo>
                    <a:cubicBezTo>
                      <a:pt x="91440" y="44768"/>
                      <a:pt x="75247" y="63818"/>
                      <a:pt x="71438" y="101918"/>
                    </a:cubicBezTo>
                    <a:lnTo>
                      <a:pt x="172402" y="101918"/>
                    </a:lnTo>
                    <a:cubicBezTo>
                      <a:pt x="170497" y="63818"/>
                      <a:pt x="153352" y="44768"/>
                      <a:pt x="120967" y="44768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2489">
                  <a:latin typeface="CiscoSansTT Light" panose="020B0503020201020303" pitchFamily="34" charset="0"/>
                  <a:cs typeface="CiscoSansTT Light" panose="020B0503020201020303" pitchFamily="34" charset="0"/>
                </a:endParaRPr>
              </a:p>
            </p:txBody>
          </p:sp>
          <p:sp>
            <p:nvSpPr>
              <p:cNvPr id="27" name="Freeform: Shape 26">
                <a:extLst>
                  <a:ext uri="{FF2B5EF4-FFF2-40B4-BE49-F238E27FC236}">
                    <a16:creationId xmlns:a16="http://schemas.microsoft.com/office/drawing/2014/main" id="{657CA19F-91C2-4AD4-A596-6465D36C1560}"/>
                  </a:ext>
                </a:extLst>
              </p:cNvPr>
              <p:cNvSpPr/>
              <p:nvPr/>
            </p:nvSpPr>
            <p:spPr>
              <a:xfrm>
                <a:off x="8188965" y="3644688"/>
                <a:ext cx="228600" cy="238125"/>
              </a:xfrm>
              <a:custGeom>
                <a:avLst/>
                <a:gdLst>
                  <a:gd name="connsiteX0" fmla="*/ 72390 w 228600"/>
                  <a:gd name="connsiteY0" fmla="*/ 246697 h 238125"/>
                  <a:gd name="connsiteX1" fmla="*/ 0 w 228600"/>
                  <a:gd name="connsiteY1" fmla="*/ 246697 h 238125"/>
                  <a:gd name="connsiteX2" fmla="*/ 0 w 228600"/>
                  <a:gd name="connsiteY2" fmla="*/ 6668 h 238125"/>
                  <a:gd name="connsiteX3" fmla="*/ 59055 w 228600"/>
                  <a:gd name="connsiteY3" fmla="*/ 6668 h 238125"/>
                  <a:gd name="connsiteX4" fmla="*/ 65723 w 228600"/>
                  <a:gd name="connsiteY4" fmla="*/ 33338 h 238125"/>
                  <a:gd name="connsiteX5" fmla="*/ 139065 w 228600"/>
                  <a:gd name="connsiteY5" fmla="*/ 0 h 238125"/>
                  <a:gd name="connsiteX6" fmla="*/ 207645 w 228600"/>
                  <a:gd name="connsiteY6" fmla="*/ 27622 h 238125"/>
                  <a:gd name="connsiteX7" fmla="*/ 228600 w 228600"/>
                  <a:gd name="connsiteY7" fmla="*/ 92393 h 238125"/>
                  <a:gd name="connsiteX8" fmla="*/ 228600 w 228600"/>
                  <a:gd name="connsiteY8" fmla="*/ 247650 h 238125"/>
                  <a:gd name="connsiteX9" fmla="*/ 157163 w 228600"/>
                  <a:gd name="connsiteY9" fmla="*/ 247650 h 238125"/>
                  <a:gd name="connsiteX10" fmla="*/ 157163 w 228600"/>
                  <a:gd name="connsiteY10" fmla="*/ 95250 h 238125"/>
                  <a:gd name="connsiteX11" fmla="*/ 120015 w 228600"/>
                  <a:gd name="connsiteY11" fmla="*/ 51435 h 238125"/>
                  <a:gd name="connsiteX12" fmla="*/ 83820 w 228600"/>
                  <a:gd name="connsiteY12" fmla="*/ 67628 h 238125"/>
                  <a:gd name="connsiteX13" fmla="*/ 71438 w 228600"/>
                  <a:gd name="connsiteY13" fmla="*/ 104775 h 238125"/>
                  <a:gd name="connsiteX14" fmla="*/ 71438 w 228600"/>
                  <a:gd name="connsiteY14" fmla="*/ 246697 h 2381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228600" h="238125">
                    <a:moveTo>
                      <a:pt x="72390" y="246697"/>
                    </a:moveTo>
                    <a:lnTo>
                      <a:pt x="0" y="246697"/>
                    </a:lnTo>
                    <a:lnTo>
                      <a:pt x="0" y="6668"/>
                    </a:lnTo>
                    <a:lnTo>
                      <a:pt x="59055" y="6668"/>
                    </a:lnTo>
                    <a:lnTo>
                      <a:pt x="65723" y="33338"/>
                    </a:lnTo>
                    <a:cubicBezTo>
                      <a:pt x="82868" y="11430"/>
                      <a:pt x="107632" y="0"/>
                      <a:pt x="139065" y="0"/>
                    </a:cubicBezTo>
                    <a:cubicBezTo>
                      <a:pt x="168593" y="0"/>
                      <a:pt x="191452" y="9525"/>
                      <a:pt x="207645" y="27622"/>
                    </a:cubicBezTo>
                    <a:cubicBezTo>
                      <a:pt x="221932" y="43815"/>
                      <a:pt x="228600" y="64770"/>
                      <a:pt x="228600" y="92393"/>
                    </a:cubicBezTo>
                    <a:lnTo>
                      <a:pt x="228600" y="247650"/>
                    </a:lnTo>
                    <a:lnTo>
                      <a:pt x="157163" y="247650"/>
                    </a:lnTo>
                    <a:lnTo>
                      <a:pt x="157163" y="95250"/>
                    </a:lnTo>
                    <a:cubicBezTo>
                      <a:pt x="157163" y="65722"/>
                      <a:pt x="144780" y="51435"/>
                      <a:pt x="120015" y="51435"/>
                    </a:cubicBezTo>
                    <a:cubicBezTo>
                      <a:pt x="104775" y="51435"/>
                      <a:pt x="93345" y="57150"/>
                      <a:pt x="83820" y="67628"/>
                    </a:cubicBezTo>
                    <a:cubicBezTo>
                      <a:pt x="76200" y="77153"/>
                      <a:pt x="71438" y="89535"/>
                      <a:pt x="71438" y="104775"/>
                    </a:cubicBezTo>
                    <a:lnTo>
                      <a:pt x="71438" y="246697"/>
                    </a:ln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2489">
                  <a:latin typeface="CiscoSansTT Light" panose="020B0503020201020303" pitchFamily="34" charset="0"/>
                  <a:cs typeface="CiscoSansTT Light" panose="020B0503020201020303" pitchFamily="34" charset="0"/>
                </a:endParaRPr>
              </a:p>
            </p:txBody>
          </p:sp>
          <p:sp>
            <p:nvSpPr>
              <p:cNvPr id="28" name="Freeform: Shape 27">
                <a:extLst>
                  <a:ext uri="{FF2B5EF4-FFF2-40B4-BE49-F238E27FC236}">
                    <a16:creationId xmlns:a16="http://schemas.microsoft.com/office/drawing/2014/main" id="{1DB4FF96-DDBB-4849-B539-FD06C513DCCD}"/>
                  </a:ext>
                </a:extLst>
              </p:cNvPr>
              <p:cNvSpPr/>
              <p:nvPr/>
            </p:nvSpPr>
            <p:spPr>
              <a:xfrm>
                <a:off x="8453759" y="3644688"/>
                <a:ext cx="238125" cy="247650"/>
              </a:xfrm>
              <a:custGeom>
                <a:avLst/>
                <a:gdLst>
                  <a:gd name="connsiteX0" fmla="*/ 166688 w 238125"/>
                  <a:gd name="connsiteY0" fmla="*/ 166687 h 247650"/>
                  <a:gd name="connsiteX1" fmla="*/ 241935 w 238125"/>
                  <a:gd name="connsiteY1" fmla="*/ 166687 h 247650"/>
                  <a:gd name="connsiteX2" fmla="*/ 200025 w 238125"/>
                  <a:gd name="connsiteY2" fmla="*/ 231458 h 247650"/>
                  <a:gd name="connsiteX3" fmla="*/ 121920 w 238125"/>
                  <a:gd name="connsiteY3" fmla="*/ 253365 h 247650"/>
                  <a:gd name="connsiteX4" fmla="*/ 27623 w 238125"/>
                  <a:gd name="connsiteY4" fmla="*/ 216218 h 247650"/>
                  <a:gd name="connsiteX5" fmla="*/ 0 w 238125"/>
                  <a:gd name="connsiteY5" fmla="*/ 128587 h 247650"/>
                  <a:gd name="connsiteX6" fmla="*/ 38100 w 238125"/>
                  <a:gd name="connsiteY6" fmla="*/ 29527 h 247650"/>
                  <a:gd name="connsiteX7" fmla="*/ 123825 w 238125"/>
                  <a:gd name="connsiteY7" fmla="*/ 0 h 247650"/>
                  <a:gd name="connsiteX8" fmla="*/ 207645 w 238125"/>
                  <a:gd name="connsiteY8" fmla="*/ 25718 h 247650"/>
                  <a:gd name="connsiteX9" fmla="*/ 242888 w 238125"/>
                  <a:gd name="connsiteY9" fmla="*/ 80962 h 247650"/>
                  <a:gd name="connsiteX10" fmla="*/ 167640 w 238125"/>
                  <a:gd name="connsiteY10" fmla="*/ 80962 h 247650"/>
                  <a:gd name="connsiteX11" fmla="*/ 152400 w 238125"/>
                  <a:gd name="connsiteY11" fmla="*/ 58103 h 247650"/>
                  <a:gd name="connsiteX12" fmla="*/ 126682 w 238125"/>
                  <a:gd name="connsiteY12" fmla="*/ 49530 h 247650"/>
                  <a:gd name="connsiteX13" fmla="*/ 76200 w 238125"/>
                  <a:gd name="connsiteY13" fmla="*/ 131445 h 247650"/>
                  <a:gd name="connsiteX14" fmla="*/ 91440 w 238125"/>
                  <a:gd name="connsiteY14" fmla="*/ 190500 h 247650"/>
                  <a:gd name="connsiteX15" fmla="*/ 123825 w 238125"/>
                  <a:gd name="connsiteY15" fmla="*/ 205740 h 247650"/>
                  <a:gd name="connsiteX16" fmla="*/ 166688 w 238125"/>
                  <a:gd name="connsiteY16" fmla="*/ 166687 h 2476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238125" h="247650">
                    <a:moveTo>
                      <a:pt x="166688" y="166687"/>
                    </a:moveTo>
                    <a:lnTo>
                      <a:pt x="241935" y="166687"/>
                    </a:lnTo>
                    <a:cubicBezTo>
                      <a:pt x="235268" y="195262"/>
                      <a:pt x="221932" y="216218"/>
                      <a:pt x="200025" y="231458"/>
                    </a:cubicBezTo>
                    <a:cubicBezTo>
                      <a:pt x="180023" y="245745"/>
                      <a:pt x="153353" y="253365"/>
                      <a:pt x="121920" y="253365"/>
                    </a:cubicBezTo>
                    <a:cubicBezTo>
                      <a:pt x="80010" y="253365"/>
                      <a:pt x="48578" y="240983"/>
                      <a:pt x="27623" y="216218"/>
                    </a:cubicBezTo>
                    <a:cubicBezTo>
                      <a:pt x="9525" y="195262"/>
                      <a:pt x="0" y="165735"/>
                      <a:pt x="0" y="128587"/>
                    </a:cubicBezTo>
                    <a:cubicBezTo>
                      <a:pt x="0" y="85725"/>
                      <a:pt x="12382" y="52387"/>
                      <a:pt x="38100" y="29527"/>
                    </a:cubicBezTo>
                    <a:cubicBezTo>
                      <a:pt x="60007" y="9525"/>
                      <a:pt x="87630" y="0"/>
                      <a:pt x="123825" y="0"/>
                    </a:cubicBezTo>
                    <a:cubicBezTo>
                      <a:pt x="157163" y="0"/>
                      <a:pt x="184785" y="8572"/>
                      <a:pt x="207645" y="25718"/>
                    </a:cubicBezTo>
                    <a:cubicBezTo>
                      <a:pt x="226695" y="40005"/>
                      <a:pt x="238125" y="59055"/>
                      <a:pt x="242888" y="80962"/>
                    </a:cubicBezTo>
                    <a:lnTo>
                      <a:pt x="167640" y="80962"/>
                    </a:lnTo>
                    <a:cubicBezTo>
                      <a:pt x="164782" y="71437"/>
                      <a:pt x="160020" y="63818"/>
                      <a:pt x="152400" y="58103"/>
                    </a:cubicBezTo>
                    <a:cubicBezTo>
                      <a:pt x="144780" y="52387"/>
                      <a:pt x="136207" y="49530"/>
                      <a:pt x="126682" y="49530"/>
                    </a:cubicBezTo>
                    <a:cubicBezTo>
                      <a:pt x="92393" y="49530"/>
                      <a:pt x="76200" y="77153"/>
                      <a:pt x="76200" y="131445"/>
                    </a:cubicBezTo>
                    <a:cubicBezTo>
                      <a:pt x="76200" y="157162"/>
                      <a:pt x="80963" y="177165"/>
                      <a:pt x="91440" y="190500"/>
                    </a:cubicBezTo>
                    <a:cubicBezTo>
                      <a:pt x="100013" y="200978"/>
                      <a:pt x="110490" y="205740"/>
                      <a:pt x="123825" y="205740"/>
                    </a:cubicBezTo>
                    <a:cubicBezTo>
                      <a:pt x="144780" y="204787"/>
                      <a:pt x="159068" y="192405"/>
                      <a:pt x="166688" y="166687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2489">
                  <a:latin typeface="CiscoSansTT Light" panose="020B0503020201020303" pitchFamily="34" charset="0"/>
                  <a:cs typeface="CiscoSansTT Light" panose="020B0503020201020303" pitchFamily="34" charset="0"/>
                </a:endParaRPr>
              </a:p>
            </p:txBody>
          </p:sp>
          <p:sp>
            <p:nvSpPr>
              <p:cNvPr id="29" name="Freeform: Shape 28">
                <a:extLst>
                  <a:ext uri="{FF2B5EF4-FFF2-40B4-BE49-F238E27FC236}">
                    <a16:creationId xmlns:a16="http://schemas.microsoft.com/office/drawing/2014/main" id="{8B1EC5E7-7FFA-4DF0-BD79-7A18F4EC7C8A}"/>
                  </a:ext>
                </a:extLst>
              </p:cNvPr>
              <p:cNvSpPr/>
              <p:nvPr/>
            </p:nvSpPr>
            <p:spPr>
              <a:xfrm>
                <a:off x="8721412" y="3645640"/>
                <a:ext cx="238125" cy="247650"/>
              </a:xfrm>
              <a:custGeom>
                <a:avLst/>
                <a:gdLst>
                  <a:gd name="connsiteX0" fmla="*/ 170497 w 238125"/>
                  <a:gd name="connsiteY0" fmla="*/ 176213 h 247650"/>
                  <a:gd name="connsiteX1" fmla="*/ 243840 w 238125"/>
                  <a:gd name="connsiteY1" fmla="*/ 176213 h 247650"/>
                  <a:gd name="connsiteX2" fmla="*/ 203835 w 238125"/>
                  <a:gd name="connsiteY2" fmla="*/ 234315 h 247650"/>
                  <a:gd name="connsiteX3" fmla="*/ 125730 w 238125"/>
                  <a:gd name="connsiteY3" fmla="*/ 253365 h 247650"/>
                  <a:gd name="connsiteX4" fmla="*/ 30480 w 238125"/>
                  <a:gd name="connsiteY4" fmla="*/ 215265 h 247650"/>
                  <a:gd name="connsiteX5" fmla="*/ 0 w 238125"/>
                  <a:gd name="connsiteY5" fmla="*/ 126682 h 247650"/>
                  <a:gd name="connsiteX6" fmla="*/ 38100 w 238125"/>
                  <a:gd name="connsiteY6" fmla="*/ 28575 h 247650"/>
                  <a:gd name="connsiteX7" fmla="*/ 123825 w 238125"/>
                  <a:gd name="connsiteY7" fmla="*/ 0 h 247650"/>
                  <a:gd name="connsiteX8" fmla="*/ 218122 w 238125"/>
                  <a:gd name="connsiteY8" fmla="*/ 40957 h 247650"/>
                  <a:gd name="connsiteX9" fmla="*/ 246697 w 238125"/>
                  <a:gd name="connsiteY9" fmla="*/ 144780 h 247650"/>
                  <a:gd name="connsiteX10" fmla="*/ 72390 w 238125"/>
                  <a:gd name="connsiteY10" fmla="*/ 144780 h 247650"/>
                  <a:gd name="connsiteX11" fmla="*/ 129540 w 238125"/>
                  <a:gd name="connsiteY11" fmla="*/ 203835 h 247650"/>
                  <a:gd name="connsiteX12" fmla="*/ 157163 w 238125"/>
                  <a:gd name="connsiteY12" fmla="*/ 197168 h 247650"/>
                  <a:gd name="connsiteX13" fmla="*/ 170497 w 238125"/>
                  <a:gd name="connsiteY13" fmla="*/ 176213 h 247650"/>
                  <a:gd name="connsiteX14" fmla="*/ 121920 w 238125"/>
                  <a:gd name="connsiteY14" fmla="*/ 44768 h 247650"/>
                  <a:gd name="connsiteX15" fmla="*/ 72390 w 238125"/>
                  <a:gd name="connsiteY15" fmla="*/ 101918 h 247650"/>
                  <a:gd name="connsiteX16" fmla="*/ 173355 w 238125"/>
                  <a:gd name="connsiteY16" fmla="*/ 101918 h 247650"/>
                  <a:gd name="connsiteX17" fmla="*/ 121920 w 238125"/>
                  <a:gd name="connsiteY17" fmla="*/ 44768 h 2476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238125" h="247650">
                    <a:moveTo>
                      <a:pt x="170497" y="176213"/>
                    </a:moveTo>
                    <a:lnTo>
                      <a:pt x="243840" y="176213"/>
                    </a:lnTo>
                    <a:cubicBezTo>
                      <a:pt x="238125" y="200978"/>
                      <a:pt x="223838" y="220980"/>
                      <a:pt x="203835" y="234315"/>
                    </a:cubicBezTo>
                    <a:cubicBezTo>
                      <a:pt x="183832" y="246697"/>
                      <a:pt x="157163" y="253365"/>
                      <a:pt x="125730" y="253365"/>
                    </a:cubicBezTo>
                    <a:cubicBezTo>
                      <a:pt x="84772" y="253365"/>
                      <a:pt x="53340" y="240983"/>
                      <a:pt x="30480" y="215265"/>
                    </a:cubicBezTo>
                    <a:cubicBezTo>
                      <a:pt x="9525" y="192405"/>
                      <a:pt x="0" y="162878"/>
                      <a:pt x="0" y="126682"/>
                    </a:cubicBezTo>
                    <a:cubicBezTo>
                      <a:pt x="0" y="83820"/>
                      <a:pt x="12382" y="50482"/>
                      <a:pt x="38100" y="28575"/>
                    </a:cubicBezTo>
                    <a:cubicBezTo>
                      <a:pt x="60007" y="9525"/>
                      <a:pt x="88582" y="0"/>
                      <a:pt x="123825" y="0"/>
                    </a:cubicBezTo>
                    <a:cubicBezTo>
                      <a:pt x="165735" y="0"/>
                      <a:pt x="197167" y="13335"/>
                      <a:pt x="218122" y="40957"/>
                    </a:cubicBezTo>
                    <a:cubicBezTo>
                      <a:pt x="237172" y="65722"/>
                      <a:pt x="246697" y="100013"/>
                      <a:pt x="246697" y="144780"/>
                    </a:cubicBezTo>
                    <a:lnTo>
                      <a:pt x="72390" y="144780"/>
                    </a:lnTo>
                    <a:cubicBezTo>
                      <a:pt x="77152" y="183833"/>
                      <a:pt x="96202" y="203835"/>
                      <a:pt x="129540" y="203835"/>
                    </a:cubicBezTo>
                    <a:cubicBezTo>
                      <a:pt x="140017" y="203835"/>
                      <a:pt x="149542" y="201930"/>
                      <a:pt x="157163" y="197168"/>
                    </a:cubicBezTo>
                    <a:cubicBezTo>
                      <a:pt x="163830" y="191453"/>
                      <a:pt x="168592" y="184785"/>
                      <a:pt x="170497" y="176213"/>
                    </a:cubicBezTo>
                    <a:close/>
                    <a:moveTo>
                      <a:pt x="121920" y="44768"/>
                    </a:moveTo>
                    <a:cubicBezTo>
                      <a:pt x="92392" y="44768"/>
                      <a:pt x="76200" y="63818"/>
                      <a:pt x="72390" y="101918"/>
                    </a:cubicBezTo>
                    <a:lnTo>
                      <a:pt x="173355" y="101918"/>
                    </a:lnTo>
                    <a:cubicBezTo>
                      <a:pt x="171450" y="63818"/>
                      <a:pt x="154305" y="44768"/>
                      <a:pt x="121920" y="44768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2489">
                  <a:latin typeface="CiscoSansTT Light" panose="020B0503020201020303" pitchFamily="34" charset="0"/>
                  <a:cs typeface="CiscoSansTT Light" panose="020B0503020201020303" pitchFamily="34" charset="0"/>
                </a:endParaRPr>
              </a:p>
            </p:txBody>
          </p:sp>
        </p:grpSp>
        <p:pic>
          <p:nvPicPr>
            <p:cNvPr id="6" name="Picture 5">
              <a:extLst>
                <a:ext uri="{FF2B5EF4-FFF2-40B4-BE49-F238E27FC236}">
                  <a16:creationId xmlns:a16="http://schemas.microsoft.com/office/drawing/2014/main" id="{3D48E1E3-5340-4D4A-B34B-F197FEF4CBC0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/>
            <a:stretch>
              <a:fillRect/>
            </a:stretch>
          </p:blipFill>
          <p:spPr>
            <a:xfrm>
              <a:off x="2641883" y="2331434"/>
              <a:ext cx="742128" cy="426578"/>
            </a:xfrm>
            <a:custGeom>
              <a:avLst/>
              <a:gdLst>
                <a:gd name="connsiteX0" fmla="*/ 0 w 1209675"/>
                <a:gd name="connsiteY0" fmla="*/ 0 h 695325"/>
                <a:gd name="connsiteX1" fmla="*/ 1213866 w 1209675"/>
                <a:gd name="connsiteY1" fmla="*/ 0 h 695325"/>
                <a:gd name="connsiteX2" fmla="*/ 1213866 w 1209675"/>
                <a:gd name="connsiteY2" fmla="*/ 699516 h 695325"/>
                <a:gd name="connsiteX3" fmla="*/ 0 w 1209675"/>
                <a:gd name="connsiteY3" fmla="*/ 699516 h 6953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09675" h="695325">
                  <a:moveTo>
                    <a:pt x="0" y="0"/>
                  </a:moveTo>
                  <a:lnTo>
                    <a:pt x="1213866" y="0"/>
                  </a:lnTo>
                  <a:lnTo>
                    <a:pt x="1213866" y="699516"/>
                  </a:lnTo>
                  <a:lnTo>
                    <a:pt x="0" y="699516"/>
                  </a:lnTo>
                  <a:close/>
                </a:path>
              </a:pathLst>
            </a:custGeom>
            <a:ln/>
          </p:spPr>
        </p:pic>
      </p:grpSp>
    </p:spTree>
    <p:extLst>
      <p:ext uri="{BB962C8B-B14F-4D97-AF65-F5344CB8AC3E}">
        <p14:creationId xmlns:p14="http://schemas.microsoft.com/office/powerpoint/2010/main" val="254711201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Closing Slide" preserve="1">
  <p:cSld name="1_Closing Slide">
    <p:bg>
      <p:bgRef idx="1001">
        <a:schemeClr val="bg2"/>
      </p:bgRef>
    </p:bg>
    <p:spTree>
      <p:nvGrpSpPr>
        <p:cNvPr id="1" name="Shape 17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6BF3AF67-12D7-4D88-BCCE-10648527FAC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185335" y="2912023"/>
            <a:ext cx="1821333" cy="1046908"/>
          </a:xfrm>
          <a:custGeom>
            <a:avLst/>
            <a:gdLst>
              <a:gd name="connsiteX0" fmla="*/ 0 w 1366000"/>
              <a:gd name="connsiteY0" fmla="*/ 0 h 785181"/>
              <a:gd name="connsiteX1" fmla="*/ 1370733 w 1366000"/>
              <a:gd name="connsiteY1" fmla="*/ 0 h 785181"/>
              <a:gd name="connsiteX2" fmla="*/ 1370733 w 1366000"/>
              <a:gd name="connsiteY2" fmla="*/ 789914 h 785181"/>
              <a:gd name="connsiteX3" fmla="*/ 0 w 1366000"/>
              <a:gd name="connsiteY3" fmla="*/ 789914 h 7851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366000" h="785181">
                <a:moveTo>
                  <a:pt x="0" y="0"/>
                </a:moveTo>
                <a:lnTo>
                  <a:pt x="1370733" y="0"/>
                </a:lnTo>
                <a:lnTo>
                  <a:pt x="1370733" y="789914"/>
                </a:lnTo>
                <a:lnTo>
                  <a:pt x="0" y="789914"/>
                </a:lnTo>
                <a:close/>
              </a:path>
            </a:pathLst>
          </a:custGeom>
          <a:ln/>
        </p:spPr>
      </p:pic>
    </p:spTree>
    <p:extLst>
      <p:ext uri="{BB962C8B-B14F-4D97-AF65-F5344CB8AC3E}">
        <p14:creationId xmlns:p14="http://schemas.microsoft.com/office/powerpoint/2010/main" val="303345307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9117" b="9632"/>
          <a:stretch/>
        </p:blipFill>
        <p:spPr>
          <a:xfrm>
            <a:off x="6218182" y="3365399"/>
            <a:ext cx="5973820" cy="3492603"/>
          </a:xfrm>
          <a:prstGeom prst="rect">
            <a:avLst/>
          </a:prstGeom>
        </p:spPr>
      </p:pic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25996" y="5142317"/>
            <a:ext cx="5669721" cy="384175"/>
          </a:xfrm>
          <a:prstGeom prst="rect">
            <a:avLst/>
          </a:prstGeom>
        </p:spPr>
        <p:txBody>
          <a:bodyPr lIns="91420" tIns="45710" rIns="91420" bIns="45710" anchor="b" anchorCtr="0">
            <a:noAutofit/>
          </a:bodyPr>
          <a:lstStyle>
            <a:lvl1pPr marL="0" indent="0" algn="l">
              <a:buNone/>
              <a:defRPr sz="2400" b="0" i="0">
                <a:solidFill>
                  <a:schemeClr val="tx2"/>
                </a:solidFill>
                <a:latin typeface="+mn-lt"/>
                <a:cs typeface="CiscoSansTT ExtraLight"/>
              </a:defRPr>
            </a:lvl1pPr>
            <a:lvl2pPr marL="45714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2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4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58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73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88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02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1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/>
              <a:t>Speaker Name</a:t>
            </a:r>
            <a:endParaRPr lang="en-US"/>
          </a:p>
        </p:txBody>
      </p:sp>
      <p:sp>
        <p:nvSpPr>
          <p:cNvPr id="17" name="Text Placeholder 38"/>
          <p:cNvSpPr>
            <a:spLocks noGrp="1"/>
          </p:cNvSpPr>
          <p:nvPr>
            <p:ph type="body" sz="quarter" idx="11" hasCustomPrompt="1"/>
          </p:nvPr>
        </p:nvSpPr>
        <p:spPr>
          <a:xfrm>
            <a:off x="625996" y="5430228"/>
            <a:ext cx="5669721" cy="384175"/>
          </a:xfrm>
          <a:prstGeom prst="rect">
            <a:avLst/>
          </a:prstGeom>
        </p:spPr>
        <p:txBody>
          <a:bodyPr lIns="91420" tIns="45710" rIns="91420" bIns="45710"/>
          <a:lstStyle>
            <a:lvl1pPr marL="0" indent="0" algn="l">
              <a:buFontTx/>
              <a:buNone/>
              <a:defRPr lang="en-US" sz="2400" b="0" i="0" kern="1200" dirty="0" smtClean="0">
                <a:solidFill>
                  <a:schemeClr val="tx2"/>
                </a:solidFill>
                <a:latin typeface="+mn-lt"/>
                <a:ea typeface="+mn-ea"/>
                <a:cs typeface="CiscoSansTT ExtraLight"/>
              </a:defRPr>
            </a:lvl1pPr>
            <a:lvl2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GB"/>
              <a:t>Speaker Title</a:t>
            </a:r>
          </a:p>
        </p:txBody>
      </p:sp>
      <p:sp>
        <p:nvSpPr>
          <p:cNvPr id="18" name="Text Placeholder 40"/>
          <p:cNvSpPr>
            <a:spLocks noGrp="1"/>
          </p:cNvSpPr>
          <p:nvPr>
            <p:ph type="body" sz="quarter" idx="12" hasCustomPrompt="1"/>
          </p:nvPr>
        </p:nvSpPr>
        <p:spPr>
          <a:xfrm>
            <a:off x="625996" y="5798352"/>
            <a:ext cx="5669721" cy="384175"/>
          </a:xfrm>
          <a:prstGeom prst="rect">
            <a:avLst/>
          </a:prstGeom>
        </p:spPr>
        <p:txBody>
          <a:bodyPr lIns="91420" tIns="45710" rIns="91420" bIns="45710"/>
          <a:lstStyle>
            <a:lvl1pPr marL="0" indent="0" algn="l">
              <a:buFontTx/>
              <a:buNone/>
              <a:defRPr lang="en-US" sz="2400" b="0" i="0" kern="1200" dirty="0" smtClean="0">
                <a:solidFill>
                  <a:schemeClr val="tx2"/>
                </a:solidFill>
                <a:latin typeface="+mn-lt"/>
                <a:ea typeface="+mn-ea"/>
                <a:cs typeface="CiscoSansTT ExtraLight"/>
              </a:defRPr>
            </a:lvl1pPr>
            <a:lvl2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GB"/>
              <a:t>Date</a:t>
            </a:r>
          </a:p>
        </p:txBody>
      </p:sp>
      <p:sp>
        <p:nvSpPr>
          <p:cNvPr id="19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617725" y="4058205"/>
            <a:ext cx="5673961" cy="398668"/>
          </a:xfrm>
          <a:prstGeom prst="rect">
            <a:avLst/>
          </a:prstGeom>
        </p:spPr>
        <p:txBody>
          <a:bodyPr lIns="91420" tIns="45710" rIns="91420" bIns="45710"/>
          <a:lstStyle>
            <a:lvl1pPr marL="0" indent="0">
              <a:buFont typeface="Arial" panose="020B0604020202020204" pitchFamily="34" charset="0"/>
              <a:buNone/>
              <a:defRPr sz="2933" b="0" i="0" baseline="0">
                <a:solidFill>
                  <a:schemeClr val="tx2"/>
                </a:solidFill>
                <a:latin typeface="+mj-lt"/>
                <a:cs typeface="CiscoSansTT ExtraLight"/>
              </a:defRPr>
            </a:lvl1pPr>
            <a:lvl2pPr marL="406376" indent="0">
              <a:buNone/>
              <a:defRPr/>
            </a:lvl2pPr>
            <a:lvl3pPr marL="569868" indent="0">
              <a:buNone/>
              <a:defRPr/>
            </a:lvl3pPr>
            <a:lvl4pPr marL="688926" indent="0">
              <a:buNone/>
              <a:defRPr/>
            </a:lvl4pPr>
            <a:lvl5pPr marL="801629" indent="0">
              <a:buNone/>
              <a:defRPr/>
            </a:lvl5pPr>
          </a:lstStyle>
          <a:p>
            <a:pPr lvl="0"/>
            <a:r>
              <a:rPr lang="en-GB"/>
              <a:t>Subtitle Goes Here</a:t>
            </a:r>
          </a:p>
        </p:txBody>
      </p:sp>
      <p:sp>
        <p:nvSpPr>
          <p:cNvPr id="20" name="Title 1"/>
          <p:cNvSpPr>
            <a:spLocks noGrp="1"/>
          </p:cNvSpPr>
          <p:nvPr>
            <p:ph type="ctrTitle" hasCustomPrompt="1"/>
          </p:nvPr>
        </p:nvSpPr>
        <p:spPr>
          <a:xfrm>
            <a:off x="567688" y="3296223"/>
            <a:ext cx="5699605" cy="859640"/>
          </a:xfrm>
          <a:prstGeom prst="rect">
            <a:avLst/>
          </a:prstGeom>
        </p:spPr>
        <p:txBody>
          <a:bodyPr anchor="b"/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5333" b="0" i="0" spc="0" baseline="0">
                <a:solidFill>
                  <a:schemeClr val="tx2"/>
                </a:solidFill>
                <a:latin typeface="+mj-lt"/>
                <a:cs typeface="CiscoSansTT ExtraLight"/>
              </a:defRPr>
            </a:lvl1pPr>
          </a:lstStyle>
          <a:p>
            <a:r>
              <a:rPr lang="en-GB"/>
              <a:t>Presentation Title Goes Here</a:t>
            </a:r>
            <a:endParaRPr lang="en-US"/>
          </a:p>
        </p:txBody>
      </p:sp>
      <p:sp>
        <p:nvSpPr>
          <p:cNvPr id="6" name="Freeform 6"/>
          <p:cNvSpPr>
            <a:spLocks noChangeAspect="1" noEditPoints="1"/>
          </p:cNvSpPr>
          <p:nvPr userDrawn="1"/>
        </p:nvSpPr>
        <p:spPr bwMode="auto">
          <a:xfrm>
            <a:off x="625995" y="521745"/>
            <a:ext cx="1060704" cy="563500"/>
          </a:xfrm>
          <a:custGeom>
            <a:avLst/>
            <a:gdLst>
              <a:gd name="T0" fmla="*/ 2671 w 3456"/>
              <a:gd name="T1" fmla="*/ 1521 h 1834"/>
              <a:gd name="T2" fmla="*/ 2857 w 3456"/>
              <a:gd name="T3" fmla="*/ 1677 h 1834"/>
              <a:gd name="T4" fmla="*/ 2975 w 3456"/>
              <a:gd name="T5" fmla="*/ 1465 h 1834"/>
              <a:gd name="T6" fmla="*/ 1129 w 3456"/>
              <a:gd name="T7" fmla="*/ 1823 h 1834"/>
              <a:gd name="T8" fmla="*/ 3082 w 3456"/>
              <a:gd name="T9" fmla="*/ 1330 h 1834"/>
              <a:gd name="T10" fmla="*/ 3082 w 3456"/>
              <a:gd name="T11" fmla="*/ 1712 h 1834"/>
              <a:gd name="T12" fmla="*/ 2700 w 3456"/>
              <a:gd name="T13" fmla="*/ 1809 h 1834"/>
              <a:gd name="T14" fmla="*/ 2513 w 3456"/>
              <a:gd name="T15" fmla="*/ 1479 h 1834"/>
              <a:gd name="T16" fmla="*/ 2783 w 3456"/>
              <a:gd name="T17" fmla="*/ 1211 h 1834"/>
              <a:gd name="T18" fmla="*/ 2351 w 3456"/>
              <a:gd name="T19" fmla="*/ 1392 h 1834"/>
              <a:gd name="T20" fmla="*/ 2136 w 3456"/>
              <a:gd name="T21" fmla="*/ 1381 h 1834"/>
              <a:gd name="T22" fmla="*/ 2093 w 3456"/>
              <a:gd name="T23" fmla="*/ 1625 h 1834"/>
              <a:gd name="T24" fmla="*/ 2335 w 3456"/>
              <a:gd name="T25" fmla="*/ 1658 h 1834"/>
              <a:gd name="T26" fmla="*/ 2174 w 3456"/>
              <a:gd name="T27" fmla="*/ 1832 h 1834"/>
              <a:gd name="T28" fmla="*/ 1903 w 3456"/>
              <a:gd name="T29" fmla="*/ 1605 h 1834"/>
              <a:gd name="T30" fmla="*/ 2047 w 3456"/>
              <a:gd name="T31" fmla="*/ 1249 h 1834"/>
              <a:gd name="T32" fmla="*/ 748 w 3456"/>
              <a:gd name="T33" fmla="*/ 1223 h 1834"/>
              <a:gd name="T34" fmla="*/ 642 w 3456"/>
              <a:gd name="T35" fmla="*/ 1359 h 1834"/>
              <a:gd name="T36" fmla="*/ 479 w 3456"/>
              <a:gd name="T37" fmla="*/ 1550 h 1834"/>
              <a:gd name="T38" fmla="*/ 697 w 3456"/>
              <a:gd name="T39" fmla="*/ 1676 h 1834"/>
              <a:gd name="T40" fmla="*/ 692 w 3456"/>
              <a:gd name="T41" fmla="*/ 1830 h 1834"/>
              <a:gd name="T42" fmla="*/ 370 w 3456"/>
              <a:gd name="T43" fmla="*/ 1710 h 1834"/>
              <a:gd name="T44" fmla="*/ 375 w 3456"/>
              <a:gd name="T45" fmla="*/ 1326 h 1834"/>
              <a:gd name="T46" fmla="*/ 1610 w 3456"/>
              <a:gd name="T47" fmla="*/ 1211 h 1834"/>
              <a:gd name="T48" fmla="*/ 1679 w 3456"/>
              <a:gd name="T49" fmla="*/ 1350 h 1834"/>
              <a:gd name="T50" fmla="*/ 1494 w 3456"/>
              <a:gd name="T51" fmla="*/ 1373 h 1834"/>
              <a:gd name="T52" fmla="*/ 1634 w 3456"/>
              <a:gd name="T53" fmla="*/ 1470 h 1834"/>
              <a:gd name="T54" fmla="*/ 1737 w 3456"/>
              <a:gd name="T55" fmla="*/ 1694 h 1834"/>
              <a:gd name="T56" fmla="*/ 1524 w 3456"/>
              <a:gd name="T57" fmla="*/ 1833 h 1834"/>
              <a:gd name="T58" fmla="*/ 1334 w 3456"/>
              <a:gd name="T59" fmla="*/ 1678 h 1834"/>
              <a:gd name="T60" fmla="*/ 1552 w 3456"/>
              <a:gd name="T61" fmla="*/ 1690 h 1834"/>
              <a:gd name="T62" fmla="*/ 1520 w 3456"/>
              <a:gd name="T63" fmla="*/ 1584 h 1834"/>
              <a:gd name="T64" fmla="*/ 1350 w 3456"/>
              <a:gd name="T65" fmla="*/ 1473 h 1834"/>
              <a:gd name="T66" fmla="*/ 1446 w 3456"/>
              <a:gd name="T67" fmla="*/ 1227 h 1834"/>
              <a:gd name="T68" fmla="*/ 3456 w 3456"/>
              <a:gd name="T69" fmla="*/ 569 h 1834"/>
              <a:gd name="T70" fmla="*/ 3328 w 3456"/>
              <a:gd name="T71" fmla="*/ 780 h 1834"/>
              <a:gd name="T72" fmla="*/ 3381 w 3456"/>
              <a:gd name="T73" fmla="*/ 493 h 1834"/>
              <a:gd name="T74" fmla="*/ 1793 w 3456"/>
              <a:gd name="T75" fmla="*/ 766 h 1834"/>
              <a:gd name="T76" fmla="*/ 1653 w 3456"/>
              <a:gd name="T77" fmla="*/ 727 h 1834"/>
              <a:gd name="T78" fmla="*/ 113 w 3456"/>
              <a:gd name="T79" fmla="*/ 503 h 1834"/>
              <a:gd name="T80" fmla="*/ 95 w 3456"/>
              <a:gd name="T81" fmla="*/ 801 h 1834"/>
              <a:gd name="T82" fmla="*/ 10 w 3456"/>
              <a:gd name="T83" fmla="*/ 531 h 1834"/>
              <a:gd name="T84" fmla="*/ 3040 w 3456"/>
              <a:gd name="T85" fmla="*/ 340 h 1834"/>
              <a:gd name="T86" fmla="*/ 2929 w 3456"/>
              <a:gd name="T87" fmla="*/ 793 h 1834"/>
              <a:gd name="T88" fmla="*/ 2947 w 3456"/>
              <a:gd name="T89" fmla="*/ 287 h 1834"/>
              <a:gd name="T90" fmla="*/ 2214 w 3456"/>
              <a:gd name="T91" fmla="*/ 748 h 1834"/>
              <a:gd name="T92" fmla="*/ 2069 w 3456"/>
              <a:gd name="T93" fmla="*/ 748 h 1834"/>
              <a:gd name="T94" fmla="*/ 1335 w 3456"/>
              <a:gd name="T95" fmla="*/ 287 h 1834"/>
              <a:gd name="T96" fmla="*/ 1353 w 3456"/>
              <a:gd name="T97" fmla="*/ 793 h 1834"/>
              <a:gd name="T98" fmla="*/ 1242 w 3456"/>
              <a:gd name="T99" fmla="*/ 340 h 1834"/>
              <a:gd name="T100" fmla="*/ 553 w 3456"/>
              <a:gd name="T101" fmla="*/ 322 h 1834"/>
              <a:gd name="T102" fmla="*/ 468 w 3456"/>
              <a:gd name="T103" fmla="*/ 801 h 1834"/>
              <a:gd name="T104" fmla="*/ 450 w 3456"/>
              <a:gd name="T105" fmla="*/ 295 h 1834"/>
              <a:gd name="T106" fmla="*/ 2630 w 3456"/>
              <a:gd name="T107" fmla="*/ 879 h 1834"/>
              <a:gd name="T108" fmla="*/ 2490 w 3456"/>
              <a:gd name="T109" fmla="*/ 917 h 1834"/>
              <a:gd name="T110" fmla="*/ 902 w 3456"/>
              <a:gd name="T111" fmla="*/ 0 h 1834"/>
              <a:gd name="T112" fmla="*/ 955 w 3456"/>
              <a:gd name="T113" fmla="*/ 931 h 1834"/>
              <a:gd name="T114" fmla="*/ 826 w 3456"/>
              <a:gd name="T115" fmla="*/ 75 h 183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3456" h="1834">
                <a:moveTo>
                  <a:pt x="2828" y="1362"/>
                </a:moveTo>
                <a:lnTo>
                  <a:pt x="2798" y="1364"/>
                </a:lnTo>
                <a:lnTo>
                  <a:pt x="2771" y="1371"/>
                </a:lnTo>
                <a:lnTo>
                  <a:pt x="2747" y="1384"/>
                </a:lnTo>
                <a:lnTo>
                  <a:pt x="2725" y="1400"/>
                </a:lnTo>
                <a:lnTo>
                  <a:pt x="2706" y="1419"/>
                </a:lnTo>
                <a:lnTo>
                  <a:pt x="2691" y="1441"/>
                </a:lnTo>
                <a:lnTo>
                  <a:pt x="2680" y="1465"/>
                </a:lnTo>
                <a:lnTo>
                  <a:pt x="2674" y="1492"/>
                </a:lnTo>
                <a:lnTo>
                  <a:pt x="2671" y="1521"/>
                </a:lnTo>
                <a:lnTo>
                  <a:pt x="2674" y="1549"/>
                </a:lnTo>
                <a:lnTo>
                  <a:pt x="2680" y="1577"/>
                </a:lnTo>
                <a:lnTo>
                  <a:pt x="2691" y="1601"/>
                </a:lnTo>
                <a:lnTo>
                  <a:pt x="2706" y="1623"/>
                </a:lnTo>
                <a:lnTo>
                  <a:pt x="2725" y="1642"/>
                </a:lnTo>
                <a:lnTo>
                  <a:pt x="2747" y="1658"/>
                </a:lnTo>
                <a:lnTo>
                  <a:pt x="2771" y="1669"/>
                </a:lnTo>
                <a:lnTo>
                  <a:pt x="2798" y="1677"/>
                </a:lnTo>
                <a:lnTo>
                  <a:pt x="2828" y="1680"/>
                </a:lnTo>
                <a:lnTo>
                  <a:pt x="2857" y="1677"/>
                </a:lnTo>
                <a:lnTo>
                  <a:pt x="2883" y="1669"/>
                </a:lnTo>
                <a:lnTo>
                  <a:pt x="2908" y="1658"/>
                </a:lnTo>
                <a:lnTo>
                  <a:pt x="2930" y="1642"/>
                </a:lnTo>
                <a:lnTo>
                  <a:pt x="2948" y="1623"/>
                </a:lnTo>
                <a:lnTo>
                  <a:pt x="2964" y="1601"/>
                </a:lnTo>
                <a:lnTo>
                  <a:pt x="2975" y="1577"/>
                </a:lnTo>
                <a:lnTo>
                  <a:pt x="2982" y="1549"/>
                </a:lnTo>
                <a:lnTo>
                  <a:pt x="2985" y="1521"/>
                </a:lnTo>
                <a:lnTo>
                  <a:pt x="2982" y="1492"/>
                </a:lnTo>
                <a:lnTo>
                  <a:pt x="2975" y="1465"/>
                </a:lnTo>
                <a:lnTo>
                  <a:pt x="2964" y="1441"/>
                </a:lnTo>
                <a:lnTo>
                  <a:pt x="2948" y="1419"/>
                </a:lnTo>
                <a:lnTo>
                  <a:pt x="2930" y="1400"/>
                </a:lnTo>
                <a:lnTo>
                  <a:pt x="2908" y="1384"/>
                </a:lnTo>
                <a:lnTo>
                  <a:pt x="2883" y="1371"/>
                </a:lnTo>
                <a:lnTo>
                  <a:pt x="2857" y="1364"/>
                </a:lnTo>
                <a:lnTo>
                  <a:pt x="2828" y="1362"/>
                </a:lnTo>
                <a:close/>
                <a:moveTo>
                  <a:pt x="977" y="1218"/>
                </a:moveTo>
                <a:lnTo>
                  <a:pt x="1129" y="1218"/>
                </a:lnTo>
                <a:lnTo>
                  <a:pt x="1129" y="1823"/>
                </a:lnTo>
                <a:lnTo>
                  <a:pt x="977" y="1823"/>
                </a:lnTo>
                <a:lnTo>
                  <a:pt x="977" y="1218"/>
                </a:lnTo>
                <a:close/>
                <a:moveTo>
                  <a:pt x="2828" y="1208"/>
                </a:moveTo>
                <a:lnTo>
                  <a:pt x="2873" y="1211"/>
                </a:lnTo>
                <a:lnTo>
                  <a:pt x="2916" y="1219"/>
                </a:lnTo>
                <a:lnTo>
                  <a:pt x="2955" y="1232"/>
                </a:lnTo>
                <a:lnTo>
                  <a:pt x="2992" y="1251"/>
                </a:lnTo>
                <a:lnTo>
                  <a:pt x="3026" y="1273"/>
                </a:lnTo>
                <a:lnTo>
                  <a:pt x="3056" y="1299"/>
                </a:lnTo>
                <a:lnTo>
                  <a:pt x="3082" y="1330"/>
                </a:lnTo>
                <a:lnTo>
                  <a:pt x="3104" y="1363"/>
                </a:lnTo>
                <a:lnTo>
                  <a:pt x="3121" y="1398"/>
                </a:lnTo>
                <a:lnTo>
                  <a:pt x="3134" y="1437"/>
                </a:lnTo>
                <a:lnTo>
                  <a:pt x="3142" y="1479"/>
                </a:lnTo>
                <a:lnTo>
                  <a:pt x="3145" y="1521"/>
                </a:lnTo>
                <a:lnTo>
                  <a:pt x="3142" y="1563"/>
                </a:lnTo>
                <a:lnTo>
                  <a:pt x="3134" y="1604"/>
                </a:lnTo>
                <a:lnTo>
                  <a:pt x="3121" y="1642"/>
                </a:lnTo>
                <a:lnTo>
                  <a:pt x="3104" y="1679"/>
                </a:lnTo>
                <a:lnTo>
                  <a:pt x="3082" y="1712"/>
                </a:lnTo>
                <a:lnTo>
                  <a:pt x="3056" y="1742"/>
                </a:lnTo>
                <a:lnTo>
                  <a:pt x="3026" y="1769"/>
                </a:lnTo>
                <a:lnTo>
                  <a:pt x="2992" y="1791"/>
                </a:lnTo>
                <a:lnTo>
                  <a:pt x="2955" y="1809"/>
                </a:lnTo>
                <a:lnTo>
                  <a:pt x="2916" y="1822"/>
                </a:lnTo>
                <a:lnTo>
                  <a:pt x="2873" y="1831"/>
                </a:lnTo>
                <a:lnTo>
                  <a:pt x="2828" y="1834"/>
                </a:lnTo>
                <a:lnTo>
                  <a:pt x="2783" y="1831"/>
                </a:lnTo>
                <a:lnTo>
                  <a:pt x="2740" y="1822"/>
                </a:lnTo>
                <a:lnTo>
                  <a:pt x="2700" y="1809"/>
                </a:lnTo>
                <a:lnTo>
                  <a:pt x="2663" y="1791"/>
                </a:lnTo>
                <a:lnTo>
                  <a:pt x="2630" y="1769"/>
                </a:lnTo>
                <a:lnTo>
                  <a:pt x="2599" y="1742"/>
                </a:lnTo>
                <a:lnTo>
                  <a:pt x="2573" y="1712"/>
                </a:lnTo>
                <a:lnTo>
                  <a:pt x="2551" y="1679"/>
                </a:lnTo>
                <a:lnTo>
                  <a:pt x="2534" y="1642"/>
                </a:lnTo>
                <a:lnTo>
                  <a:pt x="2521" y="1604"/>
                </a:lnTo>
                <a:lnTo>
                  <a:pt x="2513" y="1563"/>
                </a:lnTo>
                <a:lnTo>
                  <a:pt x="2510" y="1521"/>
                </a:lnTo>
                <a:lnTo>
                  <a:pt x="2513" y="1479"/>
                </a:lnTo>
                <a:lnTo>
                  <a:pt x="2521" y="1437"/>
                </a:lnTo>
                <a:lnTo>
                  <a:pt x="2534" y="1398"/>
                </a:lnTo>
                <a:lnTo>
                  <a:pt x="2551" y="1363"/>
                </a:lnTo>
                <a:lnTo>
                  <a:pt x="2573" y="1330"/>
                </a:lnTo>
                <a:lnTo>
                  <a:pt x="2599" y="1299"/>
                </a:lnTo>
                <a:lnTo>
                  <a:pt x="2630" y="1273"/>
                </a:lnTo>
                <a:lnTo>
                  <a:pt x="2663" y="1251"/>
                </a:lnTo>
                <a:lnTo>
                  <a:pt x="2700" y="1232"/>
                </a:lnTo>
                <a:lnTo>
                  <a:pt x="2740" y="1219"/>
                </a:lnTo>
                <a:lnTo>
                  <a:pt x="2783" y="1211"/>
                </a:lnTo>
                <a:lnTo>
                  <a:pt x="2828" y="1208"/>
                </a:lnTo>
                <a:close/>
                <a:moveTo>
                  <a:pt x="2213" y="1208"/>
                </a:moveTo>
                <a:lnTo>
                  <a:pt x="2242" y="1209"/>
                </a:lnTo>
                <a:lnTo>
                  <a:pt x="2268" y="1211"/>
                </a:lnTo>
                <a:lnTo>
                  <a:pt x="2292" y="1215"/>
                </a:lnTo>
                <a:lnTo>
                  <a:pt x="2312" y="1219"/>
                </a:lnTo>
                <a:lnTo>
                  <a:pt x="2329" y="1223"/>
                </a:lnTo>
                <a:lnTo>
                  <a:pt x="2343" y="1227"/>
                </a:lnTo>
                <a:lnTo>
                  <a:pt x="2351" y="1230"/>
                </a:lnTo>
                <a:lnTo>
                  <a:pt x="2351" y="1392"/>
                </a:lnTo>
                <a:lnTo>
                  <a:pt x="2346" y="1389"/>
                </a:lnTo>
                <a:lnTo>
                  <a:pt x="2335" y="1384"/>
                </a:lnTo>
                <a:lnTo>
                  <a:pt x="2321" y="1377"/>
                </a:lnTo>
                <a:lnTo>
                  <a:pt x="2302" y="1371"/>
                </a:lnTo>
                <a:lnTo>
                  <a:pt x="2279" y="1365"/>
                </a:lnTo>
                <a:lnTo>
                  <a:pt x="2253" y="1360"/>
                </a:lnTo>
                <a:lnTo>
                  <a:pt x="2223" y="1359"/>
                </a:lnTo>
                <a:lnTo>
                  <a:pt x="2192" y="1362"/>
                </a:lnTo>
                <a:lnTo>
                  <a:pt x="2163" y="1369"/>
                </a:lnTo>
                <a:lnTo>
                  <a:pt x="2136" y="1381"/>
                </a:lnTo>
                <a:lnTo>
                  <a:pt x="2113" y="1396"/>
                </a:lnTo>
                <a:lnTo>
                  <a:pt x="2095" y="1415"/>
                </a:lnTo>
                <a:lnTo>
                  <a:pt x="2079" y="1437"/>
                </a:lnTo>
                <a:lnTo>
                  <a:pt x="2067" y="1463"/>
                </a:lnTo>
                <a:lnTo>
                  <a:pt x="2060" y="1490"/>
                </a:lnTo>
                <a:lnTo>
                  <a:pt x="2058" y="1521"/>
                </a:lnTo>
                <a:lnTo>
                  <a:pt x="2060" y="1550"/>
                </a:lnTo>
                <a:lnTo>
                  <a:pt x="2066" y="1578"/>
                </a:lnTo>
                <a:lnTo>
                  <a:pt x="2078" y="1602"/>
                </a:lnTo>
                <a:lnTo>
                  <a:pt x="2093" y="1625"/>
                </a:lnTo>
                <a:lnTo>
                  <a:pt x="2112" y="1644"/>
                </a:lnTo>
                <a:lnTo>
                  <a:pt x="2135" y="1660"/>
                </a:lnTo>
                <a:lnTo>
                  <a:pt x="2162" y="1672"/>
                </a:lnTo>
                <a:lnTo>
                  <a:pt x="2191" y="1679"/>
                </a:lnTo>
                <a:lnTo>
                  <a:pt x="2223" y="1682"/>
                </a:lnTo>
                <a:lnTo>
                  <a:pt x="2253" y="1680"/>
                </a:lnTo>
                <a:lnTo>
                  <a:pt x="2279" y="1676"/>
                </a:lnTo>
                <a:lnTo>
                  <a:pt x="2301" y="1671"/>
                </a:lnTo>
                <a:lnTo>
                  <a:pt x="2321" y="1664"/>
                </a:lnTo>
                <a:lnTo>
                  <a:pt x="2335" y="1658"/>
                </a:lnTo>
                <a:lnTo>
                  <a:pt x="2346" y="1653"/>
                </a:lnTo>
                <a:lnTo>
                  <a:pt x="2351" y="1649"/>
                </a:lnTo>
                <a:lnTo>
                  <a:pt x="2351" y="1812"/>
                </a:lnTo>
                <a:lnTo>
                  <a:pt x="2339" y="1816"/>
                </a:lnTo>
                <a:lnTo>
                  <a:pt x="2322" y="1820"/>
                </a:lnTo>
                <a:lnTo>
                  <a:pt x="2300" y="1826"/>
                </a:lnTo>
                <a:lnTo>
                  <a:pt x="2275" y="1830"/>
                </a:lnTo>
                <a:lnTo>
                  <a:pt x="2245" y="1833"/>
                </a:lnTo>
                <a:lnTo>
                  <a:pt x="2213" y="1834"/>
                </a:lnTo>
                <a:lnTo>
                  <a:pt x="2174" y="1832"/>
                </a:lnTo>
                <a:lnTo>
                  <a:pt x="2136" y="1826"/>
                </a:lnTo>
                <a:lnTo>
                  <a:pt x="2100" y="1815"/>
                </a:lnTo>
                <a:lnTo>
                  <a:pt x="2065" y="1801"/>
                </a:lnTo>
                <a:lnTo>
                  <a:pt x="2033" y="1783"/>
                </a:lnTo>
                <a:lnTo>
                  <a:pt x="2002" y="1762"/>
                </a:lnTo>
                <a:lnTo>
                  <a:pt x="1975" y="1737"/>
                </a:lnTo>
                <a:lnTo>
                  <a:pt x="1952" y="1710"/>
                </a:lnTo>
                <a:lnTo>
                  <a:pt x="1931" y="1678"/>
                </a:lnTo>
                <a:lnTo>
                  <a:pt x="1915" y="1643"/>
                </a:lnTo>
                <a:lnTo>
                  <a:pt x="1903" y="1605"/>
                </a:lnTo>
                <a:lnTo>
                  <a:pt x="1896" y="1564"/>
                </a:lnTo>
                <a:lnTo>
                  <a:pt x="1892" y="1521"/>
                </a:lnTo>
                <a:lnTo>
                  <a:pt x="1896" y="1477"/>
                </a:lnTo>
                <a:lnTo>
                  <a:pt x="1904" y="1434"/>
                </a:lnTo>
                <a:lnTo>
                  <a:pt x="1917" y="1395"/>
                </a:lnTo>
                <a:lnTo>
                  <a:pt x="1934" y="1359"/>
                </a:lnTo>
                <a:lnTo>
                  <a:pt x="1957" y="1326"/>
                </a:lnTo>
                <a:lnTo>
                  <a:pt x="1984" y="1296"/>
                </a:lnTo>
                <a:lnTo>
                  <a:pt x="2014" y="1271"/>
                </a:lnTo>
                <a:lnTo>
                  <a:pt x="2047" y="1249"/>
                </a:lnTo>
                <a:lnTo>
                  <a:pt x="2085" y="1231"/>
                </a:lnTo>
                <a:lnTo>
                  <a:pt x="2125" y="1218"/>
                </a:lnTo>
                <a:lnTo>
                  <a:pt x="2168" y="1211"/>
                </a:lnTo>
                <a:lnTo>
                  <a:pt x="2213" y="1208"/>
                </a:lnTo>
                <a:close/>
                <a:moveTo>
                  <a:pt x="630" y="1208"/>
                </a:moveTo>
                <a:lnTo>
                  <a:pt x="660" y="1209"/>
                </a:lnTo>
                <a:lnTo>
                  <a:pt x="687" y="1211"/>
                </a:lnTo>
                <a:lnTo>
                  <a:pt x="711" y="1215"/>
                </a:lnTo>
                <a:lnTo>
                  <a:pt x="731" y="1219"/>
                </a:lnTo>
                <a:lnTo>
                  <a:pt x="748" y="1223"/>
                </a:lnTo>
                <a:lnTo>
                  <a:pt x="760" y="1227"/>
                </a:lnTo>
                <a:lnTo>
                  <a:pt x="769" y="1230"/>
                </a:lnTo>
                <a:lnTo>
                  <a:pt x="769" y="1392"/>
                </a:lnTo>
                <a:lnTo>
                  <a:pt x="763" y="1389"/>
                </a:lnTo>
                <a:lnTo>
                  <a:pt x="754" y="1384"/>
                </a:lnTo>
                <a:lnTo>
                  <a:pt x="739" y="1377"/>
                </a:lnTo>
                <a:lnTo>
                  <a:pt x="721" y="1371"/>
                </a:lnTo>
                <a:lnTo>
                  <a:pt x="697" y="1365"/>
                </a:lnTo>
                <a:lnTo>
                  <a:pt x="671" y="1360"/>
                </a:lnTo>
                <a:lnTo>
                  <a:pt x="642" y="1359"/>
                </a:lnTo>
                <a:lnTo>
                  <a:pt x="611" y="1362"/>
                </a:lnTo>
                <a:lnTo>
                  <a:pt x="581" y="1369"/>
                </a:lnTo>
                <a:lnTo>
                  <a:pt x="555" y="1381"/>
                </a:lnTo>
                <a:lnTo>
                  <a:pt x="532" y="1396"/>
                </a:lnTo>
                <a:lnTo>
                  <a:pt x="513" y="1415"/>
                </a:lnTo>
                <a:lnTo>
                  <a:pt x="497" y="1437"/>
                </a:lnTo>
                <a:lnTo>
                  <a:pt x="485" y="1463"/>
                </a:lnTo>
                <a:lnTo>
                  <a:pt x="479" y="1490"/>
                </a:lnTo>
                <a:lnTo>
                  <a:pt x="475" y="1521"/>
                </a:lnTo>
                <a:lnTo>
                  <a:pt x="479" y="1550"/>
                </a:lnTo>
                <a:lnTo>
                  <a:pt x="485" y="1578"/>
                </a:lnTo>
                <a:lnTo>
                  <a:pt x="496" y="1602"/>
                </a:lnTo>
                <a:lnTo>
                  <a:pt x="512" y="1625"/>
                </a:lnTo>
                <a:lnTo>
                  <a:pt x="531" y="1644"/>
                </a:lnTo>
                <a:lnTo>
                  <a:pt x="554" y="1660"/>
                </a:lnTo>
                <a:lnTo>
                  <a:pt x="580" y="1672"/>
                </a:lnTo>
                <a:lnTo>
                  <a:pt x="610" y="1679"/>
                </a:lnTo>
                <a:lnTo>
                  <a:pt x="642" y="1682"/>
                </a:lnTo>
                <a:lnTo>
                  <a:pt x="671" y="1680"/>
                </a:lnTo>
                <a:lnTo>
                  <a:pt x="697" y="1676"/>
                </a:lnTo>
                <a:lnTo>
                  <a:pt x="719" y="1671"/>
                </a:lnTo>
                <a:lnTo>
                  <a:pt x="738" y="1664"/>
                </a:lnTo>
                <a:lnTo>
                  <a:pt x="753" y="1658"/>
                </a:lnTo>
                <a:lnTo>
                  <a:pt x="763" y="1653"/>
                </a:lnTo>
                <a:lnTo>
                  <a:pt x="769" y="1649"/>
                </a:lnTo>
                <a:lnTo>
                  <a:pt x="769" y="1812"/>
                </a:lnTo>
                <a:lnTo>
                  <a:pt x="757" y="1816"/>
                </a:lnTo>
                <a:lnTo>
                  <a:pt x="740" y="1820"/>
                </a:lnTo>
                <a:lnTo>
                  <a:pt x="718" y="1826"/>
                </a:lnTo>
                <a:lnTo>
                  <a:pt x="692" y="1830"/>
                </a:lnTo>
                <a:lnTo>
                  <a:pt x="663" y="1833"/>
                </a:lnTo>
                <a:lnTo>
                  <a:pt x="630" y="1834"/>
                </a:lnTo>
                <a:lnTo>
                  <a:pt x="592" y="1832"/>
                </a:lnTo>
                <a:lnTo>
                  <a:pt x="554" y="1826"/>
                </a:lnTo>
                <a:lnTo>
                  <a:pt x="518" y="1815"/>
                </a:lnTo>
                <a:lnTo>
                  <a:pt x="484" y="1801"/>
                </a:lnTo>
                <a:lnTo>
                  <a:pt x="451" y="1783"/>
                </a:lnTo>
                <a:lnTo>
                  <a:pt x="421" y="1762"/>
                </a:lnTo>
                <a:lnTo>
                  <a:pt x="394" y="1737"/>
                </a:lnTo>
                <a:lnTo>
                  <a:pt x="370" y="1710"/>
                </a:lnTo>
                <a:lnTo>
                  <a:pt x="350" y="1678"/>
                </a:lnTo>
                <a:lnTo>
                  <a:pt x="333" y="1643"/>
                </a:lnTo>
                <a:lnTo>
                  <a:pt x="322" y="1605"/>
                </a:lnTo>
                <a:lnTo>
                  <a:pt x="314" y="1564"/>
                </a:lnTo>
                <a:lnTo>
                  <a:pt x="311" y="1521"/>
                </a:lnTo>
                <a:lnTo>
                  <a:pt x="314" y="1477"/>
                </a:lnTo>
                <a:lnTo>
                  <a:pt x="323" y="1434"/>
                </a:lnTo>
                <a:lnTo>
                  <a:pt x="335" y="1395"/>
                </a:lnTo>
                <a:lnTo>
                  <a:pt x="353" y="1359"/>
                </a:lnTo>
                <a:lnTo>
                  <a:pt x="375" y="1326"/>
                </a:lnTo>
                <a:lnTo>
                  <a:pt x="402" y="1296"/>
                </a:lnTo>
                <a:lnTo>
                  <a:pt x="433" y="1271"/>
                </a:lnTo>
                <a:lnTo>
                  <a:pt x="466" y="1249"/>
                </a:lnTo>
                <a:lnTo>
                  <a:pt x="503" y="1231"/>
                </a:lnTo>
                <a:lnTo>
                  <a:pt x="544" y="1218"/>
                </a:lnTo>
                <a:lnTo>
                  <a:pt x="585" y="1211"/>
                </a:lnTo>
                <a:lnTo>
                  <a:pt x="630" y="1208"/>
                </a:lnTo>
                <a:close/>
                <a:moveTo>
                  <a:pt x="1556" y="1208"/>
                </a:moveTo>
                <a:lnTo>
                  <a:pt x="1583" y="1209"/>
                </a:lnTo>
                <a:lnTo>
                  <a:pt x="1610" y="1211"/>
                </a:lnTo>
                <a:lnTo>
                  <a:pt x="1634" y="1213"/>
                </a:lnTo>
                <a:lnTo>
                  <a:pt x="1656" y="1217"/>
                </a:lnTo>
                <a:lnTo>
                  <a:pt x="1675" y="1220"/>
                </a:lnTo>
                <a:lnTo>
                  <a:pt x="1689" y="1223"/>
                </a:lnTo>
                <a:lnTo>
                  <a:pt x="1699" y="1226"/>
                </a:lnTo>
                <a:lnTo>
                  <a:pt x="1704" y="1227"/>
                </a:lnTo>
                <a:lnTo>
                  <a:pt x="1704" y="1356"/>
                </a:lnTo>
                <a:lnTo>
                  <a:pt x="1700" y="1355"/>
                </a:lnTo>
                <a:lnTo>
                  <a:pt x="1691" y="1353"/>
                </a:lnTo>
                <a:lnTo>
                  <a:pt x="1679" y="1350"/>
                </a:lnTo>
                <a:lnTo>
                  <a:pt x="1663" y="1347"/>
                </a:lnTo>
                <a:lnTo>
                  <a:pt x="1645" y="1343"/>
                </a:lnTo>
                <a:lnTo>
                  <a:pt x="1625" y="1340"/>
                </a:lnTo>
                <a:lnTo>
                  <a:pt x="1605" y="1338"/>
                </a:lnTo>
                <a:lnTo>
                  <a:pt x="1586" y="1337"/>
                </a:lnTo>
                <a:lnTo>
                  <a:pt x="1557" y="1339"/>
                </a:lnTo>
                <a:lnTo>
                  <a:pt x="1534" y="1344"/>
                </a:lnTo>
                <a:lnTo>
                  <a:pt x="1515" y="1351"/>
                </a:lnTo>
                <a:lnTo>
                  <a:pt x="1502" y="1362"/>
                </a:lnTo>
                <a:lnTo>
                  <a:pt x="1494" y="1373"/>
                </a:lnTo>
                <a:lnTo>
                  <a:pt x="1491" y="1387"/>
                </a:lnTo>
                <a:lnTo>
                  <a:pt x="1494" y="1402"/>
                </a:lnTo>
                <a:lnTo>
                  <a:pt x="1501" y="1413"/>
                </a:lnTo>
                <a:lnTo>
                  <a:pt x="1511" y="1423"/>
                </a:lnTo>
                <a:lnTo>
                  <a:pt x="1523" y="1430"/>
                </a:lnTo>
                <a:lnTo>
                  <a:pt x="1536" y="1436"/>
                </a:lnTo>
                <a:lnTo>
                  <a:pt x="1549" y="1441"/>
                </a:lnTo>
                <a:lnTo>
                  <a:pt x="1560" y="1445"/>
                </a:lnTo>
                <a:lnTo>
                  <a:pt x="1602" y="1458"/>
                </a:lnTo>
                <a:lnTo>
                  <a:pt x="1634" y="1470"/>
                </a:lnTo>
                <a:lnTo>
                  <a:pt x="1661" y="1484"/>
                </a:lnTo>
                <a:lnTo>
                  <a:pt x="1684" y="1501"/>
                </a:lnTo>
                <a:lnTo>
                  <a:pt x="1703" y="1519"/>
                </a:lnTo>
                <a:lnTo>
                  <a:pt x="1719" y="1539"/>
                </a:lnTo>
                <a:lnTo>
                  <a:pt x="1731" y="1560"/>
                </a:lnTo>
                <a:lnTo>
                  <a:pt x="1740" y="1583"/>
                </a:lnTo>
                <a:lnTo>
                  <a:pt x="1745" y="1606"/>
                </a:lnTo>
                <a:lnTo>
                  <a:pt x="1746" y="1630"/>
                </a:lnTo>
                <a:lnTo>
                  <a:pt x="1744" y="1664"/>
                </a:lnTo>
                <a:lnTo>
                  <a:pt x="1737" y="1694"/>
                </a:lnTo>
                <a:lnTo>
                  <a:pt x="1727" y="1720"/>
                </a:lnTo>
                <a:lnTo>
                  <a:pt x="1712" y="1744"/>
                </a:lnTo>
                <a:lnTo>
                  <a:pt x="1696" y="1764"/>
                </a:lnTo>
                <a:lnTo>
                  <a:pt x="1676" y="1781"/>
                </a:lnTo>
                <a:lnTo>
                  <a:pt x="1654" y="1796"/>
                </a:lnTo>
                <a:lnTo>
                  <a:pt x="1630" y="1809"/>
                </a:lnTo>
                <a:lnTo>
                  <a:pt x="1604" y="1818"/>
                </a:lnTo>
                <a:lnTo>
                  <a:pt x="1578" y="1826"/>
                </a:lnTo>
                <a:lnTo>
                  <a:pt x="1551" y="1830"/>
                </a:lnTo>
                <a:lnTo>
                  <a:pt x="1524" y="1833"/>
                </a:lnTo>
                <a:lnTo>
                  <a:pt x="1498" y="1834"/>
                </a:lnTo>
                <a:lnTo>
                  <a:pt x="1467" y="1833"/>
                </a:lnTo>
                <a:lnTo>
                  <a:pt x="1439" y="1832"/>
                </a:lnTo>
                <a:lnTo>
                  <a:pt x="1412" y="1829"/>
                </a:lnTo>
                <a:lnTo>
                  <a:pt x="1388" y="1827"/>
                </a:lnTo>
                <a:lnTo>
                  <a:pt x="1368" y="1823"/>
                </a:lnTo>
                <a:lnTo>
                  <a:pt x="1351" y="1820"/>
                </a:lnTo>
                <a:lnTo>
                  <a:pt x="1339" y="1818"/>
                </a:lnTo>
                <a:lnTo>
                  <a:pt x="1334" y="1817"/>
                </a:lnTo>
                <a:lnTo>
                  <a:pt x="1334" y="1678"/>
                </a:lnTo>
                <a:lnTo>
                  <a:pt x="1343" y="1680"/>
                </a:lnTo>
                <a:lnTo>
                  <a:pt x="1356" y="1684"/>
                </a:lnTo>
                <a:lnTo>
                  <a:pt x="1375" y="1688"/>
                </a:lnTo>
                <a:lnTo>
                  <a:pt x="1397" y="1693"/>
                </a:lnTo>
                <a:lnTo>
                  <a:pt x="1422" y="1697"/>
                </a:lnTo>
                <a:lnTo>
                  <a:pt x="1448" y="1700"/>
                </a:lnTo>
                <a:lnTo>
                  <a:pt x="1477" y="1701"/>
                </a:lnTo>
                <a:lnTo>
                  <a:pt x="1507" y="1699"/>
                </a:lnTo>
                <a:lnTo>
                  <a:pt x="1531" y="1696"/>
                </a:lnTo>
                <a:lnTo>
                  <a:pt x="1552" y="1690"/>
                </a:lnTo>
                <a:lnTo>
                  <a:pt x="1568" y="1681"/>
                </a:lnTo>
                <a:lnTo>
                  <a:pt x="1578" y="1671"/>
                </a:lnTo>
                <a:lnTo>
                  <a:pt x="1585" y="1658"/>
                </a:lnTo>
                <a:lnTo>
                  <a:pt x="1587" y="1644"/>
                </a:lnTo>
                <a:lnTo>
                  <a:pt x="1585" y="1629"/>
                </a:lnTo>
                <a:lnTo>
                  <a:pt x="1578" y="1618"/>
                </a:lnTo>
                <a:lnTo>
                  <a:pt x="1567" y="1607"/>
                </a:lnTo>
                <a:lnTo>
                  <a:pt x="1553" y="1598"/>
                </a:lnTo>
                <a:lnTo>
                  <a:pt x="1537" y="1590"/>
                </a:lnTo>
                <a:lnTo>
                  <a:pt x="1520" y="1584"/>
                </a:lnTo>
                <a:lnTo>
                  <a:pt x="1509" y="1581"/>
                </a:lnTo>
                <a:lnTo>
                  <a:pt x="1498" y="1577"/>
                </a:lnTo>
                <a:lnTo>
                  <a:pt x="1487" y="1574"/>
                </a:lnTo>
                <a:lnTo>
                  <a:pt x="1462" y="1565"/>
                </a:lnTo>
                <a:lnTo>
                  <a:pt x="1439" y="1555"/>
                </a:lnTo>
                <a:lnTo>
                  <a:pt x="1416" y="1542"/>
                </a:lnTo>
                <a:lnTo>
                  <a:pt x="1396" y="1528"/>
                </a:lnTo>
                <a:lnTo>
                  <a:pt x="1378" y="1512"/>
                </a:lnTo>
                <a:lnTo>
                  <a:pt x="1363" y="1494"/>
                </a:lnTo>
                <a:lnTo>
                  <a:pt x="1350" y="1473"/>
                </a:lnTo>
                <a:lnTo>
                  <a:pt x="1341" y="1451"/>
                </a:lnTo>
                <a:lnTo>
                  <a:pt x="1334" y="1425"/>
                </a:lnTo>
                <a:lnTo>
                  <a:pt x="1332" y="1396"/>
                </a:lnTo>
                <a:lnTo>
                  <a:pt x="1334" y="1364"/>
                </a:lnTo>
                <a:lnTo>
                  <a:pt x="1342" y="1333"/>
                </a:lnTo>
                <a:lnTo>
                  <a:pt x="1354" y="1306"/>
                </a:lnTo>
                <a:lnTo>
                  <a:pt x="1371" y="1281"/>
                </a:lnTo>
                <a:lnTo>
                  <a:pt x="1392" y="1259"/>
                </a:lnTo>
                <a:lnTo>
                  <a:pt x="1417" y="1241"/>
                </a:lnTo>
                <a:lnTo>
                  <a:pt x="1446" y="1227"/>
                </a:lnTo>
                <a:lnTo>
                  <a:pt x="1479" y="1216"/>
                </a:lnTo>
                <a:lnTo>
                  <a:pt x="1515" y="1210"/>
                </a:lnTo>
                <a:lnTo>
                  <a:pt x="1556" y="1208"/>
                </a:lnTo>
                <a:close/>
                <a:moveTo>
                  <a:pt x="3381" y="493"/>
                </a:moveTo>
                <a:lnTo>
                  <a:pt x="3400" y="496"/>
                </a:lnTo>
                <a:lnTo>
                  <a:pt x="3418" y="503"/>
                </a:lnTo>
                <a:lnTo>
                  <a:pt x="3434" y="515"/>
                </a:lnTo>
                <a:lnTo>
                  <a:pt x="3446" y="531"/>
                </a:lnTo>
                <a:lnTo>
                  <a:pt x="3453" y="548"/>
                </a:lnTo>
                <a:lnTo>
                  <a:pt x="3456" y="569"/>
                </a:lnTo>
                <a:lnTo>
                  <a:pt x="3456" y="727"/>
                </a:lnTo>
                <a:lnTo>
                  <a:pt x="3453" y="748"/>
                </a:lnTo>
                <a:lnTo>
                  <a:pt x="3446" y="766"/>
                </a:lnTo>
                <a:lnTo>
                  <a:pt x="3434" y="780"/>
                </a:lnTo>
                <a:lnTo>
                  <a:pt x="3418" y="793"/>
                </a:lnTo>
                <a:lnTo>
                  <a:pt x="3400" y="801"/>
                </a:lnTo>
                <a:lnTo>
                  <a:pt x="3381" y="803"/>
                </a:lnTo>
                <a:lnTo>
                  <a:pt x="3361" y="801"/>
                </a:lnTo>
                <a:lnTo>
                  <a:pt x="3343" y="793"/>
                </a:lnTo>
                <a:lnTo>
                  <a:pt x="3328" y="780"/>
                </a:lnTo>
                <a:lnTo>
                  <a:pt x="3316" y="766"/>
                </a:lnTo>
                <a:lnTo>
                  <a:pt x="3308" y="748"/>
                </a:lnTo>
                <a:lnTo>
                  <a:pt x="3306" y="727"/>
                </a:lnTo>
                <a:lnTo>
                  <a:pt x="3306" y="569"/>
                </a:lnTo>
                <a:lnTo>
                  <a:pt x="3308" y="548"/>
                </a:lnTo>
                <a:lnTo>
                  <a:pt x="3316" y="531"/>
                </a:lnTo>
                <a:lnTo>
                  <a:pt x="3328" y="515"/>
                </a:lnTo>
                <a:lnTo>
                  <a:pt x="3343" y="503"/>
                </a:lnTo>
                <a:lnTo>
                  <a:pt x="3361" y="496"/>
                </a:lnTo>
                <a:lnTo>
                  <a:pt x="3381" y="493"/>
                </a:lnTo>
                <a:close/>
                <a:moveTo>
                  <a:pt x="1728" y="493"/>
                </a:moveTo>
                <a:lnTo>
                  <a:pt x="1748" y="496"/>
                </a:lnTo>
                <a:lnTo>
                  <a:pt x="1766" y="503"/>
                </a:lnTo>
                <a:lnTo>
                  <a:pt x="1781" y="515"/>
                </a:lnTo>
                <a:lnTo>
                  <a:pt x="1793" y="531"/>
                </a:lnTo>
                <a:lnTo>
                  <a:pt x="1800" y="548"/>
                </a:lnTo>
                <a:lnTo>
                  <a:pt x="1803" y="569"/>
                </a:lnTo>
                <a:lnTo>
                  <a:pt x="1803" y="727"/>
                </a:lnTo>
                <a:lnTo>
                  <a:pt x="1800" y="748"/>
                </a:lnTo>
                <a:lnTo>
                  <a:pt x="1793" y="766"/>
                </a:lnTo>
                <a:lnTo>
                  <a:pt x="1781" y="780"/>
                </a:lnTo>
                <a:lnTo>
                  <a:pt x="1766" y="793"/>
                </a:lnTo>
                <a:lnTo>
                  <a:pt x="1748" y="801"/>
                </a:lnTo>
                <a:lnTo>
                  <a:pt x="1728" y="803"/>
                </a:lnTo>
                <a:lnTo>
                  <a:pt x="1708" y="801"/>
                </a:lnTo>
                <a:lnTo>
                  <a:pt x="1690" y="793"/>
                </a:lnTo>
                <a:lnTo>
                  <a:pt x="1675" y="780"/>
                </a:lnTo>
                <a:lnTo>
                  <a:pt x="1663" y="766"/>
                </a:lnTo>
                <a:lnTo>
                  <a:pt x="1656" y="748"/>
                </a:lnTo>
                <a:lnTo>
                  <a:pt x="1653" y="727"/>
                </a:lnTo>
                <a:lnTo>
                  <a:pt x="1653" y="569"/>
                </a:lnTo>
                <a:lnTo>
                  <a:pt x="1656" y="548"/>
                </a:lnTo>
                <a:lnTo>
                  <a:pt x="1663" y="531"/>
                </a:lnTo>
                <a:lnTo>
                  <a:pt x="1675" y="515"/>
                </a:lnTo>
                <a:lnTo>
                  <a:pt x="1690" y="503"/>
                </a:lnTo>
                <a:lnTo>
                  <a:pt x="1708" y="496"/>
                </a:lnTo>
                <a:lnTo>
                  <a:pt x="1728" y="493"/>
                </a:lnTo>
                <a:close/>
                <a:moveTo>
                  <a:pt x="75" y="493"/>
                </a:moveTo>
                <a:lnTo>
                  <a:pt x="95" y="496"/>
                </a:lnTo>
                <a:lnTo>
                  <a:pt x="113" y="503"/>
                </a:lnTo>
                <a:lnTo>
                  <a:pt x="129" y="515"/>
                </a:lnTo>
                <a:lnTo>
                  <a:pt x="140" y="531"/>
                </a:lnTo>
                <a:lnTo>
                  <a:pt x="148" y="548"/>
                </a:lnTo>
                <a:lnTo>
                  <a:pt x="151" y="569"/>
                </a:lnTo>
                <a:lnTo>
                  <a:pt x="151" y="727"/>
                </a:lnTo>
                <a:lnTo>
                  <a:pt x="148" y="748"/>
                </a:lnTo>
                <a:lnTo>
                  <a:pt x="140" y="766"/>
                </a:lnTo>
                <a:lnTo>
                  <a:pt x="129" y="780"/>
                </a:lnTo>
                <a:lnTo>
                  <a:pt x="113" y="793"/>
                </a:lnTo>
                <a:lnTo>
                  <a:pt x="95" y="801"/>
                </a:lnTo>
                <a:lnTo>
                  <a:pt x="75" y="803"/>
                </a:lnTo>
                <a:lnTo>
                  <a:pt x="56" y="801"/>
                </a:lnTo>
                <a:lnTo>
                  <a:pt x="38" y="793"/>
                </a:lnTo>
                <a:lnTo>
                  <a:pt x="22" y="780"/>
                </a:lnTo>
                <a:lnTo>
                  <a:pt x="10" y="766"/>
                </a:lnTo>
                <a:lnTo>
                  <a:pt x="3" y="748"/>
                </a:lnTo>
                <a:lnTo>
                  <a:pt x="0" y="727"/>
                </a:lnTo>
                <a:lnTo>
                  <a:pt x="0" y="569"/>
                </a:lnTo>
                <a:lnTo>
                  <a:pt x="3" y="548"/>
                </a:lnTo>
                <a:lnTo>
                  <a:pt x="10" y="531"/>
                </a:lnTo>
                <a:lnTo>
                  <a:pt x="22" y="515"/>
                </a:lnTo>
                <a:lnTo>
                  <a:pt x="38" y="503"/>
                </a:lnTo>
                <a:lnTo>
                  <a:pt x="56" y="496"/>
                </a:lnTo>
                <a:lnTo>
                  <a:pt x="75" y="493"/>
                </a:lnTo>
                <a:close/>
                <a:moveTo>
                  <a:pt x="2968" y="285"/>
                </a:moveTo>
                <a:lnTo>
                  <a:pt x="2988" y="287"/>
                </a:lnTo>
                <a:lnTo>
                  <a:pt x="3006" y="295"/>
                </a:lnTo>
                <a:lnTo>
                  <a:pt x="3021" y="307"/>
                </a:lnTo>
                <a:lnTo>
                  <a:pt x="3033" y="322"/>
                </a:lnTo>
                <a:lnTo>
                  <a:pt x="3040" y="340"/>
                </a:lnTo>
                <a:lnTo>
                  <a:pt x="3043" y="360"/>
                </a:lnTo>
                <a:lnTo>
                  <a:pt x="3043" y="727"/>
                </a:lnTo>
                <a:lnTo>
                  <a:pt x="3040" y="748"/>
                </a:lnTo>
                <a:lnTo>
                  <a:pt x="3033" y="766"/>
                </a:lnTo>
                <a:lnTo>
                  <a:pt x="3021" y="780"/>
                </a:lnTo>
                <a:lnTo>
                  <a:pt x="3006" y="793"/>
                </a:lnTo>
                <a:lnTo>
                  <a:pt x="2988" y="801"/>
                </a:lnTo>
                <a:lnTo>
                  <a:pt x="2968" y="803"/>
                </a:lnTo>
                <a:lnTo>
                  <a:pt x="2947" y="801"/>
                </a:lnTo>
                <a:lnTo>
                  <a:pt x="2929" y="793"/>
                </a:lnTo>
                <a:lnTo>
                  <a:pt x="2915" y="780"/>
                </a:lnTo>
                <a:lnTo>
                  <a:pt x="2903" y="766"/>
                </a:lnTo>
                <a:lnTo>
                  <a:pt x="2895" y="748"/>
                </a:lnTo>
                <a:lnTo>
                  <a:pt x="2893" y="727"/>
                </a:lnTo>
                <a:lnTo>
                  <a:pt x="2893" y="360"/>
                </a:lnTo>
                <a:lnTo>
                  <a:pt x="2895" y="340"/>
                </a:lnTo>
                <a:lnTo>
                  <a:pt x="2903" y="322"/>
                </a:lnTo>
                <a:lnTo>
                  <a:pt x="2915" y="307"/>
                </a:lnTo>
                <a:lnTo>
                  <a:pt x="2929" y="295"/>
                </a:lnTo>
                <a:lnTo>
                  <a:pt x="2947" y="287"/>
                </a:lnTo>
                <a:lnTo>
                  <a:pt x="2968" y="285"/>
                </a:lnTo>
                <a:close/>
                <a:moveTo>
                  <a:pt x="2142" y="285"/>
                </a:moveTo>
                <a:lnTo>
                  <a:pt x="2162" y="287"/>
                </a:lnTo>
                <a:lnTo>
                  <a:pt x="2179" y="295"/>
                </a:lnTo>
                <a:lnTo>
                  <a:pt x="2194" y="307"/>
                </a:lnTo>
                <a:lnTo>
                  <a:pt x="2207" y="322"/>
                </a:lnTo>
                <a:lnTo>
                  <a:pt x="2214" y="340"/>
                </a:lnTo>
                <a:lnTo>
                  <a:pt x="2216" y="360"/>
                </a:lnTo>
                <a:lnTo>
                  <a:pt x="2216" y="727"/>
                </a:lnTo>
                <a:lnTo>
                  <a:pt x="2214" y="748"/>
                </a:lnTo>
                <a:lnTo>
                  <a:pt x="2207" y="766"/>
                </a:lnTo>
                <a:lnTo>
                  <a:pt x="2194" y="780"/>
                </a:lnTo>
                <a:lnTo>
                  <a:pt x="2179" y="793"/>
                </a:lnTo>
                <a:lnTo>
                  <a:pt x="2162" y="801"/>
                </a:lnTo>
                <a:lnTo>
                  <a:pt x="2142" y="803"/>
                </a:lnTo>
                <a:lnTo>
                  <a:pt x="2122" y="801"/>
                </a:lnTo>
                <a:lnTo>
                  <a:pt x="2104" y="793"/>
                </a:lnTo>
                <a:lnTo>
                  <a:pt x="2088" y="780"/>
                </a:lnTo>
                <a:lnTo>
                  <a:pt x="2077" y="766"/>
                </a:lnTo>
                <a:lnTo>
                  <a:pt x="2069" y="748"/>
                </a:lnTo>
                <a:lnTo>
                  <a:pt x="2066" y="727"/>
                </a:lnTo>
                <a:lnTo>
                  <a:pt x="2066" y="360"/>
                </a:lnTo>
                <a:lnTo>
                  <a:pt x="2069" y="340"/>
                </a:lnTo>
                <a:lnTo>
                  <a:pt x="2077" y="322"/>
                </a:lnTo>
                <a:lnTo>
                  <a:pt x="2088" y="307"/>
                </a:lnTo>
                <a:lnTo>
                  <a:pt x="2104" y="295"/>
                </a:lnTo>
                <a:lnTo>
                  <a:pt x="2122" y="287"/>
                </a:lnTo>
                <a:lnTo>
                  <a:pt x="2142" y="285"/>
                </a:lnTo>
                <a:close/>
                <a:moveTo>
                  <a:pt x="1315" y="285"/>
                </a:moveTo>
                <a:lnTo>
                  <a:pt x="1335" y="287"/>
                </a:lnTo>
                <a:lnTo>
                  <a:pt x="1353" y="295"/>
                </a:lnTo>
                <a:lnTo>
                  <a:pt x="1368" y="307"/>
                </a:lnTo>
                <a:lnTo>
                  <a:pt x="1380" y="322"/>
                </a:lnTo>
                <a:lnTo>
                  <a:pt x="1388" y="340"/>
                </a:lnTo>
                <a:lnTo>
                  <a:pt x="1390" y="360"/>
                </a:lnTo>
                <a:lnTo>
                  <a:pt x="1390" y="727"/>
                </a:lnTo>
                <a:lnTo>
                  <a:pt x="1388" y="748"/>
                </a:lnTo>
                <a:lnTo>
                  <a:pt x="1380" y="766"/>
                </a:lnTo>
                <a:lnTo>
                  <a:pt x="1368" y="780"/>
                </a:lnTo>
                <a:lnTo>
                  <a:pt x="1353" y="793"/>
                </a:lnTo>
                <a:lnTo>
                  <a:pt x="1335" y="801"/>
                </a:lnTo>
                <a:lnTo>
                  <a:pt x="1315" y="803"/>
                </a:lnTo>
                <a:lnTo>
                  <a:pt x="1295" y="801"/>
                </a:lnTo>
                <a:lnTo>
                  <a:pt x="1277" y="793"/>
                </a:lnTo>
                <a:lnTo>
                  <a:pt x="1262" y="780"/>
                </a:lnTo>
                <a:lnTo>
                  <a:pt x="1250" y="766"/>
                </a:lnTo>
                <a:lnTo>
                  <a:pt x="1242" y="748"/>
                </a:lnTo>
                <a:lnTo>
                  <a:pt x="1240" y="727"/>
                </a:lnTo>
                <a:lnTo>
                  <a:pt x="1240" y="360"/>
                </a:lnTo>
                <a:lnTo>
                  <a:pt x="1242" y="340"/>
                </a:lnTo>
                <a:lnTo>
                  <a:pt x="1250" y="322"/>
                </a:lnTo>
                <a:lnTo>
                  <a:pt x="1262" y="307"/>
                </a:lnTo>
                <a:lnTo>
                  <a:pt x="1277" y="295"/>
                </a:lnTo>
                <a:lnTo>
                  <a:pt x="1295" y="287"/>
                </a:lnTo>
                <a:lnTo>
                  <a:pt x="1315" y="285"/>
                </a:lnTo>
                <a:close/>
                <a:moveTo>
                  <a:pt x="488" y="285"/>
                </a:moveTo>
                <a:lnTo>
                  <a:pt x="508" y="287"/>
                </a:lnTo>
                <a:lnTo>
                  <a:pt x="527" y="295"/>
                </a:lnTo>
                <a:lnTo>
                  <a:pt x="541" y="307"/>
                </a:lnTo>
                <a:lnTo>
                  <a:pt x="553" y="322"/>
                </a:lnTo>
                <a:lnTo>
                  <a:pt x="561" y="340"/>
                </a:lnTo>
                <a:lnTo>
                  <a:pt x="563" y="360"/>
                </a:lnTo>
                <a:lnTo>
                  <a:pt x="563" y="727"/>
                </a:lnTo>
                <a:lnTo>
                  <a:pt x="561" y="748"/>
                </a:lnTo>
                <a:lnTo>
                  <a:pt x="553" y="766"/>
                </a:lnTo>
                <a:lnTo>
                  <a:pt x="541" y="780"/>
                </a:lnTo>
                <a:lnTo>
                  <a:pt x="527" y="793"/>
                </a:lnTo>
                <a:lnTo>
                  <a:pt x="508" y="801"/>
                </a:lnTo>
                <a:lnTo>
                  <a:pt x="488" y="803"/>
                </a:lnTo>
                <a:lnTo>
                  <a:pt x="468" y="801"/>
                </a:lnTo>
                <a:lnTo>
                  <a:pt x="450" y="793"/>
                </a:lnTo>
                <a:lnTo>
                  <a:pt x="436" y="780"/>
                </a:lnTo>
                <a:lnTo>
                  <a:pt x="423" y="766"/>
                </a:lnTo>
                <a:lnTo>
                  <a:pt x="416" y="748"/>
                </a:lnTo>
                <a:lnTo>
                  <a:pt x="414" y="727"/>
                </a:lnTo>
                <a:lnTo>
                  <a:pt x="414" y="360"/>
                </a:lnTo>
                <a:lnTo>
                  <a:pt x="416" y="340"/>
                </a:lnTo>
                <a:lnTo>
                  <a:pt x="423" y="322"/>
                </a:lnTo>
                <a:lnTo>
                  <a:pt x="436" y="307"/>
                </a:lnTo>
                <a:lnTo>
                  <a:pt x="450" y="295"/>
                </a:lnTo>
                <a:lnTo>
                  <a:pt x="468" y="287"/>
                </a:lnTo>
                <a:lnTo>
                  <a:pt x="488" y="285"/>
                </a:lnTo>
                <a:close/>
                <a:moveTo>
                  <a:pt x="2555" y="0"/>
                </a:moveTo>
                <a:lnTo>
                  <a:pt x="2575" y="2"/>
                </a:lnTo>
                <a:lnTo>
                  <a:pt x="2593" y="10"/>
                </a:lnTo>
                <a:lnTo>
                  <a:pt x="2608" y="22"/>
                </a:lnTo>
                <a:lnTo>
                  <a:pt x="2619" y="37"/>
                </a:lnTo>
                <a:lnTo>
                  <a:pt x="2628" y="55"/>
                </a:lnTo>
                <a:lnTo>
                  <a:pt x="2630" y="75"/>
                </a:lnTo>
                <a:lnTo>
                  <a:pt x="2630" y="879"/>
                </a:lnTo>
                <a:lnTo>
                  <a:pt x="2628" y="899"/>
                </a:lnTo>
                <a:lnTo>
                  <a:pt x="2619" y="917"/>
                </a:lnTo>
                <a:lnTo>
                  <a:pt x="2608" y="931"/>
                </a:lnTo>
                <a:lnTo>
                  <a:pt x="2593" y="944"/>
                </a:lnTo>
                <a:lnTo>
                  <a:pt x="2575" y="951"/>
                </a:lnTo>
                <a:lnTo>
                  <a:pt x="2555" y="953"/>
                </a:lnTo>
                <a:lnTo>
                  <a:pt x="2535" y="951"/>
                </a:lnTo>
                <a:lnTo>
                  <a:pt x="2517" y="944"/>
                </a:lnTo>
                <a:lnTo>
                  <a:pt x="2502" y="931"/>
                </a:lnTo>
                <a:lnTo>
                  <a:pt x="2490" y="917"/>
                </a:lnTo>
                <a:lnTo>
                  <a:pt x="2483" y="899"/>
                </a:lnTo>
                <a:lnTo>
                  <a:pt x="2480" y="879"/>
                </a:lnTo>
                <a:lnTo>
                  <a:pt x="2480" y="75"/>
                </a:lnTo>
                <a:lnTo>
                  <a:pt x="2483" y="55"/>
                </a:lnTo>
                <a:lnTo>
                  <a:pt x="2490" y="37"/>
                </a:lnTo>
                <a:lnTo>
                  <a:pt x="2502" y="22"/>
                </a:lnTo>
                <a:lnTo>
                  <a:pt x="2517" y="10"/>
                </a:lnTo>
                <a:lnTo>
                  <a:pt x="2535" y="2"/>
                </a:lnTo>
                <a:lnTo>
                  <a:pt x="2555" y="0"/>
                </a:lnTo>
                <a:close/>
                <a:moveTo>
                  <a:pt x="902" y="0"/>
                </a:moveTo>
                <a:lnTo>
                  <a:pt x="922" y="2"/>
                </a:lnTo>
                <a:lnTo>
                  <a:pt x="939" y="10"/>
                </a:lnTo>
                <a:lnTo>
                  <a:pt x="955" y="22"/>
                </a:lnTo>
                <a:lnTo>
                  <a:pt x="967" y="37"/>
                </a:lnTo>
                <a:lnTo>
                  <a:pt x="974" y="55"/>
                </a:lnTo>
                <a:lnTo>
                  <a:pt x="977" y="75"/>
                </a:lnTo>
                <a:lnTo>
                  <a:pt x="977" y="879"/>
                </a:lnTo>
                <a:lnTo>
                  <a:pt x="974" y="899"/>
                </a:lnTo>
                <a:lnTo>
                  <a:pt x="967" y="917"/>
                </a:lnTo>
                <a:lnTo>
                  <a:pt x="955" y="931"/>
                </a:lnTo>
                <a:lnTo>
                  <a:pt x="939" y="944"/>
                </a:lnTo>
                <a:lnTo>
                  <a:pt x="922" y="951"/>
                </a:lnTo>
                <a:lnTo>
                  <a:pt x="902" y="953"/>
                </a:lnTo>
                <a:lnTo>
                  <a:pt x="882" y="951"/>
                </a:lnTo>
                <a:lnTo>
                  <a:pt x="864" y="944"/>
                </a:lnTo>
                <a:lnTo>
                  <a:pt x="848" y="931"/>
                </a:lnTo>
                <a:lnTo>
                  <a:pt x="837" y="917"/>
                </a:lnTo>
                <a:lnTo>
                  <a:pt x="829" y="899"/>
                </a:lnTo>
                <a:lnTo>
                  <a:pt x="826" y="879"/>
                </a:lnTo>
                <a:lnTo>
                  <a:pt x="826" y="75"/>
                </a:lnTo>
                <a:lnTo>
                  <a:pt x="829" y="55"/>
                </a:lnTo>
                <a:lnTo>
                  <a:pt x="837" y="37"/>
                </a:lnTo>
                <a:lnTo>
                  <a:pt x="848" y="22"/>
                </a:lnTo>
                <a:lnTo>
                  <a:pt x="864" y="10"/>
                </a:lnTo>
                <a:lnTo>
                  <a:pt x="882" y="2"/>
                </a:lnTo>
                <a:lnTo>
                  <a:pt x="902" y="0"/>
                </a:lnTo>
                <a:close/>
              </a:path>
            </a:pathLst>
          </a:custGeom>
          <a:solidFill>
            <a:schemeClr val="tx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en-US" sz="2400">
              <a:solidFill>
                <a:schemeClr val="bg1">
                  <a:lumMod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6914473"/>
      </p:ext>
    </p:extLst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g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555235" y="1220547"/>
            <a:ext cx="6576817" cy="3426595"/>
          </a:xfrm>
          <a:prstGeom prst="rect">
            <a:avLst/>
          </a:prstGeom>
          <a:noFill/>
        </p:spPr>
        <p:txBody>
          <a:bodyPr anchor="b">
            <a:noAutofit/>
          </a:bodyPr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6133" b="0" i="0" spc="0" baseline="0">
                <a:solidFill>
                  <a:schemeClr val="bg2"/>
                </a:solidFill>
                <a:latin typeface="+mj-lt"/>
                <a:ea typeface="CiscoSansTT Thin" charset="0"/>
                <a:cs typeface="CiscoSansTT Thin" charset="0"/>
              </a:defRPr>
            </a:lvl1pPr>
          </a:lstStyle>
          <a:p>
            <a:r>
              <a:rPr lang="en-GB"/>
              <a:t>Section Title Goes Here</a:t>
            </a:r>
            <a:endParaRPr lang="en-US"/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9117" b="9632"/>
          <a:stretch/>
        </p:blipFill>
        <p:spPr>
          <a:xfrm>
            <a:off x="6218182" y="3365399"/>
            <a:ext cx="5973820" cy="34926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2018498"/>
      </p:ext>
    </p:extLst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gue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555235" y="1220547"/>
            <a:ext cx="6576817" cy="3426595"/>
          </a:xfrm>
          <a:prstGeom prst="rect">
            <a:avLst/>
          </a:prstGeom>
          <a:noFill/>
        </p:spPr>
        <p:txBody>
          <a:bodyPr anchor="b">
            <a:noAutofit/>
          </a:bodyPr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6133" b="0" i="0" spc="0" baseline="0">
                <a:solidFill>
                  <a:schemeClr val="tx2"/>
                </a:solidFill>
                <a:latin typeface="+mj-lt"/>
                <a:ea typeface="CiscoSansTT Thin" charset="0"/>
                <a:cs typeface="CiscoSansTT Thin" charset="0"/>
              </a:defRPr>
            </a:lvl1pPr>
          </a:lstStyle>
          <a:p>
            <a:r>
              <a:rPr lang="en-GB"/>
              <a:t>Section Title Goes Here</a:t>
            </a:r>
            <a:endParaRPr lang="en-US"/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9117" b="9632"/>
          <a:stretch/>
        </p:blipFill>
        <p:spPr>
          <a:xfrm>
            <a:off x="6218182" y="3365399"/>
            <a:ext cx="5973820" cy="34926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9360787"/>
      </p:ext>
    </p:extLst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Slide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>
              <a:solidFill>
                <a:schemeClr val="tx2"/>
              </a:solidFill>
            </a:endParaRPr>
          </a:p>
        </p:txBody>
      </p:sp>
      <p:sp>
        <p:nvSpPr>
          <p:cNvPr id="3" name="Text Placeholder 9"/>
          <p:cNvSpPr>
            <a:spLocks noGrp="1"/>
          </p:cNvSpPr>
          <p:nvPr>
            <p:ph type="body" sz="quarter" idx="11"/>
          </p:nvPr>
        </p:nvSpPr>
        <p:spPr>
          <a:xfrm>
            <a:off x="624417" y="5221411"/>
            <a:ext cx="10389145" cy="465808"/>
          </a:xfrm>
          <a:prstGeom prst="rect">
            <a:avLst/>
          </a:prstGeom>
        </p:spPr>
        <p:txBody>
          <a:bodyPr wrap="square" lIns="91420" tIns="45710" rIns="91420" bIns="45710" anchor="b" anchorCtr="0">
            <a:noAutofit/>
          </a:bodyPr>
          <a:lstStyle>
            <a:lvl1pPr marL="0" indent="0" algn="l" defTabSz="804767">
              <a:lnSpc>
                <a:spcPct val="100000"/>
              </a:lnSpc>
              <a:spcBef>
                <a:spcPct val="50000"/>
              </a:spcBef>
              <a:buNone/>
              <a:defRPr sz="2933" b="0" i="0">
                <a:solidFill>
                  <a:schemeClr val="bg2"/>
                </a:solidFill>
                <a:latin typeface="+mn-lt"/>
                <a:cs typeface="CiscoSans ExtraLight"/>
              </a:defRPr>
            </a:lvl1pPr>
            <a:lvl2pPr>
              <a:buFont typeface="Arial" pitchFamily="34" charset="0"/>
              <a:buNone/>
              <a:defRPr sz="1467"/>
            </a:lvl2pPr>
            <a:lvl3pPr>
              <a:buFont typeface="Arial" pitchFamily="34" charset="0"/>
              <a:buNone/>
              <a:defRPr sz="1467"/>
            </a:lvl3pPr>
            <a:lvl4pPr>
              <a:buFont typeface="Arial" pitchFamily="34" charset="0"/>
              <a:buNone/>
              <a:defRPr sz="1467"/>
            </a:lvl4pPr>
            <a:lvl5pPr>
              <a:buFont typeface="Arial" pitchFamily="34" charset="0"/>
              <a:buNone/>
              <a:defRPr sz="1467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Title 1"/>
          <p:cNvSpPr>
            <a:spLocks noGrp="1"/>
          </p:cNvSpPr>
          <p:nvPr>
            <p:ph type="ctrTitle"/>
          </p:nvPr>
        </p:nvSpPr>
        <p:spPr>
          <a:xfrm>
            <a:off x="383897" y="2054071"/>
            <a:ext cx="10629664" cy="3038449"/>
          </a:xfrm>
          <a:prstGeom prst="rect">
            <a:avLst/>
          </a:prstGeom>
        </p:spPr>
        <p:txBody>
          <a:bodyPr>
            <a:noAutofit/>
          </a:bodyPr>
          <a:lstStyle>
            <a:lvl1pPr marL="244800" indent="-533291" algn="l">
              <a:lnSpc>
                <a:spcPct val="90000"/>
              </a:lnSpc>
              <a:defRPr sz="5333" b="0" i="1" spc="0" baseline="0">
                <a:solidFill>
                  <a:schemeClr val="bg2"/>
                </a:solidFill>
                <a:latin typeface="+mj-lt"/>
                <a:cs typeface="CiscoSans Thin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57329569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5143A888-2FF7-460B-8488-88710C99F16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91922532"/>
      </p:ext>
    </p:extLst>
  </p:cSld>
  <p:clrMapOvr>
    <a:masterClrMapping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Quote Slide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>
              <a:solidFill>
                <a:schemeClr val="tx2"/>
              </a:solidFill>
            </a:endParaRPr>
          </a:p>
        </p:txBody>
      </p:sp>
      <p:sp>
        <p:nvSpPr>
          <p:cNvPr id="3" name="Text Placeholder 9"/>
          <p:cNvSpPr>
            <a:spLocks noGrp="1"/>
          </p:cNvSpPr>
          <p:nvPr>
            <p:ph type="body" sz="quarter" idx="11"/>
          </p:nvPr>
        </p:nvSpPr>
        <p:spPr>
          <a:xfrm>
            <a:off x="624417" y="5221411"/>
            <a:ext cx="10389145" cy="465808"/>
          </a:xfrm>
          <a:prstGeom prst="rect">
            <a:avLst/>
          </a:prstGeom>
        </p:spPr>
        <p:txBody>
          <a:bodyPr wrap="square" lIns="91420" tIns="45710" rIns="91420" bIns="45710" anchor="b" anchorCtr="0">
            <a:noAutofit/>
          </a:bodyPr>
          <a:lstStyle>
            <a:lvl1pPr marL="0" indent="0" algn="l" defTabSz="804767">
              <a:lnSpc>
                <a:spcPct val="100000"/>
              </a:lnSpc>
              <a:spcBef>
                <a:spcPct val="50000"/>
              </a:spcBef>
              <a:buNone/>
              <a:defRPr sz="2933" b="0" i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>
              <a:buFont typeface="Arial" pitchFamily="34" charset="0"/>
              <a:buNone/>
              <a:defRPr sz="1467"/>
            </a:lvl2pPr>
            <a:lvl3pPr>
              <a:buFont typeface="Arial" pitchFamily="34" charset="0"/>
              <a:buNone/>
              <a:defRPr sz="1467"/>
            </a:lvl3pPr>
            <a:lvl4pPr>
              <a:buFont typeface="Arial" pitchFamily="34" charset="0"/>
              <a:buNone/>
              <a:defRPr sz="1467"/>
            </a:lvl4pPr>
            <a:lvl5pPr>
              <a:buFont typeface="Arial" pitchFamily="34" charset="0"/>
              <a:buNone/>
              <a:defRPr sz="1467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Title 1"/>
          <p:cNvSpPr>
            <a:spLocks noGrp="1"/>
          </p:cNvSpPr>
          <p:nvPr>
            <p:ph type="ctrTitle"/>
          </p:nvPr>
        </p:nvSpPr>
        <p:spPr>
          <a:xfrm>
            <a:off x="383897" y="2054071"/>
            <a:ext cx="10629664" cy="3038449"/>
          </a:xfrm>
          <a:prstGeom prst="rect">
            <a:avLst/>
          </a:prstGeom>
        </p:spPr>
        <p:txBody>
          <a:bodyPr>
            <a:noAutofit/>
          </a:bodyPr>
          <a:lstStyle>
            <a:lvl1pPr marL="244800" indent="-533291" algn="l">
              <a:lnSpc>
                <a:spcPct val="90000"/>
              </a:lnSpc>
              <a:defRPr sz="5333" b="0" i="1" spc="0" baseline="0">
                <a:solidFill>
                  <a:schemeClr val="tx2"/>
                </a:solidFill>
                <a:latin typeface="+mj-lt"/>
                <a:cs typeface="CiscoSans Thin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612094713"/>
      </p:ext>
    </p:extLst>
  </p:cSld>
  <p:clrMapOvr>
    <a:masterClrMapping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Full Bleed Photo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prstGeom prst="rect">
            <a:avLst/>
          </a:prstGeom>
        </p:spPr>
        <p:txBody>
          <a:bodyPr vert="horz" lIns="91420" tIns="45710" rIns="91420" bIns="45710"/>
          <a:lstStyle>
            <a:lvl1pPr marL="0" indent="0" algn="ctr">
              <a:buNone/>
              <a:defRPr sz="2933" baseline="0">
                <a:solidFill>
                  <a:schemeClr val="tx1"/>
                </a:solidFill>
                <a:latin typeface="+mj-lt"/>
                <a:cs typeface="CiscoSans ExtraLight"/>
              </a:defRPr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1"/>
          </p:nvPr>
        </p:nvSpPr>
        <p:spPr bwMode="auto">
          <a:xfrm>
            <a:off x="666753" y="5233662"/>
            <a:ext cx="10852149" cy="663195"/>
          </a:xfrm>
          <a:prstGeom prst="rect">
            <a:avLst/>
          </a:prstGeom>
          <a:noFill/>
        </p:spPr>
        <p:txBody>
          <a:bodyPr wrap="square" lIns="182880" tIns="91440" rIns="182880" bIns="91440" numCol="1" anchor="ctr" anchorCtr="0" compatLnSpc="1">
            <a:prstTxWarp prst="textNoShape">
              <a:avLst/>
            </a:prstTxWarp>
            <a:spAutoFit/>
          </a:bodyPr>
          <a:lstStyle>
            <a:lvl1pPr marL="0" indent="0" algn="ctr">
              <a:lnSpc>
                <a:spcPts val="3867"/>
              </a:lnSpc>
              <a:spcBef>
                <a:spcPts val="0"/>
              </a:spcBef>
              <a:buNone/>
              <a:defRPr sz="3200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84902127"/>
      </p:ext>
    </p:extLst>
  </p:cSld>
  <p:clrMapOvr>
    <a:masterClrMapping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alf Page Photo With Text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1" y="4"/>
            <a:ext cx="12401551" cy="3790949"/>
          </a:xfrm>
          <a:prstGeom prst="rect">
            <a:avLst/>
          </a:prstGeom>
          <a:solidFill>
            <a:schemeClr val="bg2"/>
          </a:solidFill>
        </p:spPr>
        <p:txBody>
          <a:bodyPr vert="horz" lIns="91420" tIns="45710" rIns="91420" bIns="45710"/>
          <a:lstStyle>
            <a:lvl1pPr marL="0" indent="0" algn="ctr">
              <a:buNone/>
              <a:defRPr sz="2933" baseline="0">
                <a:solidFill>
                  <a:schemeClr val="tx1"/>
                </a:solidFill>
                <a:latin typeface="+mj-lt"/>
                <a:cs typeface="CiscoSans ExtraLight"/>
              </a:defRPr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598380" y="4072692"/>
            <a:ext cx="11152315" cy="716158"/>
          </a:xfrm>
          <a:prstGeom prst="rect">
            <a:avLst/>
          </a:prstGeom>
        </p:spPr>
        <p:txBody>
          <a:bodyPr vert="horz" wrap="square">
            <a:spAutoFit/>
          </a:bodyPr>
          <a:lstStyle>
            <a:lvl1pPr marL="0" indent="0">
              <a:buNone/>
              <a:defRPr sz="4267" baseline="0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658841208"/>
      </p:ext>
    </p:extLst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Full bleed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1" y="0"/>
            <a:ext cx="12196464" cy="6858000"/>
          </a:xfrm>
          <a:prstGeom prst="rect">
            <a:avLst/>
          </a:prstGeom>
        </p:spPr>
        <p:txBody>
          <a:bodyPr vert="horz" lIns="91420" tIns="45710" rIns="91420" bIns="45710"/>
          <a:lstStyle>
            <a:lvl1pPr marL="0" indent="0" algn="ctr">
              <a:buNone/>
              <a:defRPr sz="2933" baseline="0">
                <a:solidFill>
                  <a:schemeClr val="tx1"/>
                </a:solidFill>
                <a:latin typeface="+mj-lt"/>
                <a:cs typeface="CiscoSans ExtraLight"/>
              </a:defRPr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1636815346"/>
      </p:ext>
    </p:extLst>
  </p:cSld>
  <p:clrMapOvr>
    <a:masterClrMapping/>
  </p:clrMapOvr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Full bleed photo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1" y="0"/>
            <a:ext cx="12124267" cy="68580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67">
              <a:latin typeface="+mj-lt"/>
            </a:endParaRPr>
          </a:p>
        </p:txBody>
      </p:sp>
      <p:sp>
        <p:nvSpPr>
          <p:cNvPr id="5" name="Rectangle 4"/>
          <p:cNvSpPr>
            <a:spLocks noChangeArrowheads="1"/>
          </p:cNvSpPr>
          <p:nvPr userDrawn="1"/>
        </p:nvSpPr>
        <p:spPr bwMode="ltGray">
          <a:xfrm>
            <a:off x="636908" y="6322208"/>
            <a:ext cx="4622389" cy="206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114" tIns="41056" rIns="82114" bIns="41056" anchor="b">
            <a:spAutoFit/>
          </a:bodyPr>
          <a:lstStyle/>
          <a:p>
            <a:pPr algn="l" defTabSz="814326" rtl="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kern="1200" spc="27" baseline="0">
                <a:solidFill>
                  <a:schemeClr val="accent1">
                    <a:lumMod val="75000"/>
                  </a:schemeClr>
                </a:solidFill>
                <a:latin typeface="+mn-lt"/>
                <a:ea typeface="+mn-ea"/>
                <a:cs typeface="CiscoSans Thin"/>
              </a:rPr>
              <a:t>© 2019  Cisco and/or its affiliates. All rights reserved.   Cisco Confidential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410684" y="320844"/>
            <a:ext cx="11307184" cy="5688861"/>
          </a:xfrm>
          <a:prstGeom prst="rect">
            <a:avLst/>
          </a:prstGeom>
          <a:solidFill>
            <a:schemeClr val="bg2"/>
          </a:solidFill>
        </p:spPr>
        <p:txBody>
          <a:bodyPr vert="horz" lIns="91424" tIns="45712" rIns="91424" bIns="45712"/>
          <a:lstStyle>
            <a:lvl1pPr marL="0" indent="0" algn="ctr">
              <a:buNone/>
              <a:defRPr sz="2000" baseline="0">
                <a:solidFill>
                  <a:schemeClr val="tx1"/>
                </a:solidFill>
                <a:latin typeface="+mj-lt"/>
                <a:cs typeface="CiscoSans ExtraLight"/>
              </a:defRPr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3942777427"/>
      </p:ext>
    </p:extLst>
  </p:cSld>
  <p:clrMapOvr>
    <a:masterClrMapping/>
  </p:clrMapOvr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616402" y="1602317"/>
            <a:ext cx="11036459" cy="4519083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304800" indent="-228600">
              <a:lnSpc>
                <a:spcPct val="95000"/>
              </a:lnSpc>
              <a:spcBef>
                <a:spcPts val="1481"/>
              </a:spcBef>
              <a:buClr>
                <a:schemeClr val="tx1"/>
              </a:buClr>
              <a:buSzPct val="80000"/>
              <a:buFont typeface="Arial"/>
              <a:buChar char="•"/>
              <a:defRPr sz="2667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1pPr>
            <a:lvl2pPr marL="609600" indent="-220134">
              <a:lnSpc>
                <a:spcPct val="95000"/>
              </a:lnSpc>
              <a:spcBef>
                <a:spcPts val="601"/>
              </a:spcBef>
              <a:buClr>
                <a:schemeClr val="tx1"/>
              </a:buClr>
              <a:buSzPct val="80000"/>
              <a:buFont typeface="Arial"/>
              <a:buChar char="•"/>
              <a:defRPr sz="24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2pPr>
            <a:lvl3pPr marL="914399" indent="-146050">
              <a:buClr>
                <a:schemeClr val="tx1"/>
              </a:buClr>
              <a:buSzPct val="80000"/>
              <a:buFont typeface="Arial"/>
              <a:buChar char="•"/>
              <a:defRPr sz="2133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3pPr>
            <a:lvl4pPr marL="1214713" indent="-228553">
              <a:buClr>
                <a:schemeClr val="tx1"/>
              </a:buClr>
              <a:buSzPct val="80000"/>
              <a:buFont typeface="Arial"/>
              <a:buChar char="•"/>
              <a:defRPr sz="1867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4pPr>
            <a:lvl5pPr marL="1443267" indent="-224319"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5pPr>
          </a:lstStyle>
          <a:p>
            <a:pPr lvl="0"/>
            <a:r>
              <a:rPr lang="en-GB"/>
              <a:t>First level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6" name="Title Placeholder 5"/>
          <p:cNvSpPr>
            <a:spLocks noGrp="1"/>
          </p:cNvSpPr>
          <p:nvPr>
            <p:ph type="title"/>
          </p:nvPr>
        </p:nvSpPr>
        <p:spPr bwMode="auto">
          <a:xfrm>
            <a:off x="583689" y="455085"/>
            <a:ext cx="11127317" cy="9757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>
              <a:defRPr sz="3733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616775231"/>
      </p:ext>
    </p:extLst>
  </p:cSld>
  <p:clrMapOvr>
    <a:masterClrMapping/>
  </p:clrMapOvr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ullet_Heavy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711199" y="1607864"/>
            <a:ext cx="5181600" cy="4110792"/>
          </a:xfrm>
          <a:prstGeom prst="rect">
            <a:avLst/>
          </a:prstGeom>
        </p:spPr>
        <p:txBody>
          <a:bodyPr lIns="0" tIns="45710" rIns="0" bIns="45710">
            <a:noAutofit/>
          </a:bodyPr>
          <a:lstStyle>
            <a:lvl1pPr marL="232834" indent="-156633">
              <a:lnSpc>
                <a:spcPct val="95000"/>
              </a:lnSpc>
              <a:spcBef>
                <a:spcPts val="1481"/>
              </a:spcBef>
              <a:buClr>
                <a:schemeClr val="tx1"/>
              </a:buClr>
              <a:buSzPct val="60000"/>
              <a:buFont typeface="Arial"/>
              <a:buChar char="•"/>
              <a:defRPr sz="2667" b="0" i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 marL="385234" indent="-152400">
              <a:lnSpc>
                <a:spcPct val="95000"/>
              </a:lnSpc>
              <a:spcBef>
                <a:spcPts val="601"/>
              </a:spcBef>
              <a:buClr>
                <a:schemeClr val="tx1"/>
              </a:buClr>
              <a:buSzPct val="60000"/>
              <a:buFont typeface="Arial"/>
              <a:buChar char="•"/>
              <a:defRPr sz="2400" b="0" i="0">
                <a:solidFill>
                  <a:schemeClr val="tx1"/>
                </a:solidFill>
                <a:latin typeface="+mn-lt"/>
                <a:cs typeface="CiscoSans ExtraLight"/>
              </a:defRPr>
            </a:lvl2pPr>
            <a:lvl3pPr marL="537633" indent="-152400">
              <a:buClr>
                <a:schemeClr val="tx1"/>
              </a:buClr>
              <a:buSzPct val="60000"/>
              <a:buFont typeface="Arial"/>
              <a:buChar char="•"/>
              <a:defRPr sz="2133" b="0" i="0">
                <a:solidFill>
                  <a:schemeClr val="tx1"/>
                </a:solidFill>
                <a:latin typeface="+mn-lt"/>
                <a:cs typeface="CiscoSans ExtraLight"/>
              </a:defRPr>
            </a:lvl3pPr>
            <a:lvl4pPr marL="690033" indent="-152400">
              <a:buClr>
                <a:schemeClr val="tx1"/>
              </a:buClr>
              <a:buSzPct val="60000"/>
              <a:buFont typeface="Arial"/>
              <a:buChar char="•"/>
              <a:defRPr sz="1867" b="0" i="0">
                <a:solidFill>
                  <a:schemeClr val="tx1"/>
                </a:solidFill>
                <a:latin typeface="+mn-lt"/>
                <a:cs typeface="CiscoSans ExtraLight"/>
              </a:defRPr>
            </a:lvl4pPr>
            <a:lvl5pPr marL="842433" indent="-152400">
              <a:buClr>
                <a:schemeClr val="tx1"/>
              </a:buClr>
              <a:buSzPct val="60000"/>
              <a:buFont typeface="Arial"/>
              <a:buChar char="•"/>
              <a:defRPr sz="1600" b="0" i="0">
                <a:solidFill>
                  <a:schemeClr val="tx1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341154" y="1607864"/>
            <a:ext cx="5181600" cy="4110792"/>
          </a:xfrm>
          <a:prstGeom prst="rect">
            <a:avLst/>
          </a:prstGeom>
        </p:spPr>
        <p:txBody>
          <a:bodyPr lIns="0" tIns="45710" rIns="0" bIns="45710">
            <a:noAutofit/>
          </a:bodyPr>
          <a:lstStyle>
            <a:lvl1pPr marL="232834" indent="-156633">
              <a:lnSpc>
                <a:spcPct val="95000"/>
              </a:lnSpc>
              <a:spcBef>
                <a:spcPts val="1481"/>
              </a:spcBef>
              <a:buClr>
                <a:schemeClr val="tx1"/>
              </a:buClr>
              <a:buSzPct val="60000"/>
              <a:buFont typeface="Arial"/>
              <a:buChar char="•"/>
              <a:defRPr sz="2667" b="0" i="0" baseline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 marL="385234" indent="-152400">
              <a:lnSpc>
                <a:spcPct val="95000"/>
              </a:lnSpc>
              <a:spcBef>
                <a:spcPts val="601"/>
              </a:spcBef>
              <a:buClr>
                <a:schemeClr val="tx1"/>
              </a:buClr>
              <a:buSzPct val="60000"/>
              <a:buFont typeface="Arial"/>
              <a:buChar char="•"/>
              <a:defRPr sz="2400" b="0" i="0">
                <a:solidFill>
                  <a:schemeClr val="tx1"/>
                </a:solidFill>
                <a:latin typeface="+mn-lt"/>
                <a:cs typeface="CiscoSans ExtraLight"/>
              </a:defRPr>
            </a:lvl2pPr>
            <a:lvl3pPr marL="537633" indent="-152400">
              <a:buClr>
                <a:schemeClr val="tx1"/>
              </a:buClr>
              <a:buSzPct val="60000"/>
              <a:buFont typeface="Arial"/>
              <a:buChar char="•"/>
              <a:defRPr sz="2133" b="0" i="0">
                <a:solidFill>
                  <a:schemeClr val="tx1"/>
                </a:solidFill>
                <a:latin typeface="+mn-lt"/>
                <a:cs typeface="CiscoSans ExtraLight"/>
              </a:defRPr>
            </a:lvl3pPr>
            <a:lvl4pPr marL="690033" indent="-152400">
              <a:buClr>
                <a:schemeClr val="tx1"/>
              </a:buClr>
              <a:buSzPct val="60000"/>
              <a:buFont typeface="Arial"/>
              <a:buChar char="•"/>
              <a:defRPr sz="1867" b="0" i="0">
                <a:solidFill>
                  <a:schemeClr val="tx1"/>
                </a:solidFill>
                <a:latin typeface="+mn-lt"/>
                <a:cs typeface="CiscoSans ExtraLight"/>
              </a:defRPr>
            </a:lvl4pPr>
            <a:lvl5pPr marL="842433" indent="-152400">
              <a:buClr>
                <a:schemeClr val="tx1"/>
              </a:buClr>
              <a:buSzPct val="60000"/>
              <a:buFont typeface="Arial"/>
              <a:buChar char="•"/>
              <a:defRPr sz="1600" b="0" i="0">
                <a:solidFill>
                  <a:schemeClr val="tx1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itle Placeholder 5"/>
          <p:cNvSpPr>
            <a:spLocks noGrp="1"/>
          </p:cNvSpPr>
          <p:nvPr>
            <p:ph type="title"/>
          </p:nvPr>
        </p:nvSpPr>
        <p:spPr bwMode="auto">
          <a:xfrm>
            <a:off x="583689" y="455085"/>
            <a:ext cx="11127317" cy="9757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3733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03106575"/>
      </p:ext>
    </p:extLst>
  </p:cSld>
  <p:clrMapOvr>
    <a:masterClrMapping/>
  </p:clrMapOvr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583689" y="455085"/>
            <a:ext cx="11127317" cy="9757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>
              <a:defRPr sz="3733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737898855"/>
      </p:ext>
    </p:extLst>
  </p:cSld>
  <p:clrMapOvr>
    <a:masterClrMapping/>
  </p:clrMapOvr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07849571"/>
      </p:ext>
    </p:extLst>
  </p:cSld>
  <p:clrMapOvr>
    <a:masterClrMapping/>
  </p:clrMapOvr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able Placeholder 11"/>
          <p:cNvSpPr>
            <a:spLocks noGrp="1"/>
          </p:cNvSpPr>
          <p:nvPr>
            <p:ph type="tbl" sz="quarter" idx="12"/>
          </p:nvPr>
        </p:nvSpPr>
        <p:spPr>
          <a:xfrm>
            <a:off x="711201" y="1797053"/>
            <a:ext cx="10820400" cy="3544971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0" indent="0" algn="ctr">
              <a:buNone/>
              <a:defRPr sz="2667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noProof="0"/>
              <a:t>Click icon to add table</a:t>
            </a:r>
            <a:endParaRPr lang="en-GB" noProof="0"/>
          </a:p>
        </p:txBody>
      </p:sp>
      <p:sp>
        <p:nvSpPr>
          <p:cNvPr id="6" name="Text Placeholder 9"/>
          <p:cNvSpPr>
            <a:spLocks noGrp="1"/>
          </p:cNvSpPr>
          <p:nvPr>
            <p:ph type="body" sz="quarter" idx="11"/>
          </p:nvPr>
        </p:nvSpPr>
        <p:spPr>
          <a:xfrm>
            <a:off x="583692" y="5530963"/>
            <a:ext cx="9573749" cy="434977"/>
          </a:xfrm>
          <a:prstGeom prst="rect">
            <a:avLst/>
          </a:prstGeom>
        </p:spPr>
        <p:txBody>
          <a:bodyPr wrap="square" lIns="91420" tIns="45710" rIns="91420" bIns="45710" anchor="b" anchorCtr="0">
            <a:noAutofit/>
          </a:bodyPr>
          <a:lstStyle>
            <a:lvl1pPr algn="l" defTabSz="804767">
              <a:lnSpc>
                <a:spcPct val="100000"/>
              </a:lnSpc>
              <a:spcBef>
                <a:spcPct val="50000"/>
              </a:spcBef>
              <a:buNone/>
              <a:defRPr sz="1867" b="0" i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>
              <a:buFont typeface="Arial" pitchFamily="34" charset="0"/>
              <a:buNone/>
              <a:defRPr sz="1467"/>
            </a:lvl2pPr>
            <a:lvl3pPr>
              <a:buFont typeface="Arial" pitchFamily="34" charset="0"/>
              <a:buNone/>
              <a:defRPr sz="1467"/>
            </a:lvl3pPr>
            <a:lvl4pPr>
              <a:buFont typeface="Arial" pitchFamily="34" charset="0"/>
              <a:buNone/>
              <a:defRPr sz="1467"/>
            </a:lvl4pPr>
            <a:lvl5pPr>
              <a:buFont typeface="Arial" pitchFamily="34" charset="0"/>
              <a:buNone/>
              <a:defRPr sz="1467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Title Placeholder 5"/>
          <p:cNvSpPr>
            <a:spLocks noGrp="1"/>
          </p:cNvSpPr>
          <p:nvPr>
            <p:ph type="title"/>
          </p:nvPr>
        </p:nvSpPr>
        <p:spPr bwMode="auto">
          <a:xfrm>
            <a:off x="583689" y="455085"/>
            <a:ext cx="11127317" cy="9757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3733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9170687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left 3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 Placeholder 14">
            <a:extLst>
              <a:ext uri="{FF2B5EF4-FFF2-40B4-BE49-F238E27FC236}">
                <a16:creationId xmlns:a16="http://schemas.microsoft.com/office/drawing/2014/main" id="{ADB48F9A-75B0-5F46-94A1-49CE344195E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9192684" y="2070101"/>
            <a:ext cx="2275416" cy="364891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="0" i="0">
                <a:solidFill>
                  <a:schemeClr val="accent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defRPr>
            </a:lvl1pPr>
            <a:lvl2pPr>
              <a:defRPr sz="1600" b="0" i="0">
                <a:latin typeface="CiscoSansTT ExtraLight" panose="020B0303020201020303" pitchFamily="34" charset="0"/>
                <a:cs typeface="CiscoSansTT ExtraLight" panose="020B0303020201020303" pitchFamily="34" charset="0"/>
              </a:defRPr>
            </a:lvl2pPr>
            <a:lvl3pPr>
              <a:defRPr sz="1600" b="0" i="0">
                <a:latin typeface="CiscoSansTT ExtraLight" panose="020B0303020201020303" pitchFamily="34" charset="0"/>
                <a:cs typeface="CiscoSansTT ExtraLight" panose="020B0303020201020303" pitchFamily="34" charset="0"/>
              </a:defRPr>
            </a:lvl3pPr>
            <a:lvl4pPr>
              <a:defRPr sz="1600" b="0" i="0">
                <a:latin typeface="CiscoSansTT ExtraLight" panose="020B0303020201020303" pitchFamily="34" charset="0"/>
                <a:cs typeface="CiscoSansTT ExtraLight" panose="020B0303020201020303" pitchFamily="34" charset="0"/>
              </a:defRPr>
            </a:lvl4pPr>
            <a:lvl5pPr>
              <a:defRPr sz="1600" b="0" i="0">
                <a:latin typeface="CiscoSansTT ExtraLight" panose="020B0303020201020303" pitchFamily="34" charset="0"/>
                <a:cs typeface="CiscoSansTT ExtraLight" panose="020B0303020201020303" pitchFamily="34" charset="0"/>
              </a:defRPr>
            </a:lvl5pPr>
          </a:lstStyle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lang="en-US" sz="1600" u="none" strike="noStrike" cap="none">
              <a:solidFill>
                <a:schemeClr val="accent1"/>
              </a:solidFill>
              <a:latin typeface="CiscoSansTT ExtraLight" panose="020B0303020201020303" pitchFamily="34" charset="0"/>
              <a:ea typeface="Helvetica Neue Light"/>
              <a:cs typeface="CiscoSansTT ExtraLight" panose="020B0303020201020303" pitchFamily="34" charset="0"/>
              <a:sym typeface="Helvetica Neue Light"/>
            </a:endParaRPr>
          </a:p>
        </p:txBody>
      </p:sp>
      <p:sp>
        <p:nvSpPr>
          <p:cNvPr id="19" name="Text Placeholder 12">
            <a:extLst>
              <a:ext uri="{FF2B5EF4-FFF2-40B4-BE49-F238E27FC236}">
                <a16:creationId xmlns:a16="http://schemas.microsoft.com/office/drawing/2014/main" id="{DAF50268-6A31-634C-AAB5-22721EE551F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9192684" y="2493085"/>
            <a:ext cx="2275600" cy="3323516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>
                <a:solidFill>
                  <a:schemeClr val="tx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defRPr>
            </a:lvl1pPr>
            <a:lvl2pPr>
              <a:defRPr sz="1333" b="0" i="0">
                <a:latin typeface="CiscoSansTT ExtraLight" panose="020B0303020201020303" pitchFamily="34" charset="0"/>
                <a:cs typeface="CiscoSansTT ExtraLight" panose="020B0303020201020303" pitchFamily="34" charset="0"/>
              </a:defRPr>
            </a:lvl2pPr>
            <a:lvl3pPr>
              <a:defRPr sz="1333" b="0" i="0">
                <a:latin typeface="CiscoSansTT ExtraLight" panose="020B0303020201020303" pitchFamily="34" charset="0"/>
                <a:cs typeface="CiscoSansTT ExtraLight" panose="020B0303020201020303" pitchFamily="34" charset="0"/>
              </a:defRPr>
            </a:lvl3pPr>
            <a:lvl4pPr>
              <a:defRPr sz="1333" b="0" i="0">
                <a:latin typeface="CiscoSansTT ExtraLight" panose="020B0303020201020303" pitchFamily="34" charset="0"/>
                <a:cs typeface="CiscoSansTT ExtraLight" panose="020B0303020201020303" pitchFamily="34" charset="0"/>
              </a:defRPr>
            </a:lvl4pPr>
            <a:lvl5pPr>
              <a:defRPr sz="1333" b="0" i="0">
                <a:latin typeface="CiscoSansTT ExtraLight" panose="020B0303020201020303" pitchFamily="34" charset="0"/>
                <a:cs typeface="CiscoSansTT ExtraLight" panose="020B0303020201020303" pitchFamily="34" charset="0"/>
              </a:defRPr>
            </a:lvl5pPr>
          </a:lstStyle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lang="en-US" sz="1333" u="none" strike="noStrike" cap="none">
              <a:solidFill>
                <a:schemeClr val="tx1"/>
              </a:solidFill>
              <a:latin typeface="CiscoSansTT ExtraLight" panose="020B0303020201020303" pitchFamily="34" charset="0"/>
              <a:ea typeface="Helvetica Neue Light"/>
              <a:cs typeface="CiscoSansTT ExtraLight" panose="020B0303020201020303" pitchFamily="34" charset="0"/>
              <a:sym typeface="Helvetica Neue Light"/>
            </a:endParaRPr>
          </a:p>
        </p:txBody>
      </p:sp>
      <p:sp>
        <p:nvSpPr>
          <p:cNvPr id="16" name="Text Placeholder 14">
            <a:extLst>
              <a:ext uri="{FF2B5EF4-FFF2-40B4-BE49-F238E27FC236}">
                <a16:creationId xmlns:a16="http://schemas.microsoft.com/office/drawing/2014/main" id="{D2BB6F7A-7AC7-4844-8EC1-028D16E4865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709835" y="2070101"/>
            <a:ext cx="2275416" cy="364891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="0" i="0">
                <a:solidFill>
                  <a:schemeClr val="accent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defRPr>
            </a:lvl1pPr>
            <a:lvl2pPr>
              <a:defRPr sz="1600" b="0" i="0">
                <a:latin typeface="CiscoSansTT ExtraLight" panose="020B0303020201020303" pitchFamily="34" charset="0"/>
                <a:cs typeface="CiscoSansTT ExtraLight" panose="020B0303020201020303" pitchFamily="34" charset="0"/>
              </a:defRPr>
            </a:lvl2pPr>
            <a:lvl3pPr>
              <a:defRPr sz="1600" b="0" i="0">
                <a:latin typeface="CiscoSansTT ExtraLight" panose="020B0303020201020303" pitchFamily="34" charset="0"/>
                <a:cs typeface="CiscoSansTT ExtraLight" panose="020B0303020201020303" pitchFamily="34" charset="0"/>
              </a:defRPr>
            </a:lvl3pPr>
            <a:lvl4pPr>
              <a:defRPr sz="1600" b="0" i="0">
                <a:latin typeface="CiscoSansTT ExtraLight" panose="020B0303020201020303" pitchFamily="34" charset="0"/>
                <a:cs typeface="CiscoSansTT ExtraLight" panose="020B0303020201020303" pitchFamily="34" charset="0"/>
              </a:defRPr>
            </a:lvl4pPr>
            <a:lvl5pPr>
              <a:defRPr sz="1600" b="0" i="0">
                <a:latin typeface="CiscoSansTT ExtraLight" panose="020B0303020201020303" pitchFamily="34" charset="0"/>
                <a:cs typeface="CiscoSansTT ExtraLight" panose="020B0303020201020303" pitchFamily="34" charset="0"/>
              </a:defRPr>
            </a:lvl5pPr>
          </a:lstStyle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lang="en-US" sz="1600" u="none" strike="noStrike" cap="none">
              <a:solidFill>
                <a:schemeClr val="accent1"/>
              </a:solidFill>
              <a:latin typeface="CiscoSansTT ExtraLight" panose="020B0303020201020303" pitchFamily="34" charset="0"/>
              <a:ea typeface="Helvetica Neue Light"/>
              <a:cs typeface="CiscoSansTT ExtraLight" panose="020B0303020201020303" pitchFamily="34" charset="0"/>
              <a:sym typeface="Helvetica Neue Light"/>
            </a:endParaRPr>
          </a:p>
        </p:txBody>
      </p:sp>
      <p:sp>
        <p:nvSpPr>
          <p:cNvPr id="17" name="Text Placeholder 12">
            <a:extLst>
              <a:ext uri="{FF2B5EF4-FFF2-40B4-BE49-F238E27FC236}">
                <a16:creationId xmlns:a16="http://schemas.microsoft.com/office/drawing/2014/main" id="{5C8DFF40-598B-3646-93AC-9C973014928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709835" y="2493085"/>
            <a:ext cx="2275600" cy="3323516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>
                <a:solidFill>
                  <a:schemeClr val="tx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defRPr>
            </a:lvl1pPr>
            <a:lvl2pPr>
              <a:defRPr sz="1333" b="0" i="0">
                <a:latin typeface="CiscoSansTT ExtraLight" panose="020B0303020201020303" pitchFamily="34" charset="0"/>
                <a:cs typeface="CiscoSansTT ExtraLight" panose="020B0303020201020303" pitchFamily="34" charset="0"/>
              </a:defRPr>
            </a:lvl2pPr>
            <a:lvl3pPr>
              <a:defRPr sz="1333" b="0" i="0">
                <a:latin typeface="CiscoSansTT ExtraLight" panose="020B0303020201020303" pitchFamily="34" charset="0"/>
                <a:cs typeface="CiscoSansTT ExtraLight" panose="020B0303020201020303" pitchFamily="34" charset="0"/>
              </a:defRPr>
            </a:lvl3pPr>
            <a:lvl4pPr>
              <a:defRPr sz="1333" b="0" i="0">
                <a:latin typeface="CiscoSansTT ExtraLight" panose="020B0303020201020303" pitchFamily="34" charset="0"/>
                <a:cs typeface="CiscoSansTT ExtraLight" panose="020B0303020201020303" pitchFamily="34" charset="0"/>
              </a:defRPr>
            </a:lvl4pPr>
            <a:lvl5pPr>
              <a:defRPr sz="1333" b="0" i="0">
                <a:latin typeface="CiscoSansTT ExtraLight" panose="020B0303020201020303" pitchFamily="34" charset="0"/>
                <a:cs typeface="CiscoSansTT ExtraLight" panose="020B0303020201020303" pitchFamily="34" charset="0"/>
              </a:defRPr>
            </a:lvl5pPr>
          </a:lstStyle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lang="en-US" sz="1333" u="none" strike="noStrike" cap="none">
              <a:solidFill>
                <a:schemeClr val="tx1"/>
              </a:solidFill>
              <a:latin typeface="CiscoSansTT ExtraLight" panose="020B0303020201020303" pitchFamily="34" charset="0"/>
              <a:ea typeface="Helvetica Neue Light"/>
              <a:cs typeface="CiscoSansTT ExtraLight" panose="020B0303020201020303" pitchFamily="34" charset="0"/>
              <a:sym typeface="Helvetica Neue Light"/>
            </a:endParaRP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CC157314-987F-9744-96E8-D4DE674A269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233335" y="2070100"/>
            <a:ext cx="2275416" cy="364891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="0" i="0">
                <a:solidFill>
                  <a:schemeClr val="accent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defRPr>
            </a:lvl1pPr>
            <a:lvl2pPr>
              <a:defRPr sz="1600" b="0" i="0">
                <a:latin typeface="CiscoSansTT ExtraLight" panose="020B0303020201020303" pitchFamily="34" charset="0"/>
                <a:cs typeface="CiscoSansTT ExtraLight" panose="020B0303020201020303" pitchFamily="34" charset="0"/>
              </a:defRPr>
            </a:lvl2pPr>
            <a:lvl3pPr>
              <a:defRPr sz="1600" b="0" i="0">
                <a:latin typeface="CiscoSansTT ExtraLight" panose="020B0303020201020303" pitchFamily="34" charset="0"/>
                <a:cs typeface="CiscoSansTT ExtraLight" panose="020B0303020201020303" pitchFamily="34" charset="0"/>
              </a:defRPr>
            </a:lvl3pPr>
            <a:lvl4pPr>
              <a:defRPr sz="1600" b="0" i="0">
                <a:latin typeface="CiscoSansTT ExtraLight" panose="020B0303020201020303" pitchFamily="34" charset="0"/>
                <a:cs typeface="CiscoSansTT ExtraLight" panose="020B0303020201020303" pitchFamily="34" charset="0"/>
              </a:defRPr>
            </a:lvl4pPr>
            <a:lvl5pPr>
              <a:defRPr sz="1600" b="0" i="0">
                <a:latin typeface="CiscoSansTT ExtraLight" panose="020B0303020201020303" pitchFamily="34" charset="0"/>
                <a:cs typeface="CiscoSansTT ExtraLight" panose="020B0303020201020303" pitchFamily="34" charset="0"/>
              </a:defRPr>
            </a:lvl5pPr>
          </a:lstStyle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lang="en-US" sz="1600" u="none" strike="noStrike" cap="none">
              <a:solidFill>
                <a:schemeClr val="accent1"/>
              </a:solidFill>
              <a:latin typeface="CiscoSansTT ExtraLight" panose="020B0303020201020303" pitchFamily="34" charset="0"/>
              <a:ea typeface="Helvetica Neue Light"/>
              <a:cs typeface="CiscoSansTT ExtraLight" panose="020B0303020201020303" pitchFamily="34" charset="0"/>
              <a:sym typeface="Helvetica Neue Light"/>
            </a:endParaRP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B0033604-EE51-8440-A7C7-387C194270F7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233335" y="2493083"/>
            <a:ext cx="2275600" cy="3323516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>
                <a:solidFill>
                  <a:schemeClr val="tx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defRPr>
            </a:lvl1pPr>
            <a:lvl2pPr>
              <a:defRPr sz="1333" b="0" i="0">
                <a:latin typeface="CiscoSansTT ExtraLight" panose="020B0303020201020303" pitchFamily="34" charset="0"/>
                <a:cs typeface="CiscoSansTT ExtraLight" panose="020B0303020201020303" pitchFamily="34" charset="0"/>
              </a:defRPr>
            </a:lvl2pPr>
            <a:lvl3pPr>
              <a:defRPr sz="1333" b="0" i="0">
                <a:latin typeface="CiscoSansTT ExtraLight" panose="020B0303020201020303" pitchFamily="34" charset="0"/>
                <a:cs typeface="CiscoSansTT ExtraLight" panose="020B0303020201020303" pitchFamily="34" charset="0"/>
              </a:defRPr>
            </a:lvl3pPr>
            <a:lvl4pPr>
              <a:defRPr sz="1333" b="0" i="0">
                <a:latin typeface="CiscoSansTT ExtraLight" panose="020B0303020201020303" pitchFamily="34" charset="0"/>
                <a:cs typeface="CiscoSansTT ExtraLight" panose="020B0303020201020303" pitchFamily="34" charset="0"/>
              </a:defRPr>
            </a:lvl4pPr>
            <a:lvl5pPr>
              <a:defRPr sz="1333" b="0" i="0">
                <a:latin typeface="CiscoSansTT ExtraLight" panose="020B0303020201020303" pitchFamily="34" charset="0"/>
                <a:cs typeface="CiscoSansTT ExtraLight" panose="020B0303020201020303" pitchFamily="34" charset="0"/>
              </a:defRPr>
            </a:lvl5pPr>
          </a:lstStyle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lang="en-US" sz="1333" u="none" strike="noStrike" cap="none">
              <a:solidFill>
                <a:schemeClr val="tx1"/>
              </a:solidFill>
              <a:latin typeface="CiscoSansTT ExtraLight" panose="020B0303020201020303" pitchFamily="34" charset="0"/>
              <a:ea typeface="Helvetica Neue Light"/>
              <a:cs typeface="CiscoSansTT ExtraLight" panose="020B0303020201020303" pitchFamily="34" charset="0"/>
              <a:sym typeface="Helvetica Neue Light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078AEEA-5B48-464E-8502-33863921396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1200" y="2070101"/>
            <a:ext cx="3067051" cy="3746500"/>
          </a:xfrm>
        </p:spPr>
        <p:txBody>
          <a:bodyPr>
            <a:noAutofit/>
          </a:bodyPr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48941128"/>
      </p:ext>
    </p:extLst>
  </p:cSld>
  <p:clrMapOvr>
    <a:masterClrMapping/>
  </p:clrMapOvr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hart Placeholder 2"/>
          <p:cNvSpPr>
            <a:spLocks noGrp="1"/>
          </p:cNvSpPr>
          <p:nvPr>
            <p:ph type="chart" sz="quarter" idx="10"/>
          </p:nvPr>
        </p:nvSpPr>
        <p:spPr>
          <a:xfrm>
            <a:off x="711201" y="1602319"/>
            <a:ext cx="10820400" cy="3744383"/>
          </a:xfrm>
          <a:prstGeom prst="rect">
            <a:avLst/>
          </a:prstGeom>
        </p:spPr>
        <p:txBody>
          <a:bodyPr vert="horz" lIns="91420" tIns="45710" rIns="91420" bIns="45710">
            <a:noAutofit/>
          </a:bodyPr>
          <a:lstStyle>
            <a:lvl1pPr marL="0" indent="0" algn="ctr">
              <a:buNone/>
              <a:defRPr sz="2667" b="0" i="0">
                <a:solidFill>
                  <a:schemeClr val="tx1"/>
                </a:solidFill>
                <a:latin typeface="+mn-lt"/>
                <a:cs typeface="CiscoSans ExtraLight"/>
              </a:defRPr>
            </a:lvl1pPr>
          </a:lstStyle>
          <a:p>
            <a:pPr lvl="0"/>
            <a:r>
              <a:rPr lang="en-US" noProof="0"/>
              <a:t>Click icon to add chart</a:t>
            </a:r>
          </a:p>
        </p:txBody>
      </p:sp>
      <p:sp>
        <p:nvSpPr>
          <p:cNvPr id="7" name="Text Placeholder 9"/>
          <p:cNvSpPr>
            <a:spLocks noGrp="1"/>
          </p:cNvSpPr>
          <p:nvPr>
            <p:ph type="body" sz="quarter" idx="11"/>
          </p:nvPr>
        </p:nvSpPr>
        <p:spPr>
          <a:xfrm>
            <a:off x="583692" y="5530963"/>
            <a:ext cx="9573749" cy="434977"/>
          </a:xfrm>
          <a:prstGeom prst="rect">
            <a:avLst/>
          </a:prstGeom>
        </p:spPr>
        <p:txBody>
          <a:bodyPr wrap="square" lIns="91420" tIns="45710" rIns="91420" bIns="45710" anchor="b" anchorCtr="0">
            <a:noAutofit/>
          </a:bodyPr>
          <a:lstStyle>
            <a:lvl1pPr algn="l" defTabSz="804767">
              <a:lnSpc>
                <a:spcPct val="100000"/>
              </a:lnSpc>
              <a:spcBef>
                <a:spcPct val="50000"/>
              </a:spcBef>
              <a:buNone/>
              <a:defRPr sz="1867" b="0" i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>
              <a:buFont typeface="Arial" pitchFamily="34" charset="0"/>
              <a:buNone/>
              <a:defRPr sz="1467"/>
            </a:lvl2pPr>
            <a:lvl3pPr>
              <a:buFont typeface="Arial" pitchFamily="34" charset="0"/>
              <a:buNone/>
              <a:defRPr sz="1467"/>
            </a:lvl3pPr>
            <a:lvl4pPr>
              <a:buFont typeface="Arial" pitchFamily="34" charset="0"/>
              <a:buNone/>
              <a:defRPr sz="1467"/>
            </a:lvl4pPr>
            <a:lvl5pPr>
              <a:buFont typeface="Arial" pitchFamily="34" charset="0"/>
              <a:buNone/>
              <a:defRPr sz="1467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Title Placeholder 5"/>
          <p:cNvSpPr>
            <a:spLocks noGrp="1"/>
          </p:cNvSpPr>
          <p:nvPr>
            <p:ph type="title"/>
          </p:nvPr>
        </p:nvSpPr>
        <p:spPr bwMode="auto">
          <a:xfrm>
            <a:off x="583689" y="455085"/>
            <a:ext cx="11127317" cy="9757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35229140"/>
      </p:ext>
    </p:extLst>
  </p:cSld>
  <p:clrMapOvr>
    <a:masterClrMapping/>
  </p:clrMapOvr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Half_Page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0" y="0"/>
            <a:ext cx="6106789" cy="68580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67">
              <a:solidFill>
                <a:schemeClr val="bg1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616402" y="2220245"/>
            <a:ext cx="4882699" cy="3901157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232834" indent="-156633">
              <a:lnSpc>
                <a:spcPct val="95000"/>
              </a:lnSpc>
              <a:spcBef>
                <a:spcPts val="1481"/>
              </a:spcBef>
              <a:buClr>
                <a:schemeClr val="tx2"/>
              </a:buClr>
              <a:buSzPct val="60000"/>
              <a:buFont typeface="Arial"/>
              <a:buChar char="•"/>
              <a:defRPr sz="2667" b="0" i="0">
                <a:solidFill>
                  <a:schemeClr val="bg1">
                    <a:lumMod val="75000"/>
                  </a:schemeClr>
                </a:solidFill>
                <a:latin typeface="+mn-lt"/>
                <a:ea typeface="CiscoSansTT Thin" charset="0"/>
                <a:cs typeface="CiscoSansTT Thin" charset="0"/>
              </a:defRPr>
            </a:lvl1pPr>
            <a:lvl2pPr marL="385234" indent="-152400">
              <a:lnSpc>
                <a:spcPct val="95000"/>
              </a:lnSpc>
              <a:spcBef>
                <a:spcPts val="601"/>
              </a:spcBef>
              <a:buClr>
                <a:schemeClr val="tx2"/>
              </a:buClr>
              <a:buSzPct val="60000"/>
              <a:buFont typeface="Arial"/>
              <a:buChar char="•"/>
              <a:defRPr sz="2400" b="0" i="0">
                <a:solidFill>
                  <a:schemeClr val="bg1">
                    <a:lumMod val="75000"/>
                  </a:schemeClr>
                </a:solidFill>
                <a:latin typeface="+mn-lt"/>
                <a:ea typeface="CiscoSansTT Thin" charset="0"/>
                <a:cs typeface="CiscoSansTT Thin" charset="0"/>
              </a:defRPr>
            </a:lvl2pPr>
            <a:lvl3pPr marL="537633" indent="-152400">
              <a:buClr>
                <a:schemeClr val="tx2"/>
              </a:buClr>
              <a:buSzPct val="60000"/>
              <a:buFont typeface="Arial"/>
              <a:buChar char="•"/>
              <a:defRPr sz="2133" b="0" i="0">
                <a:solidFill>
                  <a:schemeClr val="bg1">
                    <a:lumMod val="75000"/>
                  </a:schemeClr>
                </a:solidFill>
                <a:latin typeface="+mn-lt"/>
                <a:ea typeface="CiscoSansTT Thin" charset="0"/>
                <a:cs typeface="CiscoSansTT Thin" charset="0"/>
              </a:defRPr>
            </a:lvl3pPr>
            <a:lvl4pPr marL="690033" indent="-152400">
              <a:buClr>
                <a:schemeClr val="tx2"/>
              </a:buClr>
              <a:buSzPct val="60000"/>
              <a:buFont typeface="Arial"/>
              <a:buChar char="•"/>
              <a:defRPr sz="1867" b="0" i="0">
                <a:solidFill>
                  <a:schemeClr val="bg1">
                    <a:lumMod val="75000"/>
                  </a:schemeClr>
                </a:solidFill>
                <a:latin typeface="+mn-lt"/>
                <a:ea typeface="CiscoSansTT Thin" charset="0"/>
                <a:cs typeface="CiscoSansTT Thin" charset="0"/>
              </a:defRPr>
            </a:lvl4pPr>
            <a:lvl5pPr marL="842433" indent="-152400">
              <a:buClr>
                <a:schemeClr val="tx2"/>
              </a:buClr>
              <a:buSzPct val="60000"/>
              <a:buFont typeface="Arial"/>
              <a:buChar char="•"/>
              <a:defRPr sz="1600" b="0" i="0">
                <a:solidFill>
                  <a:schemeClr val="bg1">
                    <a:lumMod val="75000"/>
                  </a:schemeClr>
                </a:solidFill>
                <a:latin typeface="+mn-lt"/>
                <a:ea typeface="CiscoSansTT Thin" charset="0"/>
                <a:cs typeface="CiscoSansTT Thin" charset="0"/>
              </a:defRPr>
            </a:lvl5pPr>
          </a:lstStyle>
          <a:p>
            <a:pPr lvl="0"/>
            <a:r>
              <a:rPr lang="en-GB"/>
              <a:t>First level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6" name="Title Placeholder 5"/>
          <p:cNvSpPr>
            <a:spLocks noGrp="1"/>
          </p:cNvSpPr>
          <p:nvPr>
            <p:ph type="title"/>
          </p:nvPr>
        </p:nvSpPr>
        <p:spPr bwMode="auto">
          <a:xfrm>
            <a:off x="583688" y="455085"/>
            <a:ext cx="4915412" cy="9757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>
              <a:defRPr sz="4267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itle style</a:t>
            </a:r>
          </a:p>
        </p:txBody>
      </p:sp>
      <p:sp>
        <p:nvSpPr>
          <p:cNvPr id="8" name="Rectangle 4"/>
          <p:cNvSpPr>
            <a:spLocks noChangeArrowheads="1"/>
          </p:cNvSpPr>
          <p:nvPr userDrawn="1"/>
        </p:nvSpPr>
        <p:spPr bwMode="ltGray">
          <a:xfrm>
            <a:off x="636905" y="6322206"/>
            <a:ext cx="4757856" cy="206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114" tIns="41056" rIns="82114" bIns="41056" anchor="b">
            <a:spAutoFit/>
          </a:bodyPr>
          <a:lstStyle/>
          <a:p>
            <a:pPr algn="l" defTabSz="814326" rtl="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kern="1200" spc="27" baseline="0">
                <a:solidFill>
                  <a:schemeClr val="accent1">
                    <a:lumMod val="75000"/>
                  </a:schemeClr>
                </a:solidFill>
                <a:latin typeface="+mn-lt"/>
                <a:ea typeface="+mn-ea"/>
                <a:cs typeface="CiscoSans Thin"/>
              </a:rPr>
              <a:t>© 2019  Cisco and/or its affiliates. All rights reserved.  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22081019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88">
          <p15:clr>
            <a:srgbClr val="FBAE40"/>
          </p15:clr>
        </p15:guide>
        <p15:guide id="3" pos="2598">
          <p15:clr>
            <a:srgbClr val="FBAE40"/>
          </p15:clr>
        </p15:guide>
      </p15:sldGuideLst>
    </p:ext>
  </p:extLst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Half_Page_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6106789" cy="68580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67">
              <a:latin typeface="+mj-lt"/>
            </a:endParaRPr>
          </a:p>
        </p:txBody>
      </p:sp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558801" y="2209800"/>
            <a:ext cx="5103284" cy="2438400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 algn="l" defTabSz="912284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lang="en-GB" sz="4267" kern="1200" dirty="0">
                <a:solidFill>
                  <a:schemeClr val="bg1">
                    <a:lumMod val="75000"/>
                  </a:schemeClr>
                </a:solidFill>
                <a:latin typeface="+mj-lt"/>
                <a:ea typeface="ＭＳ Ｐゴシック" charset="0"/>
                <a:cs typeface="Tipo de letra del sistema Fina" charset="0"/>
              </a:defRPr>
            </a:lvl1pPr>
          </a:lstStyle>
          <a:p>
            <a:pPr lvl="0"/>
            <a:r>
              <a:rPr lang="en-GB"/>
              <a:t>Click to edit Master title sty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6796618" y="709083"/>
            <a:ext cx="4734983" cy="5412316"/>
          </a:xfrm>
          <a:prstGeom prst="rect">
            <a:avLst/>
          </a:prstGeom>
        </p:spPr>
        <p:txBody>
          <a:bodyPr lIns="0" rIns="0" anchor="ctr" anchorCtr="0"/>
          <a:lstStyle>
            <a:lvl1pPr marL="226483" indent="-226483">
              <a:lnSpc>
                <a:spcPct val="100000"/>
              </a:lnSpc>
              <a:buClr>
                <a:schemeClr val="tx1"/>
              </a:buClr>
              <a:buSzPct val="60000"/>
              <a:buFont typeface="Arial" panose="020B0604020202020204" pitchFamily="34" charset="0"/>
              <a:buChar char="•"/>
              <a:tabLst>
                <a:tab pos="304800" algn="l"/>
              </a:tabLst>
              <a:defRPr sz="3200"/>
            </a:lvl1pPr>
            <a:lvl2pPr marL="461433" indent="-228600">
              <a:lnSpc>
                <a:spcPct val="100000"/>
              </a:lnSpc>
              <a:buClr>
                <a:schemeClr val="tx1"/>
              </a:buClr>
              <a:buSzPct val="60000"/>
              <a:buFont typeface="Arial" panose="020B0604020202020204" pitchFamily="34" charset="0"/>
              <a:buChar char="•"/>
              <a:defRPr sz="3200"/>
            </a:lvl2pPr>
            <a:lvl3pPr marL="609600" indent="-156633">
              <a:lnSpc>
                <a:spcPct val="100000"/>
              </a:lnSpc>
              <a:buClr>
                <a:schemeClr val="tx1"/>
              </a:buClr>
              <a:buSzPct val="60000"/>
              <a:buFont typeface="Arial" panose="020B0604020202020204" pitchFamily="34" charset="0"/>
              <a:buChar char="•"/>
              <a:defRPr sz="2667"/>
            </a:lvl3pPr>
            <a:lvl4pPr marL="766233" indent="-156633">
              <a:lnSpc>
                <a:spcPct val="100000"/>
              </a:lnSpc>
              <a:buClr>
                <a:schemeClr val="tx1"/>
              </a:buClr>
              <a:buSzPct val="60000"/>
              <a:buFont typeface="Arial" panose="020B0604020202020204" pitchFamily="34" charset="0"/>
              <a:buChar char="•"/>
              <a:tabLst/>
              <a:defRPr sz="2400"/>
            </a:lvl4pPr>
            <a:lvl5pPr marL="992718" indent="-150284">
              <a:lnSpc>
                <a:spcPct val="100000"/>
              </a:lnSpc>
              <a:buClr>
                <a:schemeClr val="tx1"/>
              </a:buClr>
              <a:buSzPct val="60000"/>
              <a:buFont typeface="Arial" panose="020B0604020202020204" pitchFamily="34" charset="0"/>
              <a:buChar char="•"/>
              <a:defRPr sz="2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Rectangle 4"/>
          <p:cNvSpPr>
            <a:spLocks noChangeArrowheads="1"/>
          </p:cNvSpPr>
          <p:nvPr userDrawn="1"/>
        </p:nvSpPr>
        <p:spPr bwMode="ltGray">
          <a:xfrm>
            <a:off x="636908" y="6322208"/>
            <a:ext cx="4622389" cy="206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114" tIns="41056" rIns="82114" bIns="41056" anchor="b">
            <a:spAutoFit/>
          </a:bodyPr>
          <a:lstStyle/>
          <a:p>
            <a:pPr algn="l" defTabSz="814326" rtl="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kern="1200" spc="27" baseline="0">
                <a:solidFill>
                  <a:schemeClr val="accent1">
                    <a:lumMod val="75000"/>
                  </a:schemeClr>
                </a:solidFill>
                <a:latin typeface="+mn-lt"/>
                <a:ea typeface="+mn-ea"/>
                <a:cs typeface="CiscoSans Thin"/>
              </a:rPr>
              <a:t>© 2019  Cisco and/or its affiliates. All rights reserved.  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6109563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44">
          <p15:clr>
            <a:srgbClr val="FBAE40"/>
          </p15:clr>
        </p15:guide>
        <p15:guide id="2" pos="265">
          <p15:clr>
            <a:srgbClr val="FBAE40"/>
          </p15:clr>
        </p15:guide>
        <p15:guide id="3" orient="horz" pos="2196">
          <p15:clr>
            <a:srgbClr val="FBAE40"/>
          </p15:clr>
        </p15:guide>
        <p15:guide id="4" pos="2674">
          <p15:clr>
            <a:srgbClr val="FBAE40"/>
          </p15:clr>
        </p15:guide>
      </p15:sldGuideLst>
    </p:ext>
  </p:extLst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Half_Page_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6106789" cy="685800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67">
              <a:latin typeface="+mj-lt"/>
            </a:endParaRPr>
          </a:p>
        </p:txBody>
      </p:sp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558801" y="2209800"/>
            <a:ext cx="5103284" cy="2438400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 algn="l" defTabSz="912284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lang="en-GB" sz="4267" kern="1200" dirty="0">
                <a:solidFill>
                  <a:schemeClr val="bg1">
                    <a:lumMod val="75000"/>
                  </a:schemeClr>
                </a:solidFill>
                <a:latin typeface="+mj-lt"/>
                <a:ea typeface="ＭＳ Ｐゴシック" charset="0"/>
                <a:cs typeface="Tipo de letra del sistema Fina" charset="0"/>
              </a:defRPr>
            </a:lvl1pPr>
          </a:lstStyle>
          <a:p>
            <a:pPr lvl="0"/>
            <a:r>
              <a:rPr lang="en-GB"/>
              <a:t>Click to edit Master title sty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6796618" y="709083"/>
            <a:ext cx="4734983" cy="5412316"/>
          </a:xfrm>
          <a:prstGeom prst="rect">
            <a:avLst/>
          </a:prstGeom>
        </p:spPr>
        <p:txBody>
          <a:bodyPr lIns="0" rIns="0" anchor="ctr" anchorCtr="0"/>
          <a:lstStyle>
            <a:lvl1pPr marL="226483" indent="-226483">
              <a:lnSpc>
                <a:spcPct val="100000"/>
              </a:lnSpc>
              <a:buClr>
                <a:schemeClr val="tx1"/>
              </a:buClr>
              <a:buSzPct val="60000"/>
              <a:buFont typeface="Arial" panose="020B0604020202020204" pitchFamily="34" charset="0"/>
              <a:buChar char="•"/>
              <a:tabLst>
                <a:tab pos="304800" algn="l"/>
              </a:tabLst>
              <a:defRPr sz="3200"/>
            </a:lvl1pPr>
            <a:lvl2pPr marL="461433" indent="-228600">
              <a:lnSpc>
                <a:spcPct val="100000"/>
              </a:lnSpc>
              <a:buClr>
                <a:schemeClr val="tx1"/>
              </a:buClr>
              <a:buSzPct val="60000"/>
              <a:buFont typeface="Arial" panose="020B0604020202020204" pitchFamily="34" charset="0"/>
              <a:buChar char="•"/>
              <a:defRPr sz="3200"/>
            </a:lvl2pPr>
            <a:lvl3pPr marL="609600" indent="-156633">
              <a:lnSpc>
                <a:spcPct val="100000"/>
              </a:lnSpc>
              <a:buClr>
                <a:schemeClr val="tx1"/>
              </a:buClr>
              <a:buSzPct val="60000"/>
              <a:buFont typeface="Arial" panose="020B0604020202020204" pitchFamily="34" charset="0"/>
              <a:buChar char="•"/>
              <a:defRPr sz="2667"/>
            </a:lvl3pPr>
            <a:lvl4pPr marL="766233" indent="-156633">
              <a:lnSpc>
                <a:spcPct val="100000"/>
              </a:lnSpc>
              <a:buClr>
                <a:schemeClr val="tx1"/>
              </a:buClr>
              <a:buSzPct val="60000"/>
              <a:buFont typeface="Arial" panose="020B0604020202020204" pitchFamily="34" charset="0"/>
              <a:buChar char="•"/>
              <a:tabLst/>
              <a:defRPr sz="2400"/>
            </a:lvl4pPr>
            <a:lvl5pPr marL="992718" indent="-150284">
              <a:lnSpc>
                <a:spcPct val="100000"/>
              </a:lnSpc>
              <a:buClr>
                <a:schemeClr val="tx1"/>
              </a:buClr>
              <a:buSzPct val="60000"/>
              <a:buFont typeface="Arial" panose="020B0604020202020204" pitchFamily="34" charset="0"/>
              <a:buChar char="•"/>
              <a:defRPr sz="2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Rectangle 4"/>
          <p:cNvSpPr>
            <a:spLocks noChangeArrowheads="1"/>
          </p:cNvSpPr>
          <p:nvPr userDrawn="1"/>
        </p:nvSpPr>
        <p:spPr bwMode="ltGray">
          <a:xfrm>
            <a:off x="636908" y="6322208"/>
            <a:ext cx="4622389" cy="206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114" tIns="41056" rIns="82114" bIns="41056" anchor="b">
            <a:spAutoFit/>
          </a:bodyPr>
          <a:lstStyle/>
          <a:p>
            <a:pPr algn="l" defTabSz="814326" rtl="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kern="1200" spc="27" baseline="0">
                <a:solidFill>
                  <a:schemeClr val="accent1">
                    <a:lumMod val="75000"/>
                  </a:schemeClr>
                </a:solidFill>
                <a:latin typeface="+mn-lt"/>
                <a:ea typeface="+mn-ea"/>
                <a:cs typeface="CiscoSans Thin"/>
              </a:rPr>
              <a:t>© 2019  Cisco and/or its affiliates. All rights reserved.  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38810633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44">
          <p15:clr>
            <a:srgbClr val="FBAE40"/>
          </p15:clr>
        </p15:guide>
        <p15:guide id="2" pos="265">
          <p15:clr>
            <a:srgbClr val="FBAE40"/>
          </p15:clr>
        </p15:guide>
        <p15:guide id="3" orient="horz" pos="2196">
          <p15:clr>
            <a:srgbClr val="FBAE40"/>
          </p15:clr>
        </p15:guide>
        <p15:guide id="4" pos="2674">
          <p15:clr>
            <a:srgbClr val="FBAE40"/>
          </p15:clr>
        </p15:guide>
      </p15:sldGuideLst>
    </p:ext>
  </p:extLst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Half_Page_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6106789" cy="6858000"/>
          </a:xfrm>
          <a:prstGeom prst="rect">
            <a:avLst/>
          </a:prstGeom>
          <a:solidFill>
            <a:schemeClr val="accent3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67">
              <a:latin typeface="+mj-lt"/>
            </a:endParaRPr>
          </a:p>
        </p:txBody>
      </p:sp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558801" y="2209800"/>
            <a:ext cx="5103284" cy="2438400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 algn="l" defTabSz="912284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lang="en-GB" sz="4267" kern="1200" dirty="0">
                <a:solidFill>
                  <a:schemeClr val="bg2"/>
                </a:solidFill>
                <a:latin typeface="+mj-lt"/>
                <a:ea typeface="ＭＳ Ｐゴシック" charset="0"/>
                <a:cs typeface="Tipo de letra del sistema Fina" charset="0"/>
              </a:defRPr>
            </a:lvl1pPr>
          </a:lstStyle>
          <a:p>
            <a:pPr lvl="0"/>
            <a:r>
              <a:rPr lang="en-GB"/>
              <a:t>Click to edit Master title sty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6796618" y="709083"/>
            <a:ext cx="4734983" cy="5412316"/>
          </a:xfrm>
          <a:prstGeom prst="rect">
            <a:avLst/>
          </a:prstGeom>
        </p:spPr>
        <p:txBody>
          <a:bodyPr lIns="0" rIns="0" anchor="ctr" anchorCtr="0"/>
          <a:lstStyle>
            <a:lvl1pPr marL="226483" indent="-226483">
              <a:lnSpc>
                <a:spcPct val="100000"/>
              </a:lnSpc>
              <a:buClr>
                <a:schemeClr val="tx1"/>
              </a:buClr>
              <a:buSzPct val="60000"/>
              <a:buFont typeface="Arial" panose="020B0604020202020204" pitchFamily="34" charset="0"/>
              <a:buChar char="•"/>
              <a:tabLst>
                <a:tab pos="304800" algn="l"/>
              </a:tabLst>
              <a:defRPr sz="3200"/>
            </a:lvl1pPr>
            <a:lvl2pPr marL="461433" indent="-228600">
              <a:lnSpc>
                <a:spcPct val="100000"/>
              </a:lnSpc>
              <a:buClr>
                <a:schemeClr val="tx1"/>
              </a:buClr>
              <a:buSzPct val="60000"/>
              <a:buFont typeface="Arial" panose="020B0604020202020204" pitchFamily="34" charset="0"/>
              <a:buChar char="•"/>
              <a:defRPr sz="3200"/>
            </a:lvl2pPr>
            <a:lvl3pPr marL="609600" indent="-156633">
              <a:lnSpc>
                <a:spcPct val="100000"/>
              </a:lnSpc>
              <a:buClr>
                <a:schemeClr val="tx1"/>
              </a:buClr>
              <a:buSzPct val="60000"/>
              <a:buFont typeface="Arial" panose="020B0604020202020204" pitchFamily="34" charset="0"/>
              <a:buChar char="•"/>
              <a:defRPr sz="2667"/>
            </a:lvl3pPr>
            <a:lvl4pPr marL="766233" indent="-156633">
              <a:lnSpc>
                <a:spcPct val="100000"/>
              </a:lnSpc>
              <a:buClr>
                <a:schemeClr val="tx1"/>
              </a:buClr>
              <a:buSzPct val="60000"/>
              <a:buFont typeface="Arial" panose="020B0604020202020204" pitchFamily="34" charset="0"/>
              <a:buChar char="•"/>
              <a:tabLst/>
              <a:defRPr sz="2400"/>
            </a:lvl4pPr>
            <a:lvl5pPr marL="992718" indent="-150284">
              <a:lnSpc>
                <a:spcPct val="100000"/>
              </a:lnSpc>
              <a:buClr>
                <a:schemeClr val="tx1"/>
              </a:buClr>
              <a:buSzPct val="60000"/>
              <a:buFont typeface="Arial" panose="020B0604020202020204" pitchFamily="34" charset="0"/>
              <a:buChar char="•"/>
              <a:defRPr sz="2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Rectangle 4"/>
          <p:cNvSpPr>
            <a:spLocks noChangeArrowheads="1"/>
          </p:cNvSpPr>
          <p:nvPr userDrawn="1"/>
        </p:nvSpPr>
        <p:spPr bwMode="ltGray">
          <a:xfrm>
            <a:off x="636908" y="6322208"/>
            <a:ext cx="4622389" cy="206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114" tIns="41056" rIns="82114" bIns="41056" anchor="b">
            <a:spAutoFit/>
          </a:bodyPr>
          <a:lstStyle/>
          <a:p>
            <a:pPr algn="l" defTabSz="814326" rtl="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kern="1200" spc="27" baseline="0">
                <a:solidFill>
                  <a:schemeClr val="accent1">
                    <a:lumMod val="75000"/>
                  </a:schemeClr>
                </a:solidFill>
                <a:latin typeface="+mn-lt"/>
                <a:ea typeface="+mn-ea"/>
                <a:cs typeface="CiscoSans Thin"/>
              </a:rPr>
              <a:t>© 2019  Cisco and/or its affiliates. All rights reserved.  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40199427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44">
          <p15:clr>
            <a:srgbClr val="FBAE40"/>
          </p15:clr>
        </p15:guide>
        <p15:guide id="2" pos="265">
          <p15:clr>
            <a:srgbClr val="FBAE40"/>
          </p15:clr>
        </p15:guide>
        <p15:guide id="3" orient="horz" pos="2196">
          <p15:clr>
            <a:srgbClr val="FBAE40"/>
          </p15:clr>
        </p15:guide>
        <p15:guide id="4" pos="2674">
          <p15:clr>
            <a:srgbClr val="FBAE40"/>
          </p15:clr>
        </p15:guide>
      </p15:sldGuideLst>
    </p:ext>
  </p:extLst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Half_Page_Text_2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6106789" cy="68580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67">
              <a:solidFill>
                <a:schemeClr val="bg1"/>
              </a:solidFill>
              <a:latin typeface="+mj-lt"/>
            </a:endParaRPr>
          </a:p>
        </p:txBody>
      </p:sp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583689" y="680720"/>
            <a:ext cx="5078396" cy="8737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24" tIns="45712" rIns="91424" bIns="45712" numCol="1" anchor="t" anchorCtr="0" compatLnSpc="1">
            <a:prstTxWarp prst="textNoShape">
              <a:avLst/>
            </a:prstTxWarp>
          </a:bodyPr>
          <a:lstStyle>
            <a:lvl1pPr algn="l" defTabSz="912284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lang="en-GB" sz="4267" kern="1200" dirty="0">
                <a:solidFill>
                  <a:schemeClr val="bg1">
                    <a:lumMod val="75000"/>
                  </a:schemeClr>
                </a:solidFill>
                <a:latin typeface="+mj-lt"/>
                <a:ea typeface="ＭＳ Ｐゴシック" charset="0"/>
                <a:cs typeface="Tipo de letra del sistema Fina" charset="0"/>
              </a:defRPr>
            </a:lvl1pPr>
          </a:lstStyle>
          <a:p>
            <a:pPr lvl="0"/>
            <a:r>
              <a:rPr lang="en-GB"/>
              <a:t>Click to edit Master title sty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6796618" y="680720"/>
            <a:ext cx="4734983" cy="5440680"/>
          </a:xfrm>
          <a:prstGeom prst="rect">
            <a:avLst/>
          </a:prstGeom>
        </p:spPr>
        <p:txBody>
          <a:bodyPr lIns="0" rIns="0"/>
          <a:lstStyle>
            <a:lvl1pPr marL="152400" indent="-152400">
              <a:lnSpc>
                <a:spcPct val="100000"/>
              </a:lnSpc>
              <a:buClr>
                <a:schemeClr val="tx1"/>
              </a:buClr>
              <a:buSzPct val="60000"/>
              <a:defRPr sz="2667"/>
            </a:lvl1pPr>
            <a:lvl2pPr marL="304800" indent="-152400">
              <a:lnSpc>
                <a:spcPct val="100000"/>
              </a:lnSpc>
              <a:buClr>
                <a:schemeClr val="tx1"/>
              </a:buClr>
              <a:buSzPct val="60000"/>
              <a:defRPr sz="2667"/>
            </a:lvl2pPr>
            <a:lvl3pPr marL="457200" indent="-152400">
              <a:lnSpc>
                <a:spcPct val="100000"/>
              </a:lnSpc>
              <a:buClr>
                <a:schemeClr val="tx1"/>
              </a:buClr>
              <a:buSzPct val="60000"/>
              <a:defRPr sz="2400"/>
            </a:lvl3pPr>
            <a:lvl4pPr marL="609600" indent="-165101">
              <a:lnSpc>
                <a:spcPct val="100000"/>
              </a:lnSpc>
              <a:buClr>
                <a:schemeClr val="tx1"/>
              </a:buClr>
              <a:buSzPct val="60000"/>
              <a:defRPr sz="2133"/>
            </a:lvl4pPr>
            <a:lvl5pPr marL="766233" indent="-156633">
              <a:lnSpc>
                <a:spcPct val="100000"/>
              </a:lnSpc>
              <a:buClr>
                <a:schemeClr val="tx1"/>
              </a:buClr>
              <a:buSzPct val="60000"/>
              <a:defRPr sz="2133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1"/>
          </p:nvPr>
        </p:nvSpPr>
        <p:spPr>
          <a:xfrm>
            <a:off x="583689" y="2213125"/>
            <a:ext cx="5078396" cy="3908277"/>
          </a:xfrm>
          <a:prstGeom prst="rect">
            <a:avLst/>
          </a:prstGeom>
        </p:spPr>
        <p:txBody>
          <a:bodyPr/>
          <a:lstStyle>
            <a:lvl1pPr marL="152400" indent="-152400">
              <a:buClr>
                <a:schemeClr val="tx2"/>
              </a:buClr>
              <a:buSzPct val="60000"/>
              <a:defRPr lang="en-US" sz="2667" kern="1200" dirty="0" smtClean="0">
                <a:solidFill>
                  <a:schemeClr val="bg1">
                    <a:lumMod val="75000"/>
                  </a:schemeClr>
                </a:solidFill>
                <a:latin typeface="+mn-lt"/>
                <a:ea typeface="ＭＳ Ｐゴシック" charset="0"/>
                <a:cs typeface="CiscoSans"/>
              </a:defRPr>
            </a:lvl1pPr>
            <a:lvl2pPr marL="304800" indent="-152400">
              <a:buClr>
                <a:schemeClr val="tx2"/>
              </a:buClr>
              <a:buSzPct val="60000"/>
              <a:defRPr sz="2667">
                <a:solidFill>
                  <a:schemeClr val="bg1">
                    <a:lumMod val="75000"/>
                  </a:schemeClr>
                </a:solidFill>
              </a:defRPr>
            </a:lvl2pPr>
            <a:lvl3pPr marL="457200" indent="-152400">
              <a:buClr>
                <a:schemeClr val="tx2"/>
              </a:buClr>
              <a:buSzPct val="60000"/>
              <a:defRPr sz="2400">
                <a:solidFill>
                  <a:schemeClr val="bg1">
                    <a:lumMod val="75000"/>
                  </a:schemeClr>
                </a:solidFill>
              </a:defRPr>
            </a:lvl3pPr>
            <a:lvl4pPr marL="609600" indent="-165101">
              <a:buClr>
                <a:schemeClr val="tx2"/>
              </a:buClr>
              <a:buSzPct val="60000"/>
              <a:defRPr sz="2133">
                <a:solidFill>
                  <a:schemeClr val="bg1">
                    <a:lumMod val="75000"/>
                  </a:schemeClr>
                </a:solidFill>
              </a:defRPr>
            </a:lvl4pPr>
            <a:lvl5pPr marL="766233" indent="-156633">
              <a:buClr>
                <a:schemeClr val="tx2"/>
              </a:buClr>
              <a:buSzPct val="60000"/>
              <a:defRPr sz="2133">
                <a:solidFill>
                  <a:schemeClr val="bg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Rectangle 4"/>
          <p:cNvSpPr>
            <a:spLocks noChangeArrowheads="1"/>
          </p:cNvSpPr>
          <p:nvPr userDrawn="1"/>
        </p:nvSpPr>
        <p:spPr bwMode="ltGray">
          <a:xfrm>
            <a:off x="636906" y="6322208"/>
            <a:ext cx="4478953" cy="206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114" tIns="41056" rIns="82114" bIns="41056" anchor="b">
            <a:spAutoFit/>
          </a:bodyPr>
          <a:lstStyle/>
          <a:p>
            <a:pPr algn="l" defTabSz="814326" rtl="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kern="1200" spc="27" baseline="0">
                <a:solidFill>
                  <a:schemeClr val="accent1">
                    <a:lumMod val="75000"/>
                  </a:schemeClr>
                </a:solidFill>
                <a:latin typeface="+mn-lt"/>
                <a:ea typeface="+mn-ea"/>
                <a:cs typeface="CiscoSans Thin"/>
              </a:rPr>
              <a:t>© 2019  Cisco and/or its affiliates. All rights reserved.  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76881392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pos="2674">
          <p15:clr>
            <a:srgbClr val="FBAE40"/>
          </p15:clr>
        </p15:guide>
      </p15:sldGuideLst>
    </p:ext>
  </p:extLst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Half_Page_Picture_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6106789" cy="68580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67"/>
          </a:p>
        </p:txBody>
      </p:sp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583689" y="2212977"/>
            <a:ext cx="5078396" cy="2432051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 algn="l" defTabSz="912284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lang="en-GB" sz="4267" kern="1200" dirty="0">
                <a:solidFill>
                  <a:schemeClr val="bg1">
                    <a:lumMod val="75000"/>
                  </a:schemeClr>
                </a:solidFill>
                <a:latin typeface="+mj-lt"/>
                <a:ea typeface="ＭＳ Ｐゴシック" charset="0"/>
                <a:cs typeface="Tipo de letra del sistema Fina" charset="0"/>
              </a:defRPr>
            </a:lvl1pPr>
          </a:lstStyle>
          <a:p>
            <a:pPr lvl="0"/>
            <a:r>
              <a:rPr lang="en-GB"/>
              <a:t>Click to edit Master title style</a:t>
            </a:r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0"/>
          </p:nvPr>
        </p:nvSpPr>
        <p:spPr>
          <a:xfrm>
            <a:off x="6786035" y="709086"/>
            <a:ext cx="4745567" cy="4486461"/>
          </a:xfrm>
          <a:prstGeom prst="rect">
            <a:avLst/>
          </a:prstGeom>
        </p:spPr>
        <p:txBody>
          <a:bodyPr anchor="ctr" anchorCtr="0"/>
          <a:lstStyle>
            <a:lvl1pPr marL="0" indent="0" algn="ctr">
              <a:buNone/>
              <a:defRPr/>
            </a:lvl1pPr>
          </a:lstStyle>
          <a:p>
            <a:endParaRPr lang="en-US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1"/>
          </p:nvPr>
        </p:nvSpPr>
        <p:spPr>
          <a:xfrm>
            <a:off x="6786035" y="5416470"/>
            <a:ext cx="4745567" cy="70019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867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Rectangle 4"/>
          <p:cNvSpPr>
            <a:spLocks noChangeArrowheads="1"/>
          </p:cNvSpPr>
          <p:nvPr userDrawn="1"/>
        </p:nvSpPr>
        <p:spPr bwMode="ltGray">
          <a:xfrm>
            <a:off x="636908" y="6322208"/>
            <a:ext cx="3817557" cy="206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114" tIns="41056" rIns="82114" bIns="41056" anchor="b">
            <a:spAutoFit/>
          </a:bodyPr>
          <a:lstStyle/>
          <a:p>
            <a:pPr algn="l" defTabSz="814326" rtl="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kern="1200" spc="27" baseline="0">
                <a:solidFill>
                  <a:schemeClr val="accent1">
                    <a:lumMod val="75000"/>
                  </a:schemeClr>
                </a:solidFill>
                <a:latin typeface="+mn-lt"/>
                <a:ea typeface="+mn-ea"/>
                <a:cs typeface="CiscoSans Thin"/>
              </a:rPr>
              <a:t>© 2019  Cisco and/or its affiliates. All rights reserved.  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84034605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44">
          <p15:clr>
            <a:srgbClr val="FBAE40"/>
          </p15:clr>
        </p15:guide>
        <p15:guide id="2" pos="265">
          <p15:clr>
            <a:srgbClr val="FBAE40"/>
          </p15:clr>
        </p15:guide>
        <p15:guide id="3" orient="horz" pos="2193">
          <p15:clr>
            <a:srgbClr val="FBAE40"/>
          </p15:clr>
        </p15:guide>
        <p15:guide id="4" pos="2674">
          <p15:clr>
            <a:srgbClr val="FBAE40"/>
          </p15:clr>
        </p15:guide>
        <p15:guide id="7" pos="3206">
          <p15:clr>
            <a:srgbClr val="FBAE40"/>
          </p15:clr>
        </p15:guide>
      </p15:sldGuideLst>
    </p:ext>
  </p:extLst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Half_Page_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6106789" cy="68580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67">
              <a:solidFill>
                <a:schemeClr val="tx2"/>
              </a:solidFill>
            </a:endParaRPr>
          </a:p>
        </p:txBody>
      </p:sp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583689" y="2212977"/>
            <a:ext cx="5078396" cy="2432051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 algn="l" defTabSz="912284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lang="en-GB" sz="4267" kern="1200" dirty="0">
                <a:solidFill>
                  <a:schemeClr val="bg1">
                    <a:lumMod val="75000"/>
                  </a:schemeClr>
                </a:solidFill>
                <a:latin typeface="+mj-lt"/>
                <a:ea typeface="ＭＳ Ｐゴシック" charset="0"/>
                <a:cs typeface="Tipo de letra del sistema Fina" charset="0"/>
              </a:defRPr>
            </a:lvl1pPr>
          </a:lstStyle>
          <a:p>
            <a:pPr lvl="0"/>
            <a:r>
              <a:rPr lang="en-GB"/>
              <a:t>Click to edit Master title style</a:t>
            </a:r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0"/>
          </p:nvPr>
        </p:nvSpPr>
        <p:spPr>
          <a:xfrm>
            <a:off x="6786035" y="709086"/>
            <a:ext cx="4745567" cy="5412315"/>
          </a:xfrm>
          <a:prstGeom prst="rect">
            <a:avLst/>
          </a:prstGeom>
        </p:spPr>
        <p:txBody>
          <a:bodyPr anchor="ctr" anchorCtr="0"/>
          <a:lstStyle>
            <a:lvl1pPr marL="0" indent="0" algn="ctr">
              <a:buNone/>
              <a:defRPr/>
            </a:lvl1pPr>
          </a:lstStyle>
          <a:p>
            <a:endParaRPr lang="en-US"/>
          </a:p>
        </p:txBody>
      </p:sp>
      <p:sp>
        <p:nvSpPr>
          <p:cNvPr id="8" name="Rectangle 4"/>
          <p:cNvSpPr>
            <a:spLocks noChangeArrowheads="1"/>
          </p:cNvSpPr>
          <p:nvPr userDrawn="1"/>
        </p:nvSpPr>
        <p:spPr bwMode="ltGray">
          <a:xfrm>
            <a:off x="636905" y="6322208"/>
            <a:ext cx="4351456" cy="206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114" tIns="41056" rIns="82114" bIns="41056" anchor="b">
            <a:spAutoFit/>
          </a:bodyPr>
          <a:lstStyle/>
          <a:p>
            <a:pPr algn="l" defTabSz="814326" rtl="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kern="1200" spc="27" baseline="0">
                <a:solidFill>
                  <a:schemeClr val="accent1">
                    <a:lumMod val="75000"/>
                  </a:schemeClr>
                </a:solidFill>
                <a:latin typeface="+mn-lt"/>
                <a:ea typeface="+mn-ea"/>
                <a:cs typeface="CiscoSans Thin"/>
              </a:rPr>
              <a:t>© 2019  Cisco and/or its affiliates. All rights reserved.  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13452357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44">
          <p15:clr>
            <a:srgbClr val="FBAE40"/>
          </p15:clr>
        </p15:guide>
        <p15:guide id="2" pos="265">
          <p15:clr>
            <a:srgbClr val="FBAE40"/>
          </p15:clr>
        </p15:guide>
        <p15:guide id="3" orient="horz" pos="2193">
          <p15:clr>
            <a:srgbClr val="FBAE40"/>
          </p15:clr>
        </p15:guide>
        <p15:guide id="4" pos="2674">
          <p15:clr>
            <a:srgbClr val="FBAE40"/>
          </p15:clr>
        </p15:guide>
        <p15:guide id="7" pos="3206">
          <p15:clr>
            <a:srgbClr val="FBAE40"/>
          </p15:clr>
        </p15:guide>
      </p15:sldGuideLst>
    </p:ext>
  </p:extLst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Half_Page_Headlin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6106789" cy="68580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67">
              <a:solidFill>
                <a:schemeClr val="bg1"/>
              </a:solidFill>
            </a:endParaRPr>
          </a:p>
        </p:txBody>
      </p:sp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583689" y="2212977"/>
            <a:ext cx="5078396" cy="2432051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 algn="l" defTabSz="912284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lang="en-GB" sz="4267" kern="1200" dirty="0">
                <a:solidFill>
                  <a:schemeClr val="bg1">
                    <a:lumMod val="75000"/>
                  </a:schemeClr>
                </a:solidFill>
                <a:latin typeface="+mj-lt"/>
                <a:ea typeface="ＭＳ Ｐゴシック" charset="0"/>
                <a:cs typeface="Tipo de letra del sistema Fina" charset="0"/>
              </a:defRPr>
            </a:lvl1pPr>
          </a:lstStyle>
          <a:p>
            <a:pPr lvl="0"/>
            <a:r>
              <a:rPr lang="en-GB"/>
              <a:t>Click to edit Master title style</a:t>
            </a:r>
          </a:p>
        </p:txBody>
      </p:sp>
      <p:sp>
        <p:nvSpPr>
          <p:cNvPr id="8" name="Rectangle 4"/>
          <p:cNvSpPr>
            <a:spLocks noChangeArrowheads="1"/>
          </p:cNvSpPr>
          <p:nvPr userDrawn="1"/>
        </p:nvSpPr>
        <p:spPr bwMode="ltGray">
          <a:xfrm>
            <a:off x="636906" y="6322208"/>
            <a:ext cx="3929119" cy="206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114" tIns="41056" rIns="82114" bIns="41056" anchor="b">
            <a:spAutoFit/>
          </a:bodyPr>
          <a:lstStyle/>
          <a:p>
            <a:pPr algn="l" defTabSz="814326" rtl="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kern="1200" spc="27" baseline="0">
                <a:solidFill>
                  <a:schemeClr val="accent1">
                    <a:lumMod val="75000"/>
                  </a:schemeClr>
                </a:solidFill>
                <a:latin typeface="+mn-lt"/>
                <a:ea typeface="+mn-ea"/>
                <a:cs typeface="CiscoSans Thin"/>
              </a:rPr>
              <a:t>© 2019  Cisco and/or its affiliates. All rights reserved.  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94340837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44">
          <p15:clr>
            <a:srgbClr val="FBAE40"/>
          </p15:clr>
        </p15:guide>
        <p15:guide id="3" orient="horz" pos="2193">
          <p15:clr>
            <a:srgbClr val="FBAE40"/>
          </p15:clr>
        </p15:guide>
        <p15:guide id="4" pos="2674">
          <p15:clr>
            <a:srgbClr val="FBAE40"/>
          </p15:clr>
        </p15:guide>
        <p15:guide id="7" pos="3206">
          <p15:clr>
            <a:srgbClr val="FBAE40"/>
          </p15:clr>
        </p15:guide>
      </p15:sldGuideLst>
    </p:ext>
  </p:extLst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Half_Page_Picture_Fu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6106789" cy="68580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67"/>
          </a:p>
        </p:txBody>
      </p:sp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583689" y="2212977"/>
            <a:ext cx="5078396" cy="24320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 algn="l" defTabSz="912284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lang="en-GB" sz="4267" kern="1200" dirty="0">
                <a:solidFill>
                  <a:schemeClr val="bg1">
                    <a:lumMod val="75000"/>
                  </a:schemeClr>
                </a:solidFill>
                <a:latin typeface="+mj-lt"/>
                <a:ea typeface="ＭＳ Ｐゴシック" charset="0"/>
                <a:cs typeface="Tipo de letra del sistema Fina" charset="0"/>
              </a:defRPr>
            </a:lvl1pPr>
          </a:lstStyle>
          <a:p>
            <a:pPr lvl="0"/>
            <a:r>
              <a:rPr lang="en-GB"/>
              <a:t>Click to edit Master title style</a:t>
            </a:r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0"/>
          </p:nvPr>
        </p:nvSpPr>
        <p:spPr>
          <a:xfrm>
            <a:off x="6106790" y="0"/>
            <a:ext cx="6085209" cy="6858000"/>
          </a:xfrm>
          <a:prstGeom prst="rect">
            <a:avLst/>
          </a:prstGeom>
        </p:spPr>
        <p:txBody>
          <a:bodyPr anchor="ctr" anchorCtr="0"/>
          <a:lstStyle>
            <a:lvl1pPr marL="0" indent="0" algn="ctr">
              <a:buNone/>
              <a:defRPr/>
            </a:lvl1pPr>
          </a:lstStyle>
          <a:p>
            <a:endParaRPr lang="en-US"/>
          </a:p>
        </p:txBody>
      </p:sp>
      <p:sp>
        <p:nvSpPr>
          <p:cNvPr id="8" name="Rectangle 4"/>
          <p:cNvSpPr>
            <a:spLocks noChangeArrowheads="1"/>
          </p:cNvSpPr>
          <p:nvPr userDrawn="1"/>
        </p:nvSpPr>
        <p:spPr bwMode="ltGray">
          <a:xfrm>
            <a:off x="636906" y="6322208"/>
            <a:ext cx="4399266" cy="206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114" tIns="41056" rIns="82114" bIns="41056" anchor="b">
            <a:spAutoFit/>
          </a:bodyPr>
          <a:lstStyle/>
          <a:p>
            <a:pPr algn="l" defTabSz="814326" rtl="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kern="1200" spc="27" baseline="0">
                <a:solidFill>
                  <a:schemeClr val="accent1">
                    <a:lumMod val="75000"/>
                  </a:schemeClr>
                </a:solidFill>
                <a:latin typeface="+mn-lt"/>
                <a:ea typeface="+mn-ea"/>
                <a:cs typeface="CiscoSans Thin"/>
              </a:rPr>
              <a:t>© 2019  Cisco and/or its affiliates. All rights reserved.  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334113899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44">
          <p15:clr>
            <a:srgbClr val="FBAE40"/>
          </p15:clr>
        </p15:guide>
        <p15:guide id="3" orient="horz" pos="2193">
          <p15:clr>
            <a:srgbClr val="FBAE40"/>
          </p15:clr>
        </p15:guide>
        <p15:guide id="4" pos="2674">
          <p15:clr>
            <a:srgbClr val="FBAE40"/>
          </p15:clr>
        </p15:guide>
        <p15:guide id="7" pos="3206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B6D3CFB-C854-434C-9A1F-637A0B027DD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667" y="2070101"/>
            <a:ext cx="3321051" cy="3107267"/>
          </a:xfrm>
        </p:spPr>
        <p:txBody>
          <a:bodyPr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BC044539-DAE7-490B-B5E6-BC374262E05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8950" y="2084387"/>
            <a:ext cx="3439160" cy="3107267"/>
          </a:xfr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C5767B47-8446-4315-A1D6-55A50699F18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910830" y="2070100"/>
            <a:ext cx="3439160" cy="3107267"/>
          </a:xfr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262536905"/>
      </p:ext>
    </p:extLst>
  </p:cSld>
  <p:clrMapOvr>
    <a:masterClrMapping/>
  </p:clrMapOvr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Half_Page_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6106789" cy="68580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67"/>
          </a:p>
        </p:txBody>
      </p:sp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583689" y="2212977"/>
            <a:ext cx="5078396" cy="24320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 algn="l" defTabSz="912284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lang="en-GB" sz="4267" kern="1200" dirty="0">
                <a:solidFill>
                  <a:schemeClr val="bg1">
                    <a:lumMod val="75000"/>
                  </a:schemeClr>
                </a:solidFill>
                <a:latin typeface="+mj-lt"/>
                <a:ea typeface="ＭＳ Ｐゴシック" charset="0"/>
                <a:cs typeface="Tipo de letra del sistema Fina" charset="0"/>
              </a:defRPr>
            </a:lvl1pPr>
          </a:lstStyle>
          <a:p>
            <a:pPr lvl="0"/>
            <a:r>
              <a:rPr lang="en-GB"/>
              <a:t>Click to edit Master title style</a:t>
            </a:r>
          </a:p>
        </p:txBody>
      </p:sp>
      <p:sp>
        <p:nvSpPr>
          <p:cNvPr id="6" name="Chart Placeholder 5"/>
          <p:cNvSpPr>
            <a:spLocks noGrp="1"/>
          </p:cNvSpPr>
          <p:nvPr>
            <p:ph type="chart" sz="quarter" idx="10"/>
          </p:nvPr>
        </p:nvSpPr>
        <p:spPr>
          <a:xfrm>
            <a:off x="6786035" y="670984"/>
            <a:ext cx="4745567" cy="5450416"/>
          </a:xfrm>
          <a:prstGeom prst="rect">
            <a:avLst/>
          </a:prstGeom>
        </p:spPr>
        <p:txBody>
          <a:bodyPr anchor="ctr" anchorCtr="0"/>
          <a:lstStyle>
            <a:lvl1pPr marL="0" indent="0" algn="ctr">
              <a:buNone/>
              <a:defRPr/>
            </a:lvl1pPr>
          </a:lstStyle>
          <a:p>
            <a:endParaRPr lang="en-US"/>
          </a:p>
        </p:txBody>
      </p:sp>
      <p:sp>
        <p:nvSpPr>
          <p:cNvPr id="8" name="Rectangle 4"/>
          <p:cNvSpPr>
            <a:spLocks noChangeArrowheads="1"/>
          </p:cNvSpPr>
          <p:nvPr userDrawn="1"/>
        </p:nvSpPr>
        <p:spPr bwMode="ltGray">
          <a:xfrm>
            <a:off x="636907" y="6322208"/>
            <a:ext cx="4239895" cy="206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114" tIns="41056" rIns="82114" bIns="41056" anchor="b">
            <a:spAutoFit/>
          </a:bodyPr>
          <a:lstStyle/>
          <a:p>
            <a:pPr algn="l" defTabSz="814326" rtl="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kern="1200" spc="27" baseline="0">
                <a:solidFill>
                  <a:schemeClr val="accent1">
                    <a:lumMod val="75000"/>
                  </a:schemeClr>
                </a:solidFill>
                <a:latin typeface="+mn-lt"/>
                <a:ea typeface="+mn-ea"/>
                <a:cs typeface="CiscoSans Thin"/>
              </a:rPr>
              <a:t>© 2019  Cisco and/or its affiliates. All rights reserved.  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2772472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3" orient="horz" pos="2196">
          <p15:clr>
            <a:srgbClr val="FBAE40"/>
          </p15:clr>
        </p15:guide>
        <p15:guide id="4" pos="2674">
          <p15:clr>
            <a:srgbClr val="FBAE40"/>
          </p15:clr>
        </p15:guide>
        <p15:guide id="7" pos="3206">
          <p15:clr>
            <a:srgbClr val="FBAE40"/>
          </p15:clr>
        </p15:guide>
      </p15:sldGuideLst>
    </p:ext>
  </p:extLst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Half_Page_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6106789" cy="68580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67"/>
          </a:p>
        </p:txBody>
      </p:sp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583689" y="2212977"/>
            <a:ext cx="5078396" cy="24320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 algn="l" defTabSz="912284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lang="en-GB" sz="4267" kern="1200" dirty="0">
                <a:solidFill>
                  <a:schemeClr val="bg1">
                    <a:lumMod val="75000"/>
                  </a:schemeClr>
                </a:solidFill>
                <a:latin typeface="+mj-lt"/>
                <a:ea typeface="ＭＳ Ｐゴシック" charset="0"/>
                <a:cs typeface="Tipo de letra del sistema Fina" charset="0"/>
              </a:defRPr>
            </a:lvl1pPr>
          </a:lstStyle>
          <a:p>
            <a:pPr lvl="0"/>
            <a:r>
              <a:rPr lang="en-GB"/>
              <a:t>Click to edit Master title style</a:t>
            </a:r>
          </a:p>
        </p:txBody>
      </p:sp>
      <p:sp>
        <p:nvSpPr>
          <p:cNvPr id="7" name="Table Placeholder 6"/>
          <p:cNvSpPr>
            <a:spLocks noGrp="1"/>
          </p:cNvSpPr>
          <p:nvPr>
            <p:ph type="tbl" sz="quarter" idx="10"/>
          </p:nvPr>
        </p:nvSpPr>
        <p:spPr>
          <a:xfrm>
            <a:off x="6786035" y="670984"/>
            <a:ext cx="4745567" cy="5450416"/>
          </a:xfrm>
          <a:prstGeom prst="rect">
            <a:avLst/>
          </a:prstGeom>
        </p:spPr>
        <p:txBody>
          <a:bodyPr anchor="ctr" anchorCtr="0"/>
          <a:lstStyle>
            <a:lvl1pPr marL="0" indent="0" algn="ctr">
              <a:buNone/>
              <a:defRPr/>
            </a:lvl1pPr>
          </a:lstStyle>
          <a:p>
            <a:endParaRPr lang="en-US"/>
          </a:p>
        </p:txBody>
      </p:sp>
      <p:sp>
        <p:nvSpPr>
          <p:cNvPr id="8" name="Rectangle 4"/>
          <p:cNvSpPr>
            <a:spLocks noChangeArrowheads="1"/>
          </p:cNvSpPr>
          <p:nvPr userDrawn="1"/>
        </p:nvSpPr>
        <p:spPr bwMode="ltGray">
          <a:xfrm>
            <a:off x="636906" y="6322208"/>
            <a:ext cx="4542703" cy="206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114" tIns="41056" rIns="82114" bIns="41056" anchor="b">
            <a:spAutoFit/>
          </a:bodyPr>
          <a:lstStyle/>
          <a:p>
            <a:pPr algn="l" defTabSz="814326" rtl="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kern="1200" spc="27" baseline="0">
                <a:solidFill>
                  <a:schemeClr val="accent1">
                    <a:lumMod val="75000"/>
                  </a:schemeClr>
                </a:solidFill>
                <a:latin typeface="+mn-lt"/>
                <a:ea typeface="+mn-ea"/>
                <a:cs typeface="CiscoSans Thin"/>
              </a:rPr>
              <a:t>© 2019  Cisco and/or its affiliates. All rights reserved.  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64169790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44">
          <p15:clr>
            <a:srgbClr val="FBAE40"/>
          </p15:clr>
        </p15:guide>
        <p15:guide id="3" orient="horz" pos="2196">
          <p15:clr>
            <a:srgbClr val="FBAE40"/>
          </p15:clr>
        </p15:guide>
        <p15:guide id="4" pos="2674">
          <p15:clr>
            <a:srgbClr val="FBAE40"/>
          </p15:clr>
        </p15:guide>
        <p15:guide id="7" pos="3206">
          <p15:clr>
            <a:srgbClr val="FBAE40"/>
          </p15:clr>
        </p15:guide>
      </p15:sldGuideLst>
    </p:ext>
  </p:extLst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Slid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5" name="Freeform 6"/>
          <p:cNvSpPr>
            <a:spLocks noChangeAspect="1" noEditPoints="1"/>
          </p:cNvSpPr>
          <p:nvPr userDrawn="1"/>
        </p:nvSpPr>
        <p:spPr bwMode="auto">
          <a:xfrm>
            <a:off x="5017327" y="2838771"/>
            <a:ext cx="2157349" cy="1146095"/>
          </a:xfrm>
          <a:custGeom>
            <a:avLst/>
            <a:gdLst>
              <a:gd name="T0" fmla="*/ 2671 w 3456"/>
              <a:gd name="T1" fmla="*/ 1521 h 1834"/>
              <a:gd name="T2" fmla="*/ 2857 w 3456"/>
              <a:gd name="T3" fmla="*/ 1677 h 1834"/>
              <a:gd name="T4" fmla="*/ 2975 w 3456"/>
              <a:gd name="T5" fmla="*/ 1465 h 1834"/>
              <a:gd name="T6" fmla="*/ 1129 w 3456"/>
              <a:gd name="T7" fmla="*/ 1823 h 1834"/>
              <a:gd name="T8" fmla="*/ 3082 w 3456"/>
              <a:gd name="T9" fmla="*/ 1330 h 1834"/>
              <a:gd name="T10" fmla="*/ 3082 w 3456"/>
              <a:gd name="T11" fmla="*/ 1712 h 1834"/>
              <a:gd name="T12" fmla="*/ 2700 w 3456"/>
              <a:gd name="T13" fmla="*/ 1809 h 1834"/>
              <a:gd name="T14" fmla="*/ 2513 w 3456"/>
              <a:gd name="T15" fmla="*/ 1479 h 1834"/>
              <a:gd name="T16" fmla="*/ 2783 w 3456"/>
              <a:gd name="T17" fmla="*/ 1211 h 1834"/>
              <a:gd name="T18" fmla="*/ 2351 w 3456"/>
              <a:gd name="T19" fmla="*/ 1392 h 1834"/>
              <a:gd name="T20" fmla="*/ 2136 w 3456"/>
              <a:gd name="T21" fmla="*/ 1381 h 1834"/>
              <a:gd name="T22" fmla="*/ 2093 w 3456"/>
              <a:gd name="T23" fmla="*/ 1625 h 1834"/>
              <a:gd name="T24" fmla="*/ 2335 w 3456"/>
              <a:gd name="T25" fmla="*/ 1658 h 1834"/>
              <a:gd name="T26" fmla="*/ 2174 w 3456"/>
              <a:gd name="T27" fmla="*/ 1832 h 1834"/>
              <a:gd name="T28" fmla="*/ 1903 w 3456"/>
              <a:gd name="T29" fmla="*/ 1605 h 1834"/>
              <a:gd name="T30" fmla="*/ 2047 w 3456"/>
              <a:gd name="T31" fmla="*/ 1249 h 1834"/>
              <a:gd name="T32" fmla="*/ 748 w 3456"/>
              <a:gd name="T33" fmla="*/ 1223 h 1834"/>
              <a:gd name="T34" fmla="*/ 642 w 3456"/>
              <a:gd name="T35" fmla="*/ 1359 h 1834"/>
              <a:gd name="T36" fmla="*/ 479 w 3456"/>
              <a:gd name="T37" fmla="*/ 1550 h 1834"/>
              <a:gd name="T38" fmla="*/ 697 w 3456"/>
              <a:gd name="T39" fmla="*/ 1676 h 1834"/>
              <a:gd name="T40" fmla="*/ 692 w 3456"/>
              <a:gd name="T41" fmla="*/ 1830 h 1834"/>
              <a:gd name="T42" fmla="*/ 370 w 3456"/>
              <a:gd name="T43" fmla="*/ 1710 h 1834"/>
              <a:gd name="T44" fmla="*/ 375 w 3456"/>
              <a:gd name="T45" fmla="*/ 1326 h 1834"/>
              <a:gd name="T46" fmla="*/ 1610 w 3456"/>
              <a:gd name="T47" fmla="*/ 1211 h 1834"/>
              <a:gd name="T48" fmla="*/ 1679 w 3456"/>
              <a:gd name="T49" fmla="*/ 1350 h 1834"/>
              <a:gd name="T50" fmla="*/ 1494 w 3456"/>
              <a:gd name="T51" fmla="*/ 1373 h 1834"/>
              <a:gd name="T52" fmla="*/ 1634 w 3456"/>
              <a:gd name="T53" fmla="*/ 1470 h 1834"/>
              <a:gd name="T54" fmla="*/ 1737 w 3456"/>
              <a:gd name="T55" fmla="*/ 1694 h 1834"/>
              <a:gd name="T56" fmla="*/ 1524 w 3456"/>
              <a:gd name="T57" fmla="*/ 1833 h 1834"/>
              <a:gd name="T58" fmla="*/ 1334 w 3456"/>
              <a:gd name="T59" fmla="*/ 1678 h 1834"/>
              <a:gd name="T60" fmla="*/ 1552 w 3456"/>
              <a:gd name="T61" fmla="*/ 1690 h 1834"/>
              <a:gd name="T62" fmla="*/ 1520 w 3456"/>
              <a:gd name="T63" fmla="*/ 1584 h 1834"/>
              <a:gd name="T64" fmla="*/ 1350 w 3456"/>
              <a:gd name="T65" fmla="*/ 1473 h 1834"/>
              <a:gd name="T66" fmla="*/ 1446 w 3456"/>
              <a:gd name="T67" fmla="*/ 1227 h 1834"/>
              <a:gd name="T68" fmla="*/ 3456 w 3456"/>
              <a:gd name="T69" fmla="*/ 569 h 1834"/>
              <a:gd name="T70" fmla="*/ 3328 w 3456"/>
              <a:gd name="T71" fmla="*/ 780 h 1834"/>
              <a:gd name="T72" fmla="*/ 3381 w 3456"/>
              <a:gd name="T73" fmla="*/ 493 h 1834"/>
              <a:gd name="T74" fmla="*/ 1793 w 3456"/>
              <a:gd name="T75" fmla="*/ 766 h 1834"/>
              <a:gd name="T76" fmla="*/ 1653 w 3456"/>
              <a:gd name="T77" fmla="*/ 727 h 1834"/>
              <a:gd name="T78" fmla="*/ 113 w 3456"/>
              <a:gd name="T79" fmla="*/ 503 h 1834"/>
              <a:gd name="T80" fmla="*/ 95 w 3456"/>
              <a:gd name="T81" fmla="*/ 801 h 1834"/>
              <a:gd name="T82" fmla="*/ 10 w 3456"/>
              <a:gd name="T83" fmla="*/ 531 h 1834"/>
              <a:gd name="T84" fmla="*/ 3040 w 3456"/>
              <a:gd name="T85" fmla="*/ 340 h 1834"/>
              <a:gd name="T86" fmla="*/ 2929 w 3456"/>
              <a:gd name="T87" fmla="*/ 793 h 1834"/>
              <a:gd name="T88" fmla="*/ 2947 w 3456"/>
              <a:gd name="T89" fmla="*/ 287 h 1834"/>
              <a:gd name="T90" fmla="*/ 2214 w 3456"/>
              <a:gd name="T91" fmla="*/ 748 h 1834"/>
              <a:gd name="T92" fmla="*/ 2069 w 3456"/>
              <a:gd name="T93" fmla="*/ 748 h 1834"/>
              <a:gd name="T94" fmla="*/ 1335 w 3456"/>
              <a:gd name="T95" fmla="*/ 287 h 1834"/>
              <a:gd name="T96" fmla="*/ 1353 w 3456"/>
              <a:gd name="T97" fmla="*/ 793 h 1834"/>
              <a:gd name="T98" fmla="*/ 1242 w 3456"/>
              <a:gd name="T99" fmla="*/ 340 h 1834"/>
              <a:gd name="T100" fmla="*/ 553 w 3456"/>
              <a:gd name="T101" fmla="*/ 322 h 1834"/>
              <a:gd name="T102" fmla="*/ 468 w 3456"/>
              <a:gd name="T103" fmla="*/ 801 h 1834"/>
              <a:gd name="T104" fmla="*/ 450 w 3456"/>
              <a:gd name="T105" fmla="*/ 295 h 1834"/>
              <a:gd name="T106" fmla="*/ 2630 w 3456"/>
              <a:gd name="T107" fmla="*/ 879 h 1834"/>
              <a:gd name="T108" fmla="*/ 2490 w 3456"/>
              <a:gd name="T109" fmla="*/ 917 h 1834"/>
              <a:gd name="T110" fmla="*/ 902 w 3456"/>
              <a:gd name="T111" fmla="*/ 0 h 1834"/>
              <a:gd name="T112" fmla="*/ 955 w 3456"/>
              <a:gd name="T113" fmla="*/ 931 h 1834"/>
              <a:gd name="T114" fmla="*/ 826 w 3456"/>
              <a:gd name="T115" fmla="*/ 75 h 183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3456" h="1834">
                <a:moveTo>
                  <a:pt x="2828" y="1362"/>
                </a:moveTo>
                <a:lnTo>
                  <a:pt x="2798" y="1364"/>
                </a:lnTo>
                <a:lnTo>
                  <a:pt x="2771" y="1371"/>
                </a:lnTo>
                <a:lnTo>
                  <a:pt x="2747" y="1384"/>
                </a:lnTo>
                <a:lnTo>
                  <a:pt x="2725" y="1400"/>
                </a:lnTo>
                <a:lnTo>
                  <a:pt x="2706" y="1419"/>
                </a:lnTo>
                <a:lnTo>
                  <a:pt x="2691" y="1441"/>
                </a:lnTo>
                <a:lnTo>
                  <a:pt x="2680" y="1465"/>
                </a:lnTo>
                <a:lnTo>
                  <a:pt x="2674" y="1492"/>
                </a:lnTo>
                <a:lnTo>
                  <a:pt x="2671" y="1521"/>
                </a:lnTo>
                <a:lnTo>
                  <a:pt x="2674" y="1549"/>
                </a:lnTo>
                <a:lnTo>
                  <a:pt x="2680" y="1577"/>
                </a:lnTo>
                <a:lnTo>
                  <a:pt x="2691" y="1601"/>
                </a:lnTo>
                <a:lnTo>
                  <a:pt x="2706" y="1623"/>
                </a:lnTo>
                <a:lnTo>
                  <a:pt x="2725" y="1642"/>
                </a:lnTo>
                <a:lnTo>
                  <a:pt x="2747" y="1658"/>
                </a:lnTo>
                <a:lnTo>
                  <a:pt x="2771" y="1669"/>
                </a:lnTo>
                <a:lnTo>
                  <a:pt x="2798" y="1677"/>
                </a:lnTo>
                <a:lnTo>
                  <a:pt x="2828" y="1680"/>
                </a:lnTo>
                <a:lnTo>
                  <a:pt x="2857" y="1677"/>
                </a:lnTo>
                <a:lnTo>
                  <a:pt x="2883" y="1669"/>
                </a:lnTo>
                <a:lnTo>
                  <a:pt x="2908" y="1658"/>
                </a:lnTo>
                <a:lnTo>
                  <a:pt x="2930" y="1642"/>
                </a:lnTo>
                <a:lnTo>
                  <a:pt x="2948" y="1623"/>
                </a:lnTo>
                <a:lnTo>
                  <a:pt x="2964" y="1601"/>
                </a:lnTo>
                <a:lnTo>
                  <a:pt x="2975" y="1577"/>
                </a:lnTo>
                <a:lnTo>
                  <a:pt x="2982" y="1549"/>
                </a:lnTo>
                <a:lnTo>
                  <a:pt x="2985" y="1521"/>
                </a:lnTo>
                <a:lnTo>
                  <a:pt x="2982" y="1492"/>
                </a:lnTo>
                <a:lnTo>
                  <a:pt x="2975" y="1465"/>
                </a:lnTo>
                <a:lnTo>
                  <a:pt x="2964" y="1441"/>
                </a:lnTo>
                <a:lnTo>
                  <a:pt x="2948" y="1419"/>
                </a:lnTo>
                <a:lnTo>
                  <a:pt x="2930" y="1400"/>
                </a:lnTo>
                <a:lnTo>
                  <a:pt x="2908" y="1384"/>
                </a:lnTo>
                <a:lnTo>
                  <a:pt x="2883" y="1371"/>
                </a:lnTo>
                <a:lnTo>
                  <a:pt x="2857" y="1364"/>
                </a:lnTo>
                <a:lnTo>
                  <a:pt x="2828" y="1362"/>
                </a:lnTo>
                <a:close/>
                <a:moveTo>
                  <a:pt x="977" y="1218"/>
                </a:moveTo>
                <a:lnTo>
                  <a:pt x="1129" y="1218"/>
                </a:lnTo>
                <a:lnTo>
                  <a:pt x="1129" y="1823"/>
                </a:lnTo>
                <a:lnTo>
                  <a:pt x="977" y="1823"/>
                </a:lnTo>
                <a:lnTo>
                  <a:pt x="977" y="1218"/>
                </a:lnTo>
                <a:close/>
                <a:moveTo>
                  <a:pt x="2828" y="1208"/>
                </a:moveTo>
                <a:lnTo>
                  <a:pt x="2873" y="1211"/>
                </a:lnTo>
                <a:lnTo>
                  <a:pt x="2916" y="1219"/>
                </a:lnTo>
                <a:lnTo>
                  <a:pt x="2955" y="1232"/>
                </a:lnTo>
                <a:lnTo>
                  <a:pt x="2992" y="1251"/>
                </a:lnTo>
                <a:lnTo>
                  <a:pt x="3026" y="1273"/>
                </a:lnTo>
                <a:lnTo>
                  <a:pt x="3056" y="1299"/>
                </a:lnTo>
                <a:lnTo>
                  <a:pt x="3082" y="1330"/>
                </a:lnTo>
                <a:lnTo>
                  <a:pt x="3104" y="1363"/>
                </a:lnTo>
                <a:lnTo>
                  <a:pt x="3121" y="1398"/>
                </a:lnTo>
                <a:lnTo>
                  <a:pt x="3134" y="1437"/>
                </a:lnTo>
                <a:lnTo>
                  <a:pt x="3142" y="1479"/>
                </a:lnTo>
                <a:lnTo>
                  <a:pt x="3145" y="1521"/>
                </a:lnTo>
                <a:lnTo>
                  <a:pt x="3142" y="1563"/>
                </a:lnTo>
                <a:lnTo>
                  <a:pt x="3134" y="1604"/>
                </a:lnTo>
                <a:lnTo>
                  <a:pt x="3121" y="1642"/>
                </a:lnTo>
                <a:lnTo>
                  <a:pt x="3104" y="1679"/>
                </a:lnTo>
                <a:lnTo>
                  <a:pt x="3082" y="1712"/>
                </a:lnTo>
                <a:lnTo>
                  <a:pt x="3056" y="1742"/>
                </a:lnTo>
                <a:lnTo>
                  <a:pt x="3026" y="1769"/>
                </a:lnTo>
                <a:lnTo>
                  <a:pt x="2992" y="1791"/>
                </a:lnTo>
                <a:lnTo>
                  <a:pt x="2955" y="1809"/>
                </a:lnTo>
                <a:lnTo>
                  <a:pt x="2916" y="1822"/>
                </a:lnTo>
                <a:lnTo>
                  <a:pt x="2873" y="1831"/>
                </a:lnTo>
                <a:lnTo>
                  <a:pt x="2828" y="1834"/>
                </a:lnTo>
                <a:lnTo>
                  <a:pt x="2783" y="1831"/>
                </a:lnTo>
                <a:lnTo>
                  <a:pt x="2740" y="1822"/>
                </a:lnTo>
                <a:lnTo>
                  <a:pt x="2700" y="1809"/>
                </a:lnTo>
                <a:lnTo>
                  <a:pt x="2663" y="1791"/>
                </a:lnTo>
                <a:lnTo>
                  <a:pt x="2630" y="1769"/>
                </a:lnTo>
                <a:lnTo>
                  <a:pt x="2599" y="1742"/>
                </a:lnTo>
                <a:lnTo>
                  <a:pt x="2573" y="1712"/>
                </a:lnTo>
                <a:lnTo>
                  <a:pt x="2551" y="1679"/>
                </a:lnTo>
                <a:lnTo>
                  <a:pt x="2534" y="1642"/>
                </a:lnTo>
                <a:lnTo>
                  <a:pt x="2521" y="1604"/>
                </a:lnTo>
                <a:lnTo>
                  <a:pt x="2513" y="1563"/>
                </a:lnTo>
                <a:lnTo>
                  <a:pt x="2510" y="1521"/>
                </a:lnTo>
                <a:lnTo>
                  <a:pt x="2513" y="1479"/>
                </a:lnTo>
                <a:lnTo>
                  <a:pt x="2521" y="1437"/>
                </a:lnTo>
                <a:lnTo>
                  <a:pt x="2534" y="1398"/>
                </a:lnTo>
                <a:lnTo>
                  <a:pt x="2551" y="1363"/>
                </a:lnTo>
                <a:lnTo>
                  <a:pt x="2573" y="1330"/>
                </a:lnTo>
                <a:lnTo>
                  <a:pt x="2599" y="1299"/>
                </a:lnTo>
                <a:lnTo>
                  <a:pt x="2630" y="1273"/>
                </a:lnTo>
                <a:lnTo>
                  <a:pt x="2663" y="1251"/>
                </a:lnTo>
                <a:lnTo>
                  <a:pt x="2700" y="1232"/>
                </a:lnTo>
                <a:lnTo>
                  <a:pt x="2740" y="1219"/>
                </a:lnTo>
                <a:lnTo>
                  <a:pt x="2783" y="1211"/>
                </a:lnTo>
                <a:lnTo>
                  <a:pt x="2828" y="1208"/>
                </a:lnTo>
                <a:close/>
                <a:moveTo>
                  <a:pt x="2213" y="1208"/>
                </a:moveTo>
                <a:lnTo>
                  <a:pt x="2242" y="1209"/>
                </a:lnTo>
                <a:lnTo>
                  <a:pt x="2268" y="1211"/>
                </a:lnTo>
                <a:lnTo>
                  <a:pt x="2292" y="1215"/>
                </a:lnTo>
                <a:lnTo>
                  <a:pt x="2312" y="1219"/>
                </a:lnTo>
                <a:lnTo>
                  <a:pt x="2329" y="1223"/>
                </a:lnTo>
                <a:lnTo>
                  <a:pt x="2343" y="1227"/>
                </a:lnTo>
                <a:lnTo>
                  <a:pt x="2351" y="1230"/>
                </a:lnTo>
                <a:lnTo>
                  <a:pt x="2351" y="1392"/>
                </a:lnTo>
                <a:lnTo>
                  <a:pt x="2346" y="1389"/>
                </a:lnTo>
                <a:lnTo>
                  <a:pt x="2335" y="1384"/>
                </a:lnTo>
                <a:lnTo>
                  <a:pt x="2321" y="1377"/>
                </a:lnTo>
                <a:lnTo>
                  <a:pt x="2302" y="1371"/>
                </a:lnTo>
                <a:lnTo>
                  <a:pt x="2279" y="1365"/>
                </a:lnTo>
                <a:lnTo>
                  <a:pt x="2253" y="1360"/>
                </a:lnTo>
                <a:lnTo>
                  <a:pt x="2223" y="1359"/>
                </a:lnTo>
                <a:lnTo>
                  <a:pt x="2192" y="1362"/>
                </a:lnTo>
                <a:lnTo>
                  <a:pt x="2163" y="1369"/>
                </a:lnTo>
                <a:lnTo>
                  <a:pt x="2136" y="1381"/>
                </a:lnTo>
                <a:lnTo>
                  <a:pt x="2113" y="1396"/>
                </a:lnTo>
                <a:lnTo>
                  <a:pt x="2095" y="1415"/>
                </a:lnTo>
                <a:lnTo>
                  <a:pt x="2079" y="1437"/>
                </a:lnTo>
                <a:lnTo>
                  <a:pt x="2067" y="1463"/>
                </a:lnTo>
                <a:lnTo>
                  <a:pt x="2060" y="1490"/>
                </a:lnTo>
                <a:lnTo>
                  <a:pt x="2058" y="1521"/>
                </a:lnTo>
                <a:lnTo>
                  <a:pt x="2060" y="1550"/>
                </a:lnTo>
                <a:lnTo>
                  <a:pt x="2066" y="1578"/>
                </a:lnTo>
                <a:lnTo>
                  <a:pt x="2078" y="1602"/>
                </a:lnTo>
                <a:lnTo>
                  <a:pt x="2093" y="1625"/>
                </a:lnTo>
                <a:lnTo>
                  <a:pt x="2112" y="1644"/>
                </a:lnTo>
                <a:lnTo>
                  <a:pt x="2135" y="1660"/>
                </a:lnTo>
                <a:lnTo>
                  <a:pt x="2162" y="1672"/>
                </a:lnTo>
                <a:lnTo>
                  <a:pt x="2191" y="1679"/>
                </a:lnTo>
                <a:lnTo>
                  <a:pt x="2223" y="1682"/>
                </a:lnTo>
                <a:lnTo>
                  <a:pt x="2253" y="1680"/>
                </a:lnTo>
                <a:lnTo>
                  <a:pt x="2279" y="1676"/>
                </a:lnTo>
                <a:lnTo>
                  <a:pt x="2301" y="1671"/>
                </a:lnTo>
                <a:lnTo>
                  <a:pt x="2321" y="1664"/>
                </a:lnTo>
                <a:lnTo>
                  <a:pt x="2335" y="1658"/>
                </a:lnTo>
                <a:lnTo>
                  <a:pt x="2346" y="1653"/>
                </a:lnTo>
                <a:lnTo>
                  <a:pt x="2351" y="1649"/>
                </a:lnTo>
                <a:lnTo>
                  <a:pt x="2351" y="1812"/>
                </a:lnTo>
                <a:lnTo>
                  <a:pt x="2339" y="1816"/>
                </a:lnTo>
                <a:lnTo>
                  <a:pt x="2322" y="1820"/>
                </a:lnTo>
                <a:lnTo>
                  <a:pt x="2300" y="1826"/>
                </a:lnTo>
                <a:lnTo>
                  <a:pt x="2275" y="1830"/>
                </a:lnTo>
                <a:lnTo>
                  <a:pt x="2245" y="1833"/>
                </a:lnTo>
                <a:lnTo>
                  <a:pt x="2213" y="1834"/>
                </a:lnTo>
                <a:lnTo>
                  <a:pt x="2174" y="1832"/>
                </a:lnTo>
                <a:lnTo>
                  <a:pt x="2136" y="1826"/>
                </a:lnTo>
                <a:lnTo>
                  <a:pt x="2100" y="1815"/>
                </a:lnTo>
                <a:lnTo>
                  <a:pt x="2065" y="1801"/>
                </a:lnTo>
                <a:lnTo>
                  <a:pt x="2033" y="1783"/>
                </a:lnTo>
                <a:lnTo>
                  <a:pt x="2002" y="1762"/>
                </a:lnTo>
                <a:lnTo>
                  <a:pt x="1975" y="1737"/>
                </a:lnTo>
                <a:lnTo>
                  <a:pt x="1952" y="1710"/>
                </a:lnTo>
                <a:lnTo>
                  <a:pt x="1931" y="1678"/>
                </a:lnTo>
                <a:lnTo>
                  <a:pt x="1915" y="1643"/>
                </a:lnTo>
                <a:lnTo>
                  <a:pt x="1903" y="1605"/>
                </a:lnTo>
                <a:lnTo>
                  <a:pt x="1896" y="1564"/>
                </a:lnTo>
                <a:lnTo>
                  <a:pt x="1892" y="1521"/>
                </a:lnTo>
                <a:lnTo>
                  <a:pt x="1896" y="1477"/>
                </a:lnTo>
                <a:lnTo>
                  <a:pt x="1904" y="1434"/>
                </a:lnTo>
                <a:lnTo>
                  <a:pt x="1917" y="1395"/>
                </a:lnTo>
                <a:lnTo>
                  <a:pt x="1934" y="1359"/>
                </a:lnTo>
                <a:lnTo>
                  <a:pt x="1957" y="1326"/>
                </a:lnTo>
                <a:lnTo>
                  <a:pt x="1984" y="1296"/>
                </a:lnTo>
                <a:lnTo>
                  <a:pt x="2014" y="1271"/>
                </a:lnTo>
                <a:lnTo>
                  <a:pt x="2047" y="1249"/>
                </a:lnTo>
                <a:lnTo>
                  <a:pt x="2085" y="1231"/>
                </a:lnTo>
                <a:lnTo>
                  <a:pt x="2125" y="1218"/>
                </a:lnTo>
                <a:lnTo>
                  <a:pt x="2168" y="1211"/>
                </a:lnTo>
                <a:lnTo>
                  <a:pt x="2213" y="1208"/>
                </a:lnTo>
                <a:close/>
                <a:moveTo>
                  <a:pt x="630" y="1208"/>
                </a:moveTo>
                <a:lnTo>
                  <a:pt x="660" y="1209"/>
                </a:lnTo>
                <a:lnTo>
                  <a:pt x="687" y="1211"/>
                </a:lnTo>
                <a:lnTo>
                  <a:pt x="711" y="1215"/>
                </a:lnTo>
                <a:lnTo>
                  <a:pt x="731" y="1219"/>
                </a:lnTo>
                <a:lnTo>
                  <a:pt x="748" y="1223"/>
                </a:lnTo>
                <a:lnTo>
                  <a:pt x="760" y="1227"/>
                </a:lnTo>
                <a:lnTo>
                  <a:pt x="769" y="1230"/>
                </a:lnTo>
                <a:lnTo>
                  <a:pt x="769" y="1392"/>
                </a:lnTo>
                <a:lnTo>
                  <a:pt x="763" y="1389"/>
                </a:lnTo>
                <a:lnTo>
                  <a:pt x="754" y="1384"/>
                </a:lnTo>
                <a:lnTo>
                  <a:pt x="739" y="1377"/>
                </a:lnTo>
                <a:lnTo>
                  <a:pt x="721" y="1371"/>
                </a:lnTo>
                <a:lnTo>
                  <a:pt x="697" y="1365"/>
                </a:lnTo>
                <a:lnTo>
                  <a:pt x="671" y="1360"/>
                </a:lnTo>
                <a:lnTo>
                  <a:pt x="642" y="1359"/>
                </a:lnTo>
                <a:lnTo>
                  <a:pt x="611" y="1362"/>
                </a:lnTo>
                <a:lnTo>
                  <a:pt x="581" y="1369"/>
                </a:lnTo>
                <a:lnTo>
                  <a:pt x="555" y="1381"/>
                </a:lnTo>
                <a:lnTo>
                  <a:pt x="532" y="1396"/>
                </a:lnTo>
                <a:lnTo>
                  <a:pt x="513" y="1415"/>
                </a:lnTo>
                <a:lnTo>
                  <a:pt x="497" y="1437"/>
                </a:lnTo>
                <a:lnTo>
                  <a:pt x="485" y="1463"/>
                </a:lnTo>
                <a:lnTo>
                  <a:pt x="479" y="1490"/>
                </a:lnTo>
                <a:lnTo>
                  <a:pt x="475" y="1521"/>
                </a:lnTo>
                <a:lnTo>
                  <a:pt x="479" y="1550"/>
                </a:lnTo>
                <a:lnTo>
                  <a:pt x="485" y="1578"/>
                </a:lnTo>
                <a:lnTo>
                  <a:pt x="496" y="1602"/>
                </a:lnTo>
                <a:lnTo>
                  <a:pt x="512" y="1625"/>
                </a:lnTo>
                <a:lnTo>
                  <a:pt x="531" y="1644"/>
                </a:lnTo>
                <a:lnTo>
                  <a:pt x="554" y="1660"/>
                </a:lnTo>
                <a:lnTo>
                  <a:pt x="580" y="1672"/>
                </a:lnTo>
                <a:lnTo>
                  <a:pt x="610" y="1679"/>
                </a:lnTo>
                <a:lnTo>
                  <a:pt x="642" y="1682"/>
                </a:lnTo>
                <a:lnTo>
                  <a:pt x="671" y="1680"/>
                </a:lnTo>
                <a:lnTo>
                  <a:pt x="697" y="1676"/>
                </a:lnTo>
                <a:lnTo>
                  <a:pt x="719" y="1671"/>
                </a:lnTo>
                <a:lnTo>
                  <a:pt x="738" y="1664"/>
                </a:lnTo>
                <a:lnTo>
                  <a:pt x="753" y="1658"/>
                </a:lnTo>
                <a:lnTo>
                  <a:pt x="763" y="1653"/>
                </a:lnTo>
                <a:lnTo>
                  <a:pt x="769" y="1649"/>
                </a:lnTo>
                <a:lnTo>
                  <a:pt x="769" y="1812"/>
                </a:lnTo>
                <a:lnTo>
                  <a:pt x="757" y="1816"/>
                </a:lnTo>
                <a:lnTo>
                  <a:pt x="740" y="1820"/>
                </a:lnTo>
                <a:lnTo>
                  <a:pt x="718" y="1826"/>
                </a:lnTo>
                <a:lnTo>
                  <a:pt x="692" y="1830"/>
                </a:lnTo>
                <a:lnTo>
                  <a:pt x="663" y="1833"/>
                </a:lnTo>
                <a:lnTo>
                  <a:pt x="630" y="1834"/>
                </a:lnTo>
                <a:lnTo>
                  <a:pt x="592" y="1832"/>
                </a:lnTo>
                <a:lnTo>
                  <a:pt x="554" y="1826"/>
                </a:lnTo>
                <a:lnTo>
                  <a:pt x="518" y="1815"/>
                </a:lnTo>
                <a:lnTo>
                  <a:pt x="484" y="1801"/>
                </a:lnTo>
                <a:lnTo>
                  <a:pt x="451" y="1783"/>
                </a:lnTo>
                <a:lnTo>
                  <a:pt x="421" y="1762"/>
                </a:lnTo>
                <a:lnTo>
                  <a:pt x="394" y="1737"/>
                </a:lnTo>
                <a:lnTo>
                  <a:pt x="370" y="1710"/>
                </a:lnTo>
                <a:lnTo>
                  <a:pt x="350" y="1678"/>
                </a:lnTo>
                <a:lnTo>
                  <a:pt x="333" y="1643"/>
                </a:lnTo>
                <a:lnTo>
                  <a:pt x="322" y="1605"/>
                </a:lnTo>
                <a:lnTo>
                  <a:pt x="314" y="1564"/>
                </a:lnTo>
                <a:lnTo>
                  <a:pt x="311" y="1521"/>
                </a:lnTo>
                <a:lnTo>
                  <a:pt x="314" y="1477"/>
                </a:lnTo>
                <a:lnTo>
                  <a:pt x="323" y="1434"/>
                </a:lnTo>
                <a:lnTo>
                  <a:pt x="335" y="1395"/>
                </a:lnTo>
                <a:lnTo>
                  <a:pt x="353" y="1359"/>
                </a:lnTo>
                <a:lnTo>
                  <a:pt x="375" y="1326"/>
                </a:lnTo>
                <a:lnTo>
                  <a:pt x="402" y="1296"/>
                </a:lnTo>
                <a:lnTo>
                  <a:pt x="433" y="1271"/>
                </a:lnTo>
                <a:lnTo>
                  <a:pt x="466" y="1249"/>
                </a:lnTo>
                <a:lnTo>
                  <a:pt x="503" y="1231"/>
                </a:lnTo>
                <a:lnTo>
                  <a:pt x="544" y="1218"/>
                </a:lnTo>
                <a:lnTo>
                  <a:pt x="585" y="1211"/>
                </a:lnTo>
                <a:lnTo>
                  <a:pt x="630" y="1208"/>
                </a:lnTo>
                <a:close/>
                <a:moveTo>
                  <a:pt x="1556" y="1208"/>
                </a:moveTo>
                <a:lnTo>
                  <a:pt x="1583" y="1209"/>
                </a:lnTo>
                <a:lnTo>
                  <a:pt x="1610" y="1211"/>
                </a:lnTo>
                <a:lnTo>
                  <a:pt x="1634" y="1213"/>
                </a:lnTo>
                <a:lnTo>
                  <a:pt x="1656" y="1217"/>
                </a:lnTo>
                <a:lnTo>
                  <a:pt x="1675" y="1220"/>
                </a:lnTo>
                <a:lnTo>
                  <a:pt x="1689" y="1223"/>
                </a:lnTo>
                <a:lnTo>
                  <a:pt x="1699" y="1226"/>
                </a:lnTo>
                <a:lnTo>
                  <a:pt x="1704" y="1227"/>
                </a:lnTo>
                <a:lnTo>
                  <a:pt x="1704" y="1356"/>
                </a:lnTo>
                <a:lnTo>
                  <a:pt x="1700" y="1355"/>
                </a:lnTo>
                <a:lnTo>
                  <a:pt x="1691" y="1353"/>
                </a:lnTo>
                <a:lnTo>
                  <a:pt x="1679" y="1350"/>
                </a:lnTo>
                <a:lnTo>
                  <a:pt x="1663" y="1347"/>
                </a:lnTo>
                <a:lnTo>
                  <a:pt x="1645" y="1343"/>
                </a:lnTo>
                <a:lnTo>
                  <a:pt x="1625" y="1340"/>
                </a:lnTo>
                <a:lnTo>
                  <a:pt x="1605" y="1338"/>
                </a:lnTo>
                <a:lnTo>
                  <a:pt x="1586" y="1337"/>
                </a:lnTo>
                <a:lnTo>
                  <a:pt x="1557" y="1339"/>
                </a:lnTo>
                <a:lnTo>
                  <a:pt x="1534" y="1344"/>
                </a:lnTo>
                <a:lnTo>
                  <a:pt x="1515" y="1351"/>
                </a:lnTo>
                <a:lnTo>
                  <a:pt x="1502" y="1362"/>
                </a:lnTo>
                <a:lnTo>
                  <a:pt x="1494" y="1373"/>
                </a:lnTo>
                <a:lnTo>
                  <a:pt x="1491" y="1387"/>
                </a:lnTo>
                <a:lnTo>
                  <a:pt x="1494" y="1402"/>
                </a:lnTo>
                <a:lnTo>
                  <a:pt x="1501" y="1413"/>
                </a:lnTo>
                <a:lnTo>
                  <a:pt x="1511" y="1423"/>
                </a:lnTo>
                <a:lnTo>
                  <a:pt x="1523" y="1430"/>
                </a:lnTo>
                <a:lnTo>
                  <a:pt x="1536" y="1436"/>
                </a:lnTo>
                <a:lnTo>
                  <a:pt x="1549" y="1441"/>
                </a:lnTo>
                <a:lnTo>
                  <a:pt x="1560" y="1445"/>
                </a:lnTo>
                <a:lnTo>
                  <a:pt x="1602" y="1458"/>
                </a:lnTo>
                <a:lnTo>
                  <a:pt x="1634" y="1470"/>
                </a:lnTo>
                <a:lnTo>
                  <a:pt x="1661" y="1484"/>
                </a:lnTo>
                <a:lnTo>
                  <a:pt x="1684" y="1501"/>
                </a:lnTo>
                <a:lnTo>
                  <a:pt x="1703" y="1519"/>
                </a:lnTo>
                <a:lnTo>
                  <a:pt x="1719" y="1539"/>
                </a:lnTo>
                <a:lnTo>
                  <a:pt x="1731" y="1560"/>
                </a:lnTo>
                <a:lnTo>
                  <a:pt x="1740" y="1583"/>
                </a:lnTo>
                <a:lnTo>
                  <a:pt x="1745" y="1606"/>
                </a:lnTo>
                <a:lnTo>
                  <a:pt x="1746" y="1630"/>
                </a:lnTo>
                <a:lnTo>
                  <a:pt x="1744" y="1664"/>
                </a:lnTo>
                <a:lnTo>
                  <a:pt x="1737" y="1694"/>
                </a:lnTo>
                <a:lnTo>
                  <a:pt x="1727" y="1720"/>
                </a:lnTo>
                <a:lnTo>
                  <a:pt x="1712" y="1744"/>
                </a:lnTo>
                <a:lnTo>
                  <a:pt x="1696" y="1764"/>
                </a:lnTo>
                <a:lnTo>
                  <a:pt x="1676" y="1781"/>
                </a:lnTo>
                <a:lnTo>
                  <a:pt x="1654" y="1796"/>
                </a:lnTo>
                <a:lnTo>
                  <a:pt x="1630" y="1809"/>
                </a:lnTo>
                <a:lnTo>
                  <a:pt x="1604" y="1818"/>
                </a:lnTo>
                <a:lnTo>
                  <a:pt x="1578" y="1826"/>
                </a:lnTo>
                <a:lnTo>
                  <a:pt x="1551" y="1830"/>
                </a:lnTo>
                <a:lnTo>
                  <a:pt x="1524" y="1833"/>
                </a:lnTo>
                <a:lnTo>
                  <a:pt x="1498" y="1834"/>
                </a:lnTo>
                <a:lnTo>
                  <a:pt x="1467" y="1833"/>
                </a:lnTo>
                <a:lnTo>
                  <a:pt x="1439" y="1832"/>
                </a:lnTo>
                <a:lnTo>
                  <a:pt x="1412" y="1829"/>
                </a:lnTo>
                <a:lnTo>
                  <a:pt x="1388" y="1827"/>
                </a:lnTo>
                <a:lnTo>
                  <a:pt x="1368" y="1823"/>
                </a:lnTo>
                <a:lnTo>
                  <a:pt x="1351" y="1820"/>
                </a:lnTo>
                <a:lnTo>
                  <a:pt x="1339" y="1818"/>
                </a:lnTo>
                <a:lnTo>
                  <a:pt x="1334" y="1817"/>
                </a:lnTo>
                <a:lnTo>
                  <a:pt x="1334" y="1678"/>
                </a:lnTo>
                <a:lnTo>
                  <a:pt x="1343" y="1680"/>
                </a:lnTo>
                <a:lnTo>
                  <a:pt x="1356" y="1684"/>
                </a:lnTo>
                <a:lnTo>
                  <a:pt x="1375" y="1688"/>
                </a:lnTo>
                <a:lnTo>
                  <a:pt x="1397" y="1693"/>
                </a:lnTo>
                <a:lnTo>
                  <a:pt x="1422" y="1697"/>
                </a:lnTo>
                <a:lnTo>
                  <a:pt x="1448" y="1700"/>
                </a:lnTo>
                <a:lnTo>
                  <a:pt x="1477" y="1701"/>
                </a:lnTo>
                <a:lnTo>
                  <a:pt x="1507" y="1699"/>
                </a:lnTo>
                <a:lnTo>
                  <a:pt x="1531" y="1696"/>
                </a:lnTo>
                <a:lnTo>
                  <a:pt x="1552" y="1690"/>
                </a:lnTo>
                <a:lnTo>
                  <a:pt x="1568" y="1681"/>
                </a:lnTo>
                <a:lnTo>
                  <a:pt x="1578" y="1671"/>
                </a:lnTo>
                <a:lnTo>
                  <a:pt x="1585" y="1658"/>
                </a:lnTo>
                <a:lnTo>
                  <a:pt x="1587" y="1644"/>
                </a:lnTo>
                <a:lnTo>
                  <a:pt x="1585" y="1629"/>
                </a:lnTo>
                <a:lnTo>
                  <a:pt x="1578" y="1618"/>
                </a:lnTo>
                <a:lnTo>
                  <a:pt x="1567" y="1607"/>
                </a:lnTo>
                <a:lnTo>
                  <a:pt x="1553" y="1598"/>
                </a:lnTo>
                <a:lnTo>
                  <a:pt x="1537" y="1590"/>
                </a:lnTo>
                <a:lnTo>
                  <a:pt x="1520" y="1584"/>
                </a:lnTo>
                <a:lnTo>
                  <a:pt x="1509" y="1581"/>
                </a:lnTo>
                <a:lnTo>
                  <a:pt x="1498" y="1577"/>
                </a:lnTo>
                <a:lnTo>
                  <a:pt x="1487" y="1574"/>
                </a:lnTo>
                <a:lnTo>
                  <a:pt x="1462" y="1565"/>
                </a:lnTo>
                <a:lnTo>
                  <a:pt x="1439" y="1555"/>
                </a:lnTo>
                <a:lnTo>
                  <a:pt x="1416" y="1542"/>
                </a:lnTo>
                <a:lnTo>
                  <a:pt x="1396" y="1528"/>
                </a:lnTo>
                <a:lnTo>
                  <a:pt x="1378" y="1512"/>
                </a:lnTo>
                <a:lnTo>
                  <a:pt x="1363" y="1494"/>
                </a:lnTo>
                <a:lnTo>
                  <a:pt x="1350" y="1473"/>
                </a:lnTo>
                <a:lnTo>
                  <a:pt x="1341" y="1451"/>
                </a:lnTo>
                <a:lnTo>
                  <a:pt x="1334" y="1425"/>
                </a:lnTo>
                <a:lnTo>
                  <a:pt x="1332" y="1396"/>
                </a:lnTo>
                <a:lnTo>
                  <a:pt x="1334" y="1364"/>
                </a:lnTo>
                <a:lnTo>
                  <a:pt x="1342" y="1333"/>
                </a:lnTo>
                <a:lnTo>
                  <a:pt x="1354" y="1306"/>
                </a:lnTo>
                <a:lnTo>
                  <a:pt x="1371" y="1281"/>
                </a:lnTo>
                <a:lnTo>
                  <a:pt x="1392" y="1259"/>
                </a:lnTo>
                <a:lnTo>
                  <a:pt x="1417" y="1241"/>
                </a:lnTo>
                <a:lnTo>
                  <a:pt x="1446" y="1227"/>
                </a:lnTo>
                <a:lnTo>
                  <a:pt x="1479" y="1216"/>
                </a:lnTo>
                <a:lnTo>
                  <a:pt x="1515" y="1210"/>
                </a:lnTo>
                <a:lnTo>
                  <a:pt x="1556" y="1208"/>
                </a:lnTo>
                <a:close/>
                <a:moveTo>
                  <a:pt x="3381" y="493"/>
                </a:moveTo>
                <a:lnTo>
                  <a:pt x="3400" y="496"/>
                </a:lnTo>
                <a:lnTo>
                  <a:pt x="3418" y="503"/>
                </a:lnTo>
                <a:lnTo>
                  <a:pt x="3434" y="515"/>
                </a:lnTo>
                <a:lnTo>
                  <a:pt x="3446" y="531"/>
                </a:lnTo>
                <a:lnTo>
                  <a:pt x="3453" y="548"/>
                </a:lnTo>
                <a:lnTo>
                  <a:pt x="3456" y="569"/>
                </a:lnTo>
                <a:lnTo>
                  <a:pt x="3456" y="727"/>
                </a:lnTo>
                <a:lnTo>
                  <a:pt x="3453" y="748"/>
                </a:lnTo>
                <a:lnTo>
                  <a:pt x="3446" y="766"/>
                </a:lnTo>
                <a:lnTo>
                  <a:pt x="3434" y="780"/>
                </a:lnTo>
                <a:lnTo>
                  <a:pt x="3418" y="793"/>
                </a:lnTo>
                <a:lnTo>
                  <a:pt x="3400" y="801"/>
                </a:lnTo>
                <a:lnTo>
                  <a:pt x="3381" y="803"/>
                </a:lnTo>
                <a:lnTo>
                  <a:pt x="3361" y="801"/>
                </a:lnTo>
                <a:lnTo>
                  <a:pt x="3343" y="793"/>
                </a:lnTo>
                <a:lnTo>
                  <a:pt x="3328" y="780"/>
                </a:lnTo>
                <a:lnTo>
                  <a:pt x="3316" y="766"/>
                </a:lnTo>
                <a:lnTo>
                  <a:pt x="3308" y="748"/>
                </a:lnTo>
                <a:lnTo>
                  <a:pt x="3306" y="727"/>
                </a:lnTo>
                <a:lnTo>
                  <a:pt x="3306" y="569"/>
                </a:lnTo>
                <a:lnTo>
                  <a:pt x="3308" y="548"/>
                </a:lnTo>
                <a:lnTo>
                  <a:pt x="3316" y="531"/>
                </a:lnTo>
                <a:lnTo>
                  <a:pt x="3328" y="515"/>
                </a:lnTo>
                <a:lnTo>
                  <a:pt x="3343" y="503"/>
                </a:lnTo>
                <a:lnTo>
                  <a:pt x="3361" y="496"/>
                </a:lnTo>
                <a:lnTo>
                  <a:pt x="3381" y="493"/>
                </a:lnTo>
                <a:close/>
                <a:moveTo>
                  <a:pt x="1728" y="493"/>
                </a:moveTo>
                <a:lnTo>
                  <a:pt x="1748" y="496"/>
                </a:lnTo>
                <a:lnTo>
                  <a:pt x="1766" y="503"/>
                </a:lnTo>
                <a:lnTo>
                  <a:pt x="1781" y="515"/>
                </a:lnTo>
                <a:lnTo>
                  <a:pt x="1793" y="531"/>
                </a:lnTo>
                <a:lnTo>
                  <a:pt x="1800" y="548"/>
                </a:lnTo>
                <a:lnTo>
                  <a:pt x="1803" y="569"/>
                </a:lnTo>
                <a:lnTo>
                  <a:pt x="1803" y="727"/>
                </a:lnTo>
                <a:lnTo>
                  <a:pt x="1800" y="748"/>
                </a:lnTo>
                <a:lnTo>
                  <a:pt x="1793" y="766"/>
                </a:lnTo>
                <a:lnTo>
                  <a:pt x="1781" y="780"/>
                </a:lnTo>
                <a:lnTo>
                  <a:pt x="1766" y="793"/>
                </a:lnTo>
                <a:lnTo>
                  <a:pt x="1748" y="801"/>
                </a:lnTo>
                <a:lnTo>
                  <a:pt x="1728" y="803"/>
                </a:lnTo>
                <a:lnTo>
                  <a:pt x="1708" y="801"/>
                </a:lnTo>
                <a:lnTo>
                  <a:pt x="1690" y="793"/>
                </a:lnTo>
                <a:lnTo>
                  <a:pt x="1675" y="780"/>
                </a:lnTo>
                <a:lnTo>
                  <a:pt x="1663" y="766"/>
                </a:lnTo>
                <a:lnTo>
                  <a:pt x="1656" y="748"/>
                </a:lnTo>
                <a:lnTo>
                  <a:pt x="1653" y="727"/>
                </a:lnTo>
                <a:lnTo>
                  <a:pt x="1653" y="569"/>
                </a:lnTo>
                <a:lnTo>
                  <a:pt x="1656" y="548"/>
                </a:lnTo>
                <a:lnTo>
                  <a:pt x="1663" y="531"/>
                </a:lnTo>
                <a:lnTo>
                  <a:pt x="1675" y="515"/>
                </a:lnTo>
                <a:lnTo>
                  <a:pt x="1690" y="503"/>
                </a:lnTo>
                <a:lnTo>
                  <a:pt x="1708" y="496"/>
                </a:lnTo>
                <a:lnTo>
                  <a:pt x="1728" y="493"/>
                </a:lnTo>
                <a:close/>
                <a:moveTo>
                  <a:pt x="75" y="493"/>
                </a:moveTo>
                <a:lnTo>
                  <a:pt x="95" y="496"/>
                </a:lnTo>
                <a:lnTo>
                  <a:pt x="113" y="503"/>
                </a:lnTo>
                <a:lnTo>
                  <a:pt x="129" y="515"/>
                </a:lnTo>
                <a:lnTo>
                  <a:pt x="140" y="531"/>
                </a:lnTo>
                <a:lnTo>
                  <a:pt x="148" y="548"/>
                </a:lnTo>
                <a:lnTo>
                  <a:pt x="151" y="569"/>
                </a:lnTo>
                <a:lnTo>
                  <a:pt x="151" y="727"/>
                </a:lnTo>
                <a:lnTo>
                  <a:pt x="148" y="748"/>
                </a:lnTo>
                <a:lnTo>
                  <a:pt x="140" y="766"/>
                </a:lnTo>
                <a:lnTo>
                  <a:pt x="129" y="780"/>
                </a:lnTo>
                <a:lnTo>
                  <a:pt x="113" y="793"/>
                </a:lnTo>
                <a:lnTo>
                  <a:pt x="95" y="801"/>
                </a:lnTo>
                <a:lnTo>
                  <a:pt x="75" y="803"/>
                </a:lnTo>
                <a:lnTo>
                  <a:pt x="56" y="801"/>
                </a:lnTo>
                <a:lnTo>
                  <a:pt x="38" y="793"/>
                </a:lnTo>
                <a:lnTo>
                  <a:pt x="22" y="780"/>
                </a:lnTo>
                <a:lnTo>
                  <a:pt x="10" y="766"/>
                </a:lnTo>
                <a:lnTo>
                  <a:pt x="3" y="748"/>
                </a:lnTo>
                <a:lnTo>
                  <a:pt x="0" y="727"/>
                </a:lnTo>
                <a:lnTo>
                  <a:pt x="0" y="569"/>
                </a:lnTo>
                <a:lnTo>
                  <a:pt x="3" y="548"/>
                </a:lnTo>
                <a:lnTo>
                  <a:pt x="10" y="531"/>
                </a:lnTo>
                <a:lnTo>
                  <a:pt x="22" y="515"/>
                </a:lnTo>
                <a:lnTo>
                  <a:pt x="38" y="503"/>
                </a:lnTo>
                <a:lnTo>
                  <a:pt x="56" y="496"/>
                </a:lnTo>
                <a:lnTo>
                  <a:pt x="75" y="493"/>
                </a:lnTo>
                <a:close/>
                <a:moveTo>
                  <a:pt x="2968" y="285"/>
                </a:moveTo>
                <a:lnTo>
                  <a:pt x="2988" y="287"/>
                </a:lnTo>
                <a:lnTo>
                  <a:pt x="3006" y="295"/>
                </a:lnTo>
                <a:lnTo>
                  <a:pt x="3021" y="307"/>
                </a:lnTo>
                <a:lnTo>
                  <a:pt x="3033" y="322"/>
                </a:lnTo>
                <a:lnTo>
                  <a:pt x="3040" y="340"/>
                </a:lnTo>
                <a:lnTo>
                  <a:pt x="3043" y="360"/>
                </a:lnTo>
                <a:lnTo>
                  <a:pt x="3043" y="727"/>
                </a:lnTo>
                <a:lnTo>
                  <a:pt x="3040" y="748"/>
                </a:lnTo>
                <a:lnTo>
                  <a:pt x="3033" y="766"/>
                </a:lnTo>
                <a:lnTo>
                  <a:pt x="3021" y="780"/>
                </a:lnTo>
                <a:lnTo>
                  <a:pt x="3006" y="793"/>
                </a:lnTo>
                <a:lnTo>
                  <a:pt x="2988" y="801"/>
                </a:lnTo>
                <a:lnTo>
                  <a:pt x="2968" y="803"/>
                </a:lnTo>
                <a:lnTo>
                  <a:pt x="2947" y="801"/>
                </a:lnTo>
                <a:lnTo>
                  <a:pt x="2929" y="793"/>
                </a:lnTo>
                <a:lnTo>
                  <a:pt x="2915" y="780"/>
                </a:lnTo>
                <a:lnTo>
                  <a:pt x="2903" y="766"/>
                </a:lnTo>
                <a:lnTo>
                  <a:pt x="2895" y="748"/>
                </a:lnTo>
                <a:lnTo>
                  <a:pt x="2893" y="727"/>
                </a:lnTo>
                <a:lnTo>
                  <a:pt x="2893" y="360"/>
                </a:lnTo>
                <a:lnTo>
                  <a:pt x="2895" y="340"/>
                </a:lnTo>
                <a:lnTo>
                  <a:pt x="2903" y="322"/>
                </a:lnTo>
                <a:lnTo>
                  <a:pt x="2915" y="307"/>
                </a:lnTo>
                <a:lnTo>
                  <a:pt x="2929" y="295"/>
                </a:lnTo>
                <a:lnTo>
                  <a:pt x="2947" y="287"/>
                </a:lnTo>
                <a:lnTo>
                  <a:pt x="2968" y="285"/>
                </a:lnTo>
                <a:close/>
                <a:moveTo>
                  <a:pt x="2142" y="285"/>
                </a:moveTo>
                <a:lnTo>
                  <a:pt x="2162" y="287"/>
                </a:lnTo>
                <a:lnTo>
                  <a:pt x="2179" y="295"/>
                </a:lnTo>
                <a:lnTo>
                  <a:pt x="2194" y="307"/>
                </a:lnTo>
                <a:lnTo>
                  <a:pt x="2207" y="322"/>
                </a:lnTo>
                <a:lnTo>
                  <a:pt x="2214" y="340"/>
                </a:lnTo>
                <a:lnTo>
                  <a:pt x="2216" y="360"/>
                </a:lnTo>
                <a:lnTo>
                  <a:pt x="2216" y="727"/>
                </a:lnTo>
                <a:lnTo>
                  <a:pt x="2214" y="748"/>
                </a:lnTo>
                <a:lnTo>
                  <a:pt x="2207" y="766"/>
                </a:lnTo>
                <a:lnTo>
                  <a:pt x="2194" y="780"/>
                </a:lnTo>
                <a:lnTo>
                  <a:pt x="2179" y="793"/>
                </a:lnTo>
                <a:lnTo>
                  <a:pt x="2162" y="801"/>
                </a:lnTo>
                <a:lnTo>
                  <a:pt x="2142" y="803"/>
                </a:lnTo>
                <a:lnTo>
                  <a:pt x="2122" y="801"/>
                </a:lnTo>
                <a:lnTo>
                  <a:pt x="2104" y="793"/>
                </a:lnTo>
                <a:lnTo>
                  <a:pt x="2088" y="780"/>
                </a:lnTo>
                <a:lnTo>
                  <a:pt x="2077" y="766"/>
                </a:lnTo>
                <a:lnTo>
                  <a:pt x="2069" y="748"/>
                </a:lnTo>
                <a:lnTo>
                  <a:pt x="2066" y="727"/>
                </a:lnTo>
                <a:lnTo>
                  <a:pt x="2066" y="360"/>
                </a:lnTo>
                <a:lnTo>
                  <a:pt x="2069" y="340"/>
                </a:lnTo>
                <a:lnTo>
                  <a:pt x="2077" y="322"/>
                </a:lnTo>
                <a:lnTo>
                  <a:pt x="2088" y="307"/>
                </a:lnTo>
                <a:lnTo>
                  <a:pt x="2104" y="295"/>
                </a:lnTo>
                <a:lnTo>
                  <a:pt x="2122" y="287"/>
                </a:lnTo>
                <a:lnTo>
                  <a:pt x="2142" y="285"/>
                </a:lnTo>
                <a:close/>
                <a:moveTo>
                  <a:pt x="1315" y="285"/>
                </a:moveTo>
                <a:lnTo>
                  <a:pt x="1335" y="287"/>
                </a:lnTo>
                <a:lnTo>
                  <a:pt x="1353" y="295"/>
                </a:lnTo>
                <a:lnTo>
                  <a:pt x="1368" y="307"/>
                </a:lnTo>
                <a:lnTo>
                  <a:pt x="1380" y="322"/>
                </a:lnTo>
                <a:lnTo>
                  <a:pt x="1388" y="340"/>
                </a:lnTo>
                <a:lnTo>
                  <a:pt x="1390" y="360"/>
                </a:lnTo>
                <a:lnTo>
                  <a:pt x="1390" y="727"/>
                </a:lnTo>
                <a:lnTo>
                  <a:pt x="1388" y="748"/>
                </a:lnTo>
                <a:lnTo>
                  <a:pt x="1380" y="766"/>
                </a:lnTo>
                <a:lnTo>
                  <a:pt x="1368" y="780"/>
                </a:lnTo>
                <a:lnTo>
                  <a:pt x="1353" y="793"/>
                </a:lnTo>
                <a:lnTo>
                  <a:pt x="1335" y="801"/>
                </a:lnTo>
                <a:lnTo>
                  <a:pt x="1315" y="803"/>
                </a:lnTo>
                <a:lnTo>
                  <a:pt x="1295" y="801"/>
                </a:lnTo>
                <a:lnTo>
                  <a:pt x="1277" y="793"/>
                </a:lnTo>
                <a:lnTo>
                  <a:pt x="1262" y="780"/>
                </a:lnTo>
                <a:lnTo>
                  <a:pt x="1250" y="766"/>
                </a:lnTo>
                <a:lnTo>
                  <a:pt x="1242" y="748"/>
                </a:lnTo>
                <a:lnTo>
                  <a:pt x="1240" y="727"/>
                </a:lnTo>
                <a:lnTo>
                  <a:pt x="1240" y="360"/>
                </a:lnTo>
                <a:lnTo>
                  <a:pt x="1242" y="340"/>
                </a:lnTo>
                <a:lnTo>
                  <a:pt x="1250" y="322"/>
                </a:lnTo>
                <a:lnTo>
                  <a:pt x="1262" y="307"/>
                </a:lnTo>
                <a:lnTo>
                  <a:pt x="1277" y="295"/>
                </a:lnTo>
                <a:lnTo>
                  <a:pt x="1295" y="287"/>
                </a:lnTo>
                <a:lnTo>
                  <a:pt x="1315" y="285"/>
                </a:lnTo>
                <a:close/>
                <a:moveTo>
                  <a:pt x="488" y="285"/>
                </a:moveTo>
                <a:lnTo>
                  <a:pt x="508" y="287"/>
                </a:lnTo>
                <a:lnTo>
                  <a:pt x="527" y="295"/>
                </a:lnTo>
                <a:lnTo>
                  <a:pt x="541" y="307"/>
                </a:lnTo>
                <a:lnTo>
                  <a:pt x="553" y="322"/>
                </a:lnTo>
                <a:lnTo>
                  <a:pt x="561" y="340"/>
                </a:lnTo>
                <a:lnTo>
                  <a:pt x="563" y="360"/>
                </a:lnTo>
                <a:lnTo>
                  <a:pt x="563" y="727"/>
                </a:lnTo>
                <a:lnTo>
                  <a:pt x="561" y="748"/>
                </a:lnTo>
                <a:lnTo>
                  <a:pt x="553" y="766"/>
                </a:lnTo>
                <a:lnTo>
                  <a:pt x="541" y="780"/>
                </a:lnTo>
                <a:lnTo>
                  <a:pt x="527" y="793"/>
                </a:lnTo>
                <a:lnTo>
                  <a:pt x="508" y="801"/>
                </a:lnTo>
                <a:lnTo>
                  <a:pt x="488" y="803"/>
                </a:lnTo>
                <a:lnTo>
                  <a:pt x="468" y="801"/>
                </a:lnTo>
                <a:lnTo>
                  <a:pt x="450" y="793"/>
                </a:lnTo>
                <a:lnTo>
                  <a:pt x="436" y="780"/>
                </a:lnTo>
                <a:lnTo>
                  <a:pt x="423" y="766"/>
                </a:lnTo>
                <a:lnTo>
                  <a:pt x="416" y="748"/>
                </a:lnTo>
                <a:lnTo>
                  <a:pt x="414" y="727"/>
                </a:lnTo>
                <a:lnTo>
                  <a:pt x="414" y="360"/>
                </a:lnTo>
                <a:lnTo>
                  <a:pt x="416" y="340"/>
                </a:lnTo>
                <a:lnTo>
                  <a:pt x="423" y="322"/>
                </a:lnTo>
                <a:lnTo>
                  <a:pt x="436" y="307"/>
                </a:lnTo>
                <a:lnTo>
                  <a:pt x="450" y="295"/>
                </a:lnTo>
                <a:lnTo>
                  <a:pt x="468" y="287"/>
                </a:lnTo>
                <a:lnTo>
                  <a:pt x="488" y="285"/>
                </a:lnTo>
                <a:close/>
                <a:moveTo>
                  <a:pt x="2555" y="0"/>
                </a:moveTo>
                <a:lnTo>
                  <a:pt x="2575" y="2"/>
                </a:lnTo>
                <a:lnTo>
                  <a:pt x="2593" y="10"/>
                </a:lnTo>
                <a:lnTo>
                  <a:pt x="2608" y="22"/>
                </a:lnTo>
                <a:lnTo>
                  <a:pt x="2619" y="37"/>
                </a:lnTo>
                <a:lnTo>
                  <a:pt x="2628" y="55"/>
                </a:lnTo>
                <a:lnTo>
                  <a:pt x="2630" y="75"/>
                </a:lnTo>
                <a:lnTo>
                  <a:pt x="2630" y="879"/>
                </a:lnTo>
                <a:lnTo>
                  <a:pt x="2628" y="899"/>
                </a:lnTo>
                <a:lnTo>
                  <a:pt x="2619" y="917"/>
                </a:lnTo>
                <a:lnTo>
                  <a:pt x="2608" y="931"/>
                </a:lnTo>
                <a:lnTo>
                  <a:pt x="2593" y="944"/>
                </a:lnTo>
                <a:lnTo>
                  <a:pt x="2575" y="951"/>
                </a:lnTo>
                <a:lnTo>
                  <a:pt x="2555" y="953"/>
                </a:lnTo>
                <a:lnTo>
                  <a:pt x="2535" y="951"/>
                </a:lnTo>
                <a:lnTo>
                  <a:pt x="2517" y="944"/>
                </a:lnTo>
                <a:lnTo>
                  <a:pt x="2502" y="931"/>
                </a:lnTo>
                <a:lnTo>
                  <a:pt x="2490" y="917"/>
                </a:lnTo>
                <a:lnTo>
                  <a:pt x="2483" y="899"/>
                </a:lnTo>
                <a:lnTo>
                  <a:pt x="2480" y="879"/>
                </a:lnTo>
                <a:lnTo>
                  <a:pt x="2480" y="75"/>
                </a:lnTo>
                <a:lnTo>
                  <a:pt x="2483" y="55"/>
                </a:lnTo>
                <a:lnTo>
                  <a:pt x="2490" y="37"/>
                </a:lnTo>
                <a:lnTo>
                  <a:pt x="2502" y="22"/>
                </a:lnTo>
                <a:lnTo>
                  <a:pt x="2517" y="10"/>
                </a:lnTo>
                <a:lnTo>
                  <a:pt x="2535" y="2"/>
                </a:lnTo>
                <a:lnTo>
                  <a:pt x="2555" y="0"/>
                </a:lnTo>
                <a:close/>
                <a:moveTo>
                  <a:pt x="902" y="0"/>
                </a:moveTo>
                <a:lnTo>
                  <a:pt x="922" y="2"/>
                </a:lnTo>
                <a:lnTo>
                  <a:pt x="939" y="10"/>
                </a:lnTo>
                <a:lnTo>
                  <a:pt x="955" y="22"/>
                </a:lnTo>
                <a:lnTo>
                  <a:pt x="967" y="37"/>
                </a:lnTo>
                <a:lnTo>
                  <a:pt x="974" y="55"/>
                </a:lnTo>
                <a:lnTo>
                  <a:pt x="977" y="75"/>
                </a:lnTo>
                <a:lnTo>
                  <a:pt x="977" y="879"/>
                </a:lnTo>
                <a:lnTo>
                  <a:pt x="974" y="899"/>
                </a:lnTo>
                <a:lnTo>
                  <a:pt x="967" y="917"/>
                </a:lnTo>
                <a:lnTo>
                  <a:pt x="955" y="931"/>
                </a:lnTo>
                <a:lnTo>
                  <a:pt x="939" y="944"/>
                </a:lnTo>
                <a:lnTo>
                  <a:pt x="922" y="951"/>
                </a:lnTo>
                <a:lnTo>
                  <a:pt x="902" y="953"/>
                </a:lnTo>
                <a:lnTo>
                  <a:pt x="882" y="951"/>
                </a:lnTo>
                <a:lnTo>
                  <a:pt x="864" y="944"/>
                </a:lnTo>
                <a:lnTo>
                  <a:pt x="848" y="931"/>
                </a:lnTo>
                <a:lnTo>
                  <a:pt x="837" y="917"/>
                </a:lnTo>
                <a:lnTo>
                  <a:pt x="829" y="899"/>
                </a:lnTo>
                <a:lnTo>
                  <a:pt x="826" y="879"/>
                </a:lnTo>
                <a:lnTo>
                  <a:pt x="826" y="75"/>
                </a:lnTo>
                <a:lnTo>
                  <a:pt x="829" y="55"/>
                </a:lnTo>
                <a:lnTo>
                  <a:pt x="837" y="37"/>
                </a:lnTo>
                <a:lnTo>
                  <a:pt x="848" y="22"/>
                </a:lnTo>
                <a:lnTo>
                  <a:pt x="864" y="10"/>
                </a:lnTo>
                <a:lnTo>
                  <a:pt x="882" y="2"/>
                </a:lnTo>
                <a:lnTo>
                  <a:pt x="902" y="0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en-US" sz="24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7841083"/>
      </p:ext>
    </p:extLst>
  </p:cSld>
  <p:clrMapOvr>
    <a:masterClrMapping/>
  </p:clrMapOvr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Multi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2"/>
          <p:cNvSpPr>
            <a:spLocks noGrp="1"/>
          </p:cNvSpPr>
          <p:nvPr>
            <p:ph idx="1"/>
          </p:nvPr>
        </p:nvSpPr>
        <p:spPr>
          <a:xfrm>
            <a:off x="632883" y="1797053"/>
            <a:ext cx="11040076" cy="4098595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380919" marR="0" indent="-380919" algn="ctr" defTabSz="609474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2667" b="0" i="0" baseline="0">
                <a:solidFill>
                  <a:schemeClr val="tx1"/>
                </a:solidFill>
                <a:latin typeface="+mn-lt"/>
                <a:cs typeface="CiscoSans ExtraLigh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Title Placeholder 5"/>
          <p:cNvSpPr>
            <a:spLocks noGrp="1"/>
          </p:cNvSpPr>
          <p:nvPr>
            <p:ph type="title"/>
          </p:nvPr>
        </p:nvSpPr>
        <p:spPr bwMode="auto">
          <a:xfrm>
            <a:off x="583689" y="455085"/>
            <a:ext cx="11127317" cy="9757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387447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itle Slide" preserve="1" userDrawn="1">
  <p:cSld name="Title Slide">
    <p:bg>
      <p:bgPr>
        <a:solidFill>
          <a:schemeClr val="lt2"/>
        </a:solidFill>
        <a:effectLst/>
      </p:bgPr>
    </p:bg>
    <p:spTree>
      <p:nvGrpSpPr>
        <p:cNvPr id="1" name="Shape 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BD151278-EFE9-BA45-A974-3B6CA72F990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19666" y="3856567"/>
            <a:ext cx="4480983" cy="412751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2000" b="0" i="0">
                <a:solidFill>
                  <a:schemeClr val="accent1"/>
                </a:solidFill>
                <a:latin typeface="+mn-lt"/>
                <a:cs typeface="CiscoSansTT ExtraLight" panose="020B0303020201020303" pitchFamily="34" charset="0"/>
              </a:defRPr>
            </a:lvl1pPr>
            <a:lvl2pPr>
              <a:defRPr sz="2133" b="0" i="0">
                <a:solidFill>
                  <a:schemeClr val="tx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defRPr>
            </a:lvl2pPr>
            <a:lvl3pPr>
              <a:defRPr sz="2133" b="0" i="0">
                <a:solidFill>
                  <a:schemeClr val="tx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defRPr>
            </a:lvl3pPr>
            <a:lvl4pPr>
              <a:defRPr sz="2133" b="0" i="0">
                <a:solidFill>
                  <a:schemeClr val="tx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defRPr>
            </a:lvl4pPr>
            <a:lvl5pPr>
              <a:defRPr sz="2133" b="0" i="0">
                <a:solidFill>
                  <a:schemeClr val="tx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defRPr>
            </a:lvl5pPr>
          </a:lstStyle>
          <a:p>
            <a:pPr lvl="0"/>
            <a:r>
              <a:rPr lang="en-GB"/>
              <a:t>Lorem ipsum</a:t>
            </a:r>
            <a:endParaRPr lang="en-US"/>
          </a:p>
        </p:txBody>
      </p:sp>
      <p:pic>
        <p:nvPicPr>
          <p:cNvPr id="2" name="Picture 1" descr="A close up of a sign&#10;&#10;Description automatically generated">
            <a:extLst>
              <a:ext uri="{FF2B5EF4-FFF2-40B4-BE49-F238E27FC236}">
                <a16:creationId xmlns:a16="http://schemas.microsoft.com/office/drawing/2014/main" id="{C7C290BF-922A-8D40-A281-C883E1525E9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129963" y="2310511"/>
            <a:ext cx="7680768" cy="5504549"/>
          </a:xfrm>
          <a:prstGeom prst="rect">
            <a:avLst/>
          </a:prstGeom>
        </p:spPr>
      </p:pic>
      <p:sp>
        <p:nvSpPr>
          <p:cNvPr id="3" name="Google Shape;735;p181">
            <a:extLst>
              <a:ext uri="{FF2B5EF4-FFF2-40B4-BE49-F238E27FC236}">
                <a16:creationId xmlns:a16="http://schemas.microsoft.com/office/drawing/2014/main" id="{8A995F9F-CBE8-6D4F-A6C6-07F1D1840F96}"/>
              </a:ext>
            </a:extLst>
          </p:cNvPr>
          <p:cNvSpPr/>
          <p:nvPr userDrawn="1"/>
        </p:nvSpPr>
        <p:spPr>
          <a:xfrm>
            <a:off x="713229" y="661025"/>
            <a:ext cx="826145" cy="438900"/>
          </a:xfrm>
          <a:custGeom>
            <a:avLst/>
            <a:gdLst/>
            <a:ahLst/>
            <a:cxnLst/>
            <a:rect l="l" t="t" r="r" b="b"/>
            <a:pathLst>
              <a:path w="3456" h="1834" extrusionOk="0">
                <a:moveTo>
                  <a:pt x="2828" y="1362"/>
                </a:moveTo>
                <a:lnTo>
                  <a:pt x="2798" y="1364"/>
                </a:lnTo>
                <a:lnTo>
                  <a:pt x="2771" y="1371"/>
                </a:lnTo>
                <a:lnTo>
                  <a:pt x="2747" y="1384"/>
                </a:lnTo>
                <a:lnTo>
                  <a:pt x="2725" y="1400"/>
                </a:lnTo>
                <a:lnTo>
                  <a:pt x="2706" y="1419"/>
                </a:lnTo>
                <a:lnTo>
                  <a:pt x="2691" y="1441"/>
                </a:lnTo>
                <a:lnTo>
                  <a:pt x="2680" y="1465"/>
                </a:lnTo>
                <a:lnTo>
                  <a:pt x="2674" y="1492"/>
                </a:lnTo>
                <a:lnTo>
                  <a:pt x="2671" y="1521"/>
                </a:lnTo>
                <a:lnTo>
                  <a:pt x="2674" y="1549"/>
                </a:lnTo>
                <a:lnTo>
                  <a:pt x="2680" y="1577"/>
                </a:lnTo>
                <a:lnTo>
                  <a:pt x="2691" y="1601"/>
                </a:lnTo>
                <a:lnTo>
                  <a:pt x="2706" y="1623"/>
                </a:lnTo>
                <a:lnTo>
                  <a:pt x="2725" y="1642"/>
                </a:lnTo>
                <a:lnTo>
                  <a:pt x="2747" y="1658"/>
                </a:lnTo>
                <a:lnTo>
                  <a:pt x="2771" y="1669"/>
                </a:lnTo>
                <a:lnTo>
                  <a:pt x="2798" y="1677"/>
                </a:lnTo>
                <a:lnTo>
                  <a:pt x="2828" y="1680"/>
                </a:lnTo>
                <a:lnTo>
                  <a:pt x="2857" y="1677"/>
                </a:lnTo>
                <a:lnTo>
                  <a:pt x="2883" y="1669"/>
                </a:lnTo>
                <a:lnTo>
                  <a:pt x="2908" y="1658"/>
                </a:lnTo>
                <a:lnTo>
                  <a:pt x="2930" y="1642"/>
                </a:lnTo>
                <a:lnTo>
                  <a:pt x="2948" y="1623"/>
                </a:lnTo>
                <a:lnTo>
                  <a:pt x="2964" y="1601"/>
                </a:lnTo>
                <a:lnTo>
                  <a:pt x="2975" y="1577"/>
                </a:lnTo>
                <a:lnTo>
                  <a:pt x="2982" y="1549"/>
                </a:lnTo>
                <a:lnTo>
                  <a:pt x="2985" y="1521"/>
                </a:lnTo>
                <a:lnTo>
                  <a:pt x="2982" y="1492"/>
                </a:lnTo>
                <a:lnTo>
                  <a:pt x="2975" y="1465"/>
                </a:lnTo>
                <a:lnTo>
                  <a:pt x="2964" y="1441"/>
                </a:lnTo>
                <a:lnTo>
                  <a:pt x="2948" y="1419"/>
                </a:lnTo>
                <a:lnTo>
                  <a:pt x="2930" y="1400"/>
                </a:lnTo>
                <a:lnTo>
                  <a:pt x="2908" y="1384"/>
                </a:lnTo>
                <a:lnTo>
                  <a:pt x="2883" y="1371"/>
                </a:lnTo>
                <a:lnTo>
                  <a:pt x="2857" y="1364"/>
                </a:lnTo>
                <a:lnTo>
                  <a:pt x="2828" y="1362"/>
                </a:lnTo>
                <a:close/>
                <a:moveTo>
                  <a:pt x="977" y="1218"/>
                </a:moveTo>
                <a:lnTo>
                  <a:pt x="1129" y="1218"/>
                </a:lnTo>
                <a:lnTo>
                  <a:pt x="1129" y="1823"/>
                </a:lnTo>
                <a:lnTo>
                  <a:pt x="977" y="1823"/>
                </a:lnTo>
                <a:lnTo>
                  <a:pt x="977" y="1218"/>
                </a:lnTo>
                <a:close/>
                <a:moveTo>
                  <a:pt x="2828" y="1208"/>
                </a:moveTo>
                <a:lnTo>
                  <a:pt x="2873" y="1211"/>
                </a:lnTo>
                <a:lnTo>
                  <a:pt x="2916" y="1219"/>
                </a:lnTo>
                <a:lnTo>
                  <a:pt x="2955" y="1232"/>
                </a:lnTo>
                <a:lnTo>
                  <a:pt x="2992" y="1251"/>
                </a:lnTo>
                <a:lnTo>
                  <a:pt x="3026" y="1273"/>
                </a:lnTo>
                <a:lnTo>
                  <a:pt x="3056" y="1299"/>
                </a:lnTo>
                <a:lnTo>
                  <a:pt x="3082" y="1330"/>
                </a:lnTo>
                <a:lnTo>
                  <a:pt x="3104" y="1363"/>
                </a:lnTo>
                <a:lnTo>
                  <a:pt x="3121" y="1398"/>
                </a:lnTo>
                <a:lnTo>
                  <a:pt x="3134" y="1437"/>
                </a:lnTo>
                <a:lnTo>
                  <a:pt x="3142" y="1479"/>
                </a:lnTo>
                <a:lnTo>
                  <a:pt x="3145" y="1521"/>
                </a:lnTo>
                <a:lnTo>
                  <a:pt x="3142" y="1563"/>
                </a:lnTo>
                <a:lnTo>
                  <a:pt x="3134" y="1604"/>
                </a:lnTo>
                <a:lnTo>
                  <a:pt x="3121" y="1642"/>
                </a:lnTo>
                <a:lnTo>
                  <a:pt x="3104" y="1679"/>
                </a:lnTo>
                <a:lnTo>
                  <a:pt x="3082" y="1712"/>
                </a:lnTo>
                <a:lnTo>
                  <a:pt x="3056" y="1742"/>
                </a:lnTo>
                <a:lnTo>
                  <a:pt x="3026" y="1769"/>
                </a:lnTo>
                <a:lnTo>
                  <a:pt x="2992" y="1791"/>
                </a:lnTo>
                <a:lnTo>
                  <a:pt x="2955" y="1809"/>
                </a:lnTo>
                <a:lnTo>
                  <a:pt x="2916" y="1822"/>
                </a:lnTo>
                <a:lnTo>
                  <a:pt x="2873" y="1831"/>
                </a:lnTo>
                <a:lnTo>
                  <a:pt x="2828" y="1834"/>
                </a:lnTo>
                <a:lnTo>
                  <a:pt x="2783" y="1831"/>
                </a:lnTo>
                <a:lnTo>
                  <a:pt x="2740" y="1822"/>
                </a:lnTo>
                <a:lnTo>
                  <a:pt x="2700" y="1809"/>
                </a:lnTo>
                <a:lnTo>
                  <a:pt x="2663" y="1791"/>
                </a:lnTo>
                <a:lnTo>
                  <a:pt x="2630" y="1769"/>
                </a:lnTo>
                <a:lnTo>
                  <a:pt x="2599" y="1742"/>
                </a:lnTo>
                <a:lnTo>
                  <a:pt x="2573" y="1712"/>
                </a:lnTo>
                <a:lnTo>
                  <a:pt x="2551" y="1679"/>
                </a:lnTo>
                <a:lnTo>
                  <a:pt x="2534" y="1642"/>
                </a:lnTo>
                <a:lnTo>
                  <a:pt x="2521" y="1604"/>
                </a:lnTo>
                <a:lnTo>
                  <a:pt x="2513" y="1563"/>
                </a:lnTo>
                <a:lnTo>
                  <a:pt x="2510" y="1521"/>
                </a:lnTo>
                <a:lnTo>
                  <a:pt x="2513" y="1479"/>
                </a:lnTo>
                <a:lnTo>
                  <a:pt x="2521" y="1437"/>
                </a:lnTo>
                <a:lnTo>
                  <a:pt x="2534" y="1398"/>
                </a:lnTo>
                <a:lnTo>
                  <a:pt x="2551" y="1363"/>
                </a:lnTo>
                <a:lnTo>
                  <a:pt x="2573" y="1330"/>
                </a:lnTo>
                <a:lnTo>
                  <a:pt x="2599" y="1299"/>
                </a:lnTo>
                <a:lnTo>
                  <a:pt x="2630" y="1273"/>
                </a:lnTo>
                <a:lnTo>
                  <a:pt x="2663" y="1251"/>
                </a:lnTo>
                <a:lnTo>
                  <a:pt x="2700" y="1232"/>
                </a:lnTo>
                <a:lnTo>
                  <a:pt x="2740" y="1219"/>
                </a:lnTo>
                <a:lnTo>
                  <a:pt x="2783" y="1211"/>
                </a:lnTo>
                <a:lnTo>
                  <a:pt x="2828" y="1208"/>
                </a:lnTo>
                <a:close/>
                <a:moveTo>
                  <a:pt x="2213" y="1208"/>
                </a:moveTo>
                <a:lnTo>
                  <a:pt x="2242" y="1209"/>
                </a:lnTo>
                <a:lnTo>
                  <a:pt x="2268" y="1211"/>
                </a:lnTo>
                <a:lnTo>
                  <a:pt x="2292" y="1215"/>
                </a:lnTo>
                <a:lnTo>
                  <a:pt x="2312" y="1219"/>
                </a:lnTo>
                <a:lnTo>
                  <a:pt x="2329" y="1223"/>
                </a:lnTo>
                <a:lnTo>
                  <a:pt x="2343" y="1227"/>
                </a:lnTo>
                <a:lnTo>
                  <a:pt x="2351" y="1230"/>
                </a:lnTo>
                <a:lnTo>
                  <a:pt x="2351" y="1392"/>
                </a:lnTo>
                <a:lnTo>
                  <a:pt x="2346" y="1389"/>
                </a:lnTo>
                <a:lnTo>
                  <a:pt x="2335" y="1384"/>
                </a:lnTo>
                <a:lnTo>
                  <a:pt x="2321" y="1377"/>
                </a:lnTo>
                <a:lnTo>
                  <a:pt x="2302" y="1371"/>
                </a:lnTo>
                <a:lnTo>
                  <a:pt x="2279" y="1365"/>
                </a:lnTo>
                <a:lnTo>
                  <a:pt x="2253" y="1360"/>
                </a:lnTo>
                <a:lnTo>
                  <a:pt x="2223" y="1359"/>
                </a:lnTo>
                <a:lnTo>
                  <a:pt x="2192" y="1362"/>
                </a:lnTo>
                <a:lnTo>
                  <a:pt x="2163" y="1369"/>
                </a:lnTo>
                <a:lnTo>
                  <a:pt x="2136" y="1381"/>
                </a:lnTo>
                <a:lnTo>
                  <a:pt x="2113" y="1396"/>
                </a:lnTo>
                <a:lnTo>
                  <a:pt x="2095" y="1415"/>
                </a:lnTo>
                <a:lnTo>
                  <a:pt x="2079" y="1437"/>
                </a:lnTo>
                <a:lnTo>
                  <a:pt x="2067" y="1463"/>
                </a:lnTo>
                <a:lnTo>
                  <a:pt x="2060" y="1490"/>
                </a:lnTo>
                <a:lnTo>
                  <a:pt x="2058" y="1521"/>
                </a:lnTo>
                <a:lnTo>
                  <a:pt x="2060" y="1550"/>
                </a:lnTo>
                <a:lnTo>
                  <a:pt x="2066" y="1578"/>
                </a:lnTo>
                <a:lnTo>
                  <a:pt x="2078" y="1602"/>
                </a:lnTo>
                <a:lnTo>
                  <a:pt x="2093" y="1625"/>
                </a:lnTo>
                <a:lnTo>
                  <a:pt x="2112" y="1644"/>
                </a:lnTo>
                <a:lnTo>
                  <a:pt x="2135" y="1660"/>
                </a:lnTo>
                <a:lnTo>
                  <a:pt x="2162" y="1672"/>
                </a:lnTo>
                <a:lnTo>
                  <a:pt x="2191" y="1679"/>
                </a:lnTo>
                <a:lnTo>
                  <a:pt x="2223" y="1682"/>
                </a:lnTo>
                <a:lnTo>
                  <a:pt x="2253" y="1680"/>
                </a:lnTo>
                <a:lnTo>
                  <a:pt x="2279" y="1676"/>
                </a:lnTo>
                <a:lnTo>
                  <a:pt x="2301" y="1671"/>
                </a:lnTo>
                <a:lnTo>
                  <a:pt x="2321" y="1664"/>
                </a:lnTo>
                <a:lnTo>
                  <a:pt x="2335" y="1658"/>
                </a:lnTo>
                <a:lnTo>
                  <a:pt x="2346" y="1653"/>
                </a:lnTo>
                <a:lnTo>
                  <a:pt x="2351" y="1649"/>
                </a:lnTo>
                <a:lnTo>
                  <a:pt x="2351" y="1812"/>
                </a:lnTo>
                <a:lnTo>
                  <a:pt x="2339" y="1816"/>
                </a:lnTo>
                <a:lnTo>
                  <a:pt x="2322" y="1820"/>
                </a:lnTo>
                <a:lnTo>
                  <a:pt x="2300" y="1826"/>
                </a:lnTo>
                <a:lnTo>
                  <a:pt x="2275" y="1830"/>
                </a:lnTo>
                <a:lnTo>
                  <a:pt x="2245" y="1833"/>
                </a:lnTo>
                <a:lnTo>
                  <a:pt x="2213" y="1834"/>
                </a:lnTo>
                <a:lnTo>
                  <a:pt x="2174" y="1832"/>
                </a:lnTo>
                <a:lnTo>
                  <a:pt x="2136" y="1826"/>
                </a:lnTo>
                <a:lnTo>
                  <a:pt x="2100" y="1815"/>
                </a:lnTo>
                <a:lnTo>
                  <a:pt x="2065" y="1801"/>
                </a:lnTo>
                <a:lnTo>
                  <a:pt x="2033" y="1783"/>
                </a:lnTo>
                <a:lnTo>
                  <a:pt x="2002" y="1762"/>
                </a:lnTo>
                <a:lnTo>
                  <a:pt x="1975" y="1737"/>
                </a:lnTo>
                <a:lnTo>
                  <a:pt x="1952" y="1710"/>
                </a:lnTo>
                <a:lnTo>
                  <a:pt x="1931" y="1678"/>
                </a:lnTo>
                <a:lnTo>
                  <a:pt x="1915" y="1643"/>
                </a:lnTo>
                <a:lnTo>
                  <a:pt x="1903" y="1605"/>
                </a:lnTo>
                <a:lnTo>
                  <a:pt x="1896" y="1564"/>
                </a:lnTo>
                <a:lnTo>
                  <a:pt x="1892" y="1521"/>
                </a:lnTo>
                <a:lnTo>
                  <a:pt x="1896" y="1477"/>
                </a:lnTo>
                <a:lnTo>
                  <a:pt x="1904" y="1434"/>
                </a:lnTo>
                <a:lnTo>
                  <a:pt x="1917" y="1395"/>
                </a:lnTo>
                <a:lnTo>
                  <a:pt x="1934" y="1359"/>
                </a:lnTo>
                <a:lnTo>
                  <a:pt x="1957" y="1326"/>
                </a:lnTo>
                <a:lnTo>
                  <a:pt x="1984" y="1296"/>
                </a:lnTo>
                <a:lnTo>
                  <a:pt x="2014" y="1271"/>
                </a:lnTo>
                <a:lnTo>
                  <a:pt x="2047" y="1249"/>
                </a:lnTo>
                <a:lnTo>
                  <a:pt x="2085" y="1231"/>
                </a:lnTo>
                <a:lnTo>
                  <a:pt x="2125" y="1218"/>
                </a:lnTo>
                <a:lnTo>
                  <a:pt x="2168" y="1211"/>
                </a:lnTo>
                <a:lnTo>
                  <a:pt x="2213" y="1208"/>
                </a:lnTo>
                <a:close/>
                <a:moveTo>
                  <a:pt x="630" y="1208"/>
                </a:moveTo>
                <a:lnTo>
                  <a:pt x="660" y="1209"/>
                </a:lnTo>
                <a:lnTo>
                  <a:pt x="687" y="1211"/>
                </a:lnTo>
                <a:lnTo>
                  <a:pt x="711" y="1215"/>
                </a:lnTo>
                <a:lnTo>
                  <a:pt x="731" y="1219"/>
                </a:lnTo>
                <a:lnTo>
                  <a:pt x="748" y="1223"/>
                </a:lnTo>
                <a:lnTo>
                  <a:pt x="760" y="1227"/>
                </a:lnTo>
                <a:lnTo>
                  <a:pt x="769" y="1230"/>
                </a:lnTo>
                <a:lnTo>
                  <a:pt x="769" y="1392"/>
                </a:lnTo>
                <a:lnTo>
                  <a:pt x="763" y="1389"/>
                </a:lnTo>
                <a:lnTo>
                  <a:pt x="754" y="1384"/>
                </a:lnTo>
                <a:lnTo>
                  <a:pt x="739" y="1377"/>
                </a:lnTo>
                <a:lnTo>
                  <a:pt x="721" y="1371"/>
                </a:lnTo>
                <a:lnTo>
                  <a:pt x="697" y="1365"/>
                </a:lnTo>
                <a:lnTo>
                  <a:pt x="671" y="1360"/>
                </a:lnTo>
                <a:lnTo>
                  <a:pt x="642" y="1359"/>
                </a:lnTo>
                <a:lnTo>
                  <a:pt x="611" y="1362"/>
                </a:lnTo>
                <a:lnTo>
                  <a:pt x="581" y="1369"/>
                </a:lnTo>
                <a:lnTo>
                  <a:pt x="555" y="1381"/>
                </a:lnTo>
                <a:lnTo>
                  <a:pt x="532" y="1396"/>
                </a:lnTo>
                <a:lnTo>
                  <a:pt x="513" y="1415"/>
                </a:lnTo>
                <a:lnTo>
                  <a:pt x="497" y="1437"/>
                </a:lnTo>
                <a:lnTo>
                  <a:pt x="485" y="1463"/>
                </a:lnTo>
                <a:lnTo>
                  <a:pt x="479" y="1490"/>
                </a:lnTo>
                <a:lnTo>
                  <a:pt x="475" y="1521"/>
                </a:lnTo>
                <a:lnTo>
                  <a:pt x="479" y="1550"/>
                </a:lnTo>
                <a:lnTo>
                  <a:pt x="485" y="1578"/>
                </a:lnTo>
                <a:lnTo>
                  <a:pt x="496" y="1602"/>
                </a:lnTo>
                <a:lnTo>
                  <a:pt x="512" y="1625"/>
                </a:lnTo>
                <a:lnTo>
                  <a:pt x="531" y="1644"/>
                </a:lnTo>
                <a:lnTo>
                  <a:pt x="554" y="1660"/>
                </a:lnTo>
                <a:lnTo>
                  <a:pt x="580" y="1672"/>
                </a:lnTo>
                <a:lnTo>
                  <a:pt x="610" y="1679"/>
                </a:lnTo>
                <a:lnTo>
                  <a:pt x="642" y="1682"/>
                </a:lnTo>
                <a:lnTo>
                  <a:pt x="671" y="1680"/>
                </a:lnTo>
                <a:lnTo>
                  <a:pt x="697" y="1676"/>
                </a:lnTo>
                <a:lnTo>
                  <a:pt x="719" y="1671"/>
                </a:lnTo>
                <a:lnTo>
                  <a:pt x="738" y="1664"/>
                </a:lnTo>
                <a:lnTo>
                  <a:pt x="753" y="1658"/>
                </a:lnTo>
                <a:lnTo>
                  <a:pt x="763" y="1653"/>
                </a:lnTo>
                <a:lnTo>
                  <a:pt x="769" y="1649"/>
                </a:lnTo>
                <a:lnTo>
                  <a:pt x="769" y="1812"/>
                </a:lnTo>
                <a:lnTo>
                  <a:pt x="757" y="1816"/>
                </a:lnTo>
                <a:lnTo>
                  <a:pt x="740" y="1820"/>
                </a:lnTo>
                <a:lnTo>
                  <a:pt x="718" y="1826"/>
                </a:lnTo>
                <a:lnTo>
                  <a:pt x="692" y="1830"/>
                </a:lnTo>
                <a:lnTo>
                  <a:pt x="663" y="1833"/>
                </a:lnTo>
                <a:lnTo>
                  <a:pt x="630" y="1834"/>
                </a:lnTo>
                <a:lnTo>
                  <a:pt x="592" y="1832"/>
                </a:lnTo>
                <a:lnTo>
                  <a:pt x="554" y="1826"/>
                </a:lnTo>
                <a:lnTo>
                  <a:pt x="518" y="1815"/>
                </a:lnTo>
                <a:lnTo>
                  <a:pt x="484" y="1801"/>
                </a:lnTo>
                <a:lnTo>
                  <a:pt x="451" y="1783"/>
                </a:lnTo>
                <a:lnTo>
                  <a:pt x="421" y="1762"/>
                </a:lnTo>
                <a:lnTo>
                  <a:pt x="394" y="1737"/>
                </a:lnTo>
                <a:lnTo>
                  <a:pt x="370" y="1710"/>
                </a:lnTo>
                <a:lnTo>
                  <a:pt x="350" y="1678"/>
                </a:lnTo>
                <a:lnTo>
                  <a:pt x="333" y="1643"/>
                </a:lnTo>
                <a:lnTo>
                  <a:pt x="322" y="1605"/>
                </a:lnTo>
                <a:lnTo>
                  <a:pt x="314" y="1564"/>
                </a:lnTo>
                <a:lnTo>
                  <a:pt x="311" y="1521"/>
                </a:lnTo>
                <a:lnTo>
                  <a:pt x="314" y="1477"/>
                </a:lnTo>
                <a:lnTo>
                  <a:pt x="323" y="1434"/>
                </a:lnTo>
                <a:lnTo>
                  <a:pt x="335" y="1395"/>
                </a:lnTo>
                <a:lnTo>
                  <a:pt x="353" y="1359"/>
                </a:lnTo>
                <a:lnTo>
                  <a:pt x="375" y="1326"/>
                </a:lnTo>
                <a:lnTo>
                  <a:pt x="402" y="1296"/>
                </a:lnTo>
                <a:lnTo>
                  <a:pt x="433" y="1271"/>
                </a:lnTo>
                <a:lnTo>
                  <a:pt x="466" y="1249"/>
                </a:lnTo>
                <a:lnTo>
                  <a:pt x="503" y="1231"/>
                </a:lnTo>
                <a:lnTo>
                  <a:pt x="544" y="1218"/>
                </a:lnTo>
                <a:lnTo>
                  <a:pt x="585" y="1211"/>
                </a:lnTo>
                <a:lnTo>
                  <a:pt x="630" y="1208"/>
                </a:lnTo>
                <a:close/>
                <a:moveTo>
                  <a:pt x="1556" y="1208"/>
                </a:moveTo>
                <a:lnTo>
                  <a:pt x="1583" y="1209"/>
                </a:lnTo>
                <a:lnTo>
                  <a:pt x="1610" y="1211"/>
                </a:lnTo>
                <a:lnTo>
                  <a:pt x="1634" y="1213"/>
                </a:lnTo>
                <a:lnTo>
                  <a:pt x="1656" y="1217"/>
                </a:lnTo>
                <a:lnTo>
                  <a:pt x="1675" y="1220"/>
                </a:lnTo>
                <a:lnTo>
                  <a:pt x="1689" y="1223"/>
                </a:lnTo>
                <a:lnTo>
                  <a:pt x="1699" y="1226"/>
                </a:lnTo>
                <a:lnTo>
                  <a:pt x="1704" y="1227"/>
                </a:lnTo>
                <a:lnTo>
                  <a:pt x="1704" y="1356"/>
                </a:lnTo>
                <a:lnTo>
                  <a:pt x="1700" y="1355"/>
                </a:lnTo>
                <a:lnTo>
                  <a:pt x="1691" y="1353"/>
                </a:lnTo>
                <a:lnTo>
                  <a:pt x="1679" y="1350"/>
                </a:lnTo>
                <a:lnTo>
                  <a:pt x="1663" y="1347"/>
                </a:lnTo>
                <a:lnTo>
                  <a:pt x="1645" y="1343"/>
                </a:lnTo>
                <a:lnTo>
                  <a:pt x="1625" y="1340"/>
                </a:lnTo>
                <a:lnTo>
                  <a:pt x="1605" y="1338"/>
                </a:lnTo>
                <a:lnTo>
                  <a:pt x="1586" y="1337"/>
                </a:lnTo>
                <a:lnTo>
                  <a:pt x="1557" y="1339"/>
                </a:lnTo>
                <a:lnTo>
                  <a:pt x="1534" y="1344"/>
                </a:lnTo>
                <a:lnTo>
                  <a:pt x="1515" y="1351"/>
                </a:lnTo>
                <a:lnTo>
                  <a:pt x="1502" y="1362"/>
                </a:lnTo>
                <a:lnTo>
                  <a:pt x="1494" y="1373"/>
                </a:lnTo>
                <a:lnTo>
                  <a:pt x="1491" y="1387"/>
                </a:lnTo>
                <a:lnTo>
                  <a:pt x="1494" y="1402"/>
                </a:lnTo>
                <a:lnTo>
                  <a:pt x="1501" y="1413"/>
                </a:lnTo>
                <a:lnTo>
                  <a:pt x="1511" y="1423"/>
                </a:lnTo>
                <a:lnTo>
                  <a:pt x="1523" y="1430"/>
                </a:lnTo>
                <a:lnTo>
                  <a:pt x="1536" y="1436"/>
                </a:lnTo>
                <a:lnTo>
                  <a:pt x="1549" y="1441"/>
                </a:lnTo>
                <a:lnTo>
                  <a:pt x="1560" y="1445"/>
                </a:lnTo>
                <a:lnTo>
                  <a:pt x="1602" y="1458"/>
                </a:lnTo>
                <a:lnTo>
                  <a:pt x="1634" y="1470"/>
                </a:lnTo>
                <a:lnTo>
                  <a:pt x="1661" y="1484"/>
                </a:lnTo>
                <a:lnTo>
                  <a:pt x="1684" y="1501"/>
                </a:lnTo>
                <a:lnTo>
                  <a:pt x="1703" y="1519"/>
                </a:lnTo>
                <a:lnTo>
                  <a:pt x="1719" y="1539"/>
                </a:lnTo>
                <a:lnTo>
                  <a:pt x="1731" y="1560"/>
                </a:lnTo>
                <a:lnTo>
                  <a:pt x="1740" y="1583"/>
                </a:lnTo>
                <a:lnTo>
                  <a:pt x="1745" y="1606"/>
                </a:lnTo>
                <a:lnTo>
                  <a:pt x="1746" y="1630"/>
                </a:lnTo>
                <a:lnTo>
                  <a:pt x="1744" y="1664"/>
                </a:lnTo>
                <a:lnTo>
                  <a:pt x="1737" y="1694"/>
                </a:lnTo>
                <a:lnTo>
                  <a:pt x="1727" y="1720"/>
                </a:lnTo>
                <a:lnTo>
                  <a:pt x="1712" y="1744"/>
                </a:lnTo>
                <a:lnTo>
                  <a:pt x="1696" y="1764"/>
                </a:lnTo>
                <a:lnTo>
                  <a:pt x="1676" y="1781"/>
                </a:lnTo>
                <a:lnTo>
                  <a:pt x="1654" y="1796"/>
                </a:lnTo>
                <a:lnTo>
                  <a:pt x="1630" y="1809"/>
                </a:lnTo>
                <a:lnTo>
                  <a:pt x="1604" y="1818"/>
                </a:lnTo>
                <a:lnTo>
                  <a:pt x="1578" y="1826"/>
                </a:lnTo>
                <a:lnTo>
                  <a:pt x="1551" y="1830"/>
                </a:lnTo>
                <a:lnTo>
                  <a:pt x="1524" y="1833"/>
                </a:lnTo>
                <a:lnTo>
                  <a:pt x="1498" y="1834"/>
                </a:lnTo>
                <a:lnTo>
                  <a:pt x="1467" y="1833"/>
                </a:lnTo>
                <a:lnTo>
                  <a:pt x="1439" y="1832"/>
                </a:lnTo>
                <a:lnTo>
                  <a:pt x="1412" y="1829"/>
                </a:lnTo>
                <a:lnTo>
                  <a:pt x="1388" y="1827"/>
                </a:lnTo>
                <a:lnTo>
                  <a:pt x="1368" y="1823"/>
                </a:lnTo>
                <a:lnTo>
                  <a:pt x="1351" y="1820"/>
                </a:lnTo>
                <a:lnTo>
                  <a:pt x="1339" y="1818"/>
                </a:lnTo>
                <a:lnTo>
                  <a:pt x="1334" y="1817"/>
                </a:lnTo>
                <a:lnTo>
                  <a:pt x="1334" y="1678"/>
                </a:lnTo>
                <a:lnTo>
                  <a:pt x="1343" y="1680"/>
                </a:lnTo>
                <a:lnTo>
                  <a:pt x="1356" y="1684"/>
                </a:lnTo>
                <a:lnTo>
                  <a:pt x="1375" y="1688"/>
                </a:lnTo>
                <a:lnTo>
                  <a:pt x="1397" y="1693"/>
                </a:lnTo>
                <a:lnTo>
                  <a:pt x="1422" y="1697"/>
                </a:lnTo>
                <a:lnTo>
                  <a:pt x="1448" y="1700"/>
                </a:lnTo>
                <a:lnTo>
                  <a:pt x="1477" y="1701"/>
                </a:lnTo>
                <a:lnTo>
                  <a:pt x="1507" y="1699"/>
                </a:lnTo>
                <a:lnTo>
                  <a:pt x="1531" y="1696"/>
                </a:lnTo>
                <a:lnTo>
                  <a:pt x="1552" y="1690"/>
                </a:lnTo>
                <a:lnTo>
                  <a:pt x="1568" y="1681"/>
                </a:lnTo>
                <a:lnTo>
                  <a:pt x="1578" y="1671"/>
                </a:lnTo>
                <a:lnTo>
                  <a:pt x="1585" y="1658"/>
                </a:lnTo>
                <a:lnTo>
                  <a:pt x="1587" y="1644"/>
                </a:lnTo>
                <a:lnTo>
                  <a:pt x="1585" y="1629"/>
                </a:lnTo>
                <a:lnTo>
                  <a:pt x="1578" y="1618"/>
                </a:lnTo>
                <a:lnTo>
                  <a:pt x="1567" y="1607"/>
                </a:lnTo>
                <a:lnTo>
                  <a:pt x="1553" y="1598"/>
                </a:lnTo>
                <a:lnTo>
                  <a:pt x="1537" y="1590"/>
                </a:lnTo>
                <a:lnTo>
                  <a:pt x="1520" y="1584"/>
                </a:lnTo>
                <a:lnTo>
                  <a:pt x="1509" y="1581"/>
                </a:lnTo>
                <a:lnTo>
                  <a:pt x="1498" y="1577"/>
                </a:lnTo>
                <a:lnTo>
                  <a:pt x="1487" y="1574"/>
                </a:lnTo>
                <a:lnTo>
                  <a:pt x="1462" y="1565"/>
                </a:lnTo>
                <a:lnTo>
                  <a:pt x="1439" y="1555"/>
                </a:lnTo>
                <a:lnTo>
                  <a:pt x="1416" y="1542"/>
                </a:lnTo>
                <a:lnTo>
                  <a:pt x="1396" y="1528"/>
                </a:lnTo>
                <a:lnTo>
                  <a:pt x="1378" y="1512"/>
                </a:lnTo>
                <a:lnTo>
                  <a:pt x="1363" y="1494"/>
                </a:lnTo>
                <a:lnTo>
                  <a:pt x="1350" y="1473"/>
                </a:lnTo>
                <a:lnTo>
                  <a:pt x="1341" y="1451"/>
                </a:lnTo>
                <a:lnTo>
                  <a:pt x="1334" y="1425"/>
                </a:lnTo>
                <a:lnTo>
                  <a:pt x="1332" y="1396"/>
                </a:lnTo>
                <a:lnTo>
                  <a:pt x="1334" y="1364"/>
                </a:lnTo>
                <a:lnTo>
                  <a:pt x="1342" y="1333"/>
                </a:lnTo>
                <a:lnTo>
                  <a:pt x="1354" y="1306"/>
                </a:lnTo>
                <a:lnTo>
                  <a:pt x="1371" y="1281"/>
                </a:lnTo>
                <a:lnTo>
                  <a:pt x="1392" y="1259"/>
                </a:lnTo>
                <a:lnTo>
                  <a:pt x="1417" y="1241"/>
                </a:lnTo>
                <a:lnTo>
                  <a:pt x="1446" y="1227"/>
                </a:lnTo>
                <a:lnTo>
                  <a:pt x="1479" y="1216"/>
                </a:lnTo>
                <a:lnTo>
                  <a:pt x="1515" y="1210"/>
                </a:lnTo>
                <a:lnTo>
                  <a:pt x="1556" y="1208"/>
                </a:lnTo>
                <a:close/>
                <a:moveTo>
                  <a:pt x="3381" y="493"/>
                </a:moveTo>
                <a:lnTo>
                  <a:pt x="3400" y="496"/>
                </a:lnTo>
                <a:lnTo>
                  <a:pt x="3418" y="503"/>
                </a:lnTo>
                <a:lnTo>
                  <a:pt x="3434" y="515"/>
                </a:lnTo>
                <a:lnTo>
                  <a:pt x="3446" y="531"/>
                </a:lnTo>
                <a:lnTo>
                  <a:pt x="3453" y="548"/>
                </a:lnTo>
                <a:lnTo>
                  <a:pt x="3456" y="569"/>
                </a:lnTo>
                <a:lnTo>
                  <a:pt x="3456" y="727"/>
                </a:lnTo>
                <a:lnTo>
                  <a:pt x="3453" y="748"/>
                </a:lnTo>
                <a:lnTo>
                  <a:pt x="3446" y="766"/>
                </a:lnTo>
                <a:lnTo>
                  <a:pt x="3434" y="780"/>
                </a:lnTo>
                <a:lnTo>
                  <a:pt x="3418" y="793"/>
                </a:lnTo>
                <a:lnTo>
                  <a:pt x="3400" y="801"/>
                </a:lnTo>
                <a:lnTo>
                  <a:pt x="3381" y="803"/>
                </a:lnTo>
                <a:lnTo>
                  <a:pt x="3361" y="801"/>
                </a:lnTo>
                <a:lnTo>
                  <a:pt x="3343" y="793"/>
                </a:lnTo>
                <a:lnTo>
                  <a:pt x="3328" y="780"/>
                </a:lnTo>
                <a:lnTo>
                  <a:pt x="3316" y="766"/>
                </a:lnTo>
                <a:lnTo>
                  <a:pt x="3308" y="748"/>
                </a:lnTo>
                <a:lnTo>
                  <a:pt x="3306" y="727"/>
                </a:lnTo>
                <a:lnTo>
                  <a:pt x="3306" y="569"/>
                </a:lnTo>
                <a:lnTo>
                  <a:pt x="3308" y="548"/>
                </a:lnTo>
                <a:lnTo>
                  <a:pt x="3316" y="531"/>
                </a:lnTo>
                <a:lnTo>
                  <a:pt x="3328" y="515"/>
                </a:lnTo>
                <a:lnTo>
                  <a:pt x="3343" y="503"/>
                </a:lnTo>
                <a:lnTo>
                  <a:pt x="3361" y="496"/>
                </a:lnTo>
                <a:lnTo>
                  <a:pt x="3381" y="493"/>
                </a:lnTo>
                <a:close/>
                <a:moveTo>
                  <a:pt x="1728" y="493"/>
                </a:moveTo>
                <a:lnTo>
                  <a:pt x="1748" y="496"/>
                </a:lnTo>
                <a:lnTo>
                  <a:pt x="1766" y="503"/>
                </a:lnTo>
                <a:lnTo>
                  <a:pt x="1781" y="515"/>
                </a:lnTo>
                <a:lnTo>
                  <a:pt x="1793" y="531"/>
                </a:lnTo>
                <a:lnTo>
                  <a:pt x="1800" y="548"/>
                </a:lnTo>
                <a:lnTo>
                  <a:pt x="1803" y="569"/>
                </a:lnTo>
                <a:lnTo>
                  <a:pt x="1803" y="727"/>
                </a:lnTo>
                <a:lnTo>
                  <a:pt x="1800" y="748"/>
                </a:lnTo>
                <a:lnTo>
                  <a:pt x="1793" y="766"/>
                </a:lnTo>
                <a:lnTo>
                  <a:pt x="1781" y="780"/>
                </a:lnTo>
                <a:lnTo>
                  <a:pt x="1766" y="793"/>
                </a:lnTo>
                <a:lnTo>
                  <a:pt x="1748" y="801"/>
                </a:lnTo>
                <a:lnTo>
                  <a:pt x="1728" y="803"/>
                </a:lnTo>
                <a:lnTo>
                  <a:pt x="1708" y="801"/>
                </a:lnTo>
                <a:lnTo>
                  <a:pt x="1690" y="793"/>
                </a:lnTo>
                <a:lnTo>
                  <a:pt x="1675" y="780"/>
                </a:lnTo>
                <a:lnTo>
                  <a:pt x="1663" y="766"/>
                </a:lnTo>
                <a:lnTo>
                  <a:pt x="1656" y="748"/>
                </a:lnTo>
                <a:lnTo>
                  <a:pt x="1653" y="727"/>
                </a:lnTo>
                <a:lnTo>
                  <a:pt x="1653" y="569"/>
                </a:lnTo>
                <a:lnTo>
                  <a:pt x="1656" y="548"/>
                </a:lnTo>
                <a:lnTo>
                  <a:pt x="1663" y="531"/>
                </a:lnTo>
                <a:lnTo>
                  <a:pt x="1675" y="515"/>
                </a:lnTo>
                <a:lnTo>
                  <a:pt x="1690" y="503"/>
                </a:lnTo>
                <a:lnTo>
                  <a:pt x="1708" y="496"/>
                </a:lnTo>
                <a:lnTo>
                  <a:pt x="1728" y="493"/>
                </a:lnTo>
                <a:close/>
                <a:moveTo>
                  <a:pt x="75" y="493"/>
                </a:moveTo>
                <a:lnTo>
                  <a:pt x="95" y="496"/>
                </a:lnTo>
                <a:lnTo>
                  <a:pt x="113" y="503"/>
                </a:lnTo>
                <a:lnTo>
                  <a:pt x="129" y="515"/>
                </a:lnTo>
                <a:lnTo>
                  <a:pt x="140" y="531"/>
                </a:lnTo>
                <a:lnTo>
                  <a:pt x="148" y="548"/>
                </a:lnTo>
                <a:lnTo>
                  <a:pt x="151" y="569"/>
                </a:lnTo>
                <a:lnTo>
                  <a:pt x="151" y="727"/>
                </a:lnTo>
                <a:lnTo>
                  <a:pt x="148" y="748"/>
                </a:lnTo>
                <a:lnTo>
                  <a:pt x="140" y="766"/>
                </a:lnTo>
                <a:lnTo>
                  <a:pt x="129" y="780"/>
                </a:lnTo>
                <a:lnTo>
                  <a:pt x="113" y="793"/>
                </a:lnTo>
                <a:lnTo>
                  <a:pt x="95" y="801"/>
                </a:lnTo>
                <a:lnTo>
                  <a:pt x="75" y="803"/>
                </a:lnTo>
                <a:lnTo>
                  <a:pt x="56" y="801"/>
                </a:lnTo>
                <a:lnTo>
                  <a:pt x="38" y="793"/>
                </a:lnTo>
                <a:lnTo>
                  <a:pt x="22" y="780"/>
                </a:lnTo>
                <a:lnTo>
                  <a:pt x="10" y="766"/>
                </a:lnTo>
                <a:lnTo>
                  <a:pt x="3" y="748"/>
                </a:lnTo>
                <a:lnTo>
                  <a:pt x="0" y="727"/>
                </a:lnTo>
                <a:lnTo>
                  <a:pt x="0" y="569"/>
                </a:lnTo>
                <a:lnTo>
                  <a:pt x="3" y="548"/>
                </a:lnTo>
                <a:lnTo>
                  <a:pt x="10" y="531"/>
                </a:lnTo>
                <a:lnTo>
                  <a:pt x="22" y="515"/>
                </a:lnTo>
                <a:lnTo>
                  <a:pt x="38" y="503"/>
                </a:lnTo>
                <a:lnTo>
                  <a:pt x="56" y="496"/>
                </a:lnTo>
                <a:lnTo>
                  <a:pt x="75" y="493"/>
                </a:lnTo>
                <a:close/>
                <a:moveTo>
                  <a:pt x="2968" y="285"/>
                </a:moveTo>
                <a:lnTo>
                  <a:pt x="2988" y="287"/>
                </a:lnTo>
                <a:lnTo>
                  <a:pt x="3006" y="295"/>
                </a:lnTo>
                <a:lnTo>
                  <a:pt x="3021" y="307"/>
                </a:lnTo>
                <a:lnTo>
                  <a:pt x="3033" y="322"/>
                </a:lnTo>
                <a:lnTo>
                  <a:pt x="3040" y="340"/>
                </a:lnTo>
                <a:lnTo>
                  <a:pt x="3043" y="360"/>
                </a:lnTo>
                <a:lnTo>
                  <a:pt x="3043" y="727"/>
                </a:lnTo>
                <a:lnTo>
                  <a:pt x="3040" y="748"/>
                </a:lnTo>
                <a:lnTo>
                  <a:pt x="3033" y="766"/>
                </a:lnTo>
                <a:lnTo>
                  <a:pt x="3021" y="780"/>
                </a:lnTo>
                <a:lnTo>
                  <a:pt x="3006" y="793"/>
                </a:lnTo>
                <a:lnTo>
                  <a:pt x="2988" y="801"/>
                </a:lnTo>
                <a:lnTo>
                  <a:pt x="2968" y="803"/>
                </a:lnTo>
                <a:lnTo>
                  <a:pt x="2947" y="801"/>
                </a:lnTo>
                <a:lnTo>
                  <a:pt x="2929" y="793"/>
                </a:lnTo>
                <a:lnTo>
                  <a:pt x="2915" y="780"/>
                </a:lnTo>
                <a:lnTo>
                  <a:pt x="2903" y="766"/>
                </a:lnTo>
                <a:lnTo>
                  <a:pt x="2895" y="748"/>
                </a:lnTo>
                <a:lnTo>
                  <a:pt x="2893" y="727"/>
                </a:lnTo>
                <a:lnTo>
                  <a:pt x="2893" y="360"/>
                </a:lnTo>
                <a:lnTo>
                  <a:pt x="2895" y="340"/>
                </a:lnTo>
                <a:lnTo>
                  <a:pt x="2903" y="322"/>
                </a:lnTo>
                <a:lnTo>
                  <a:pt x="2915" y="307"/>
                </a:lnTo>
                <a:lnTo>
                  <a:pt x="2929" y="295"/>
                </a:lnTo>
                <a:lnTo>
                  <a:pt x="2947" y="287"/>
                </a:lnTo>
                <a:lnTo>
                  <a:pt x="2968" y="285"/>
                </a:lnTo>
                <a:close/>
                <a:moveTo>
                  <a:pt x="2142" y="285"/>
                </a:moveTo>
                <a:lnTo>
                  <a:pt x="2162" y="287"/>
                </a:lnTo>
                <a:lnTo>
                  <a:pt x="2179" y="295"/>
                </a:lnTo>
                <a:lnTo>
                  <a:pt x="2194" y="307"/>
                </a:lnTo>
                <a:lnTo>
                  <a:pt x="2207" y="322"/>
                </a:lnTo>
                <a:lnTo>
                  <a:pt x="2214" y="340"/>
                </a:lnTo>
                <a:lnTo>
                  <a:pt x="2216" y="360"/>
                </a:lnTo>
                <a:lnTo>
                  <a:pt x="2216" y="727"/>
                </a:lnTo>
                <a:lnTo>
                  <a:pt x="2214" y="748"/>
                </a:lnTo>
                <a:lnTo>
                  <a:pt x="2207" y="766"/>
                </a:lnTo>
                <a:lnTo>
                  <a:pt x="2194" y="780"/>
                </a:lnTo>
                <a:lnTo>
                  <a:pt x="2179" y="793"/>
                </a:lnTo>
                <a:lnTo>
                  <a:pt x="2162" y="801"/>
                </a:lnTo>
                <a:lnTo>
                  <a:pt x="2142" y="803"/>
                </a:lnTo>
                <a:lnTo>
                  <a:pt x="2122" y="801"/>
                </a:lnTo>
                <a:lnTo>
                  <a:pt x="2104" y="793"/>
                </a:lnTo>
                <a:lnTo>
                  <a:pt x="2088" y="780"/>
                </a:lnTo>
                <a:lnTo>
                  <a:pt x="2077" y="766"/>
                </a:lnTo>
                <a:lnTo>
                  <a:pt x="2069" y="748"/>
                </a:lnTo>
                <a:lnTo>
                  <a:pt x="2066" y="727"/>
                </a:lnTo>
                <a:lnTo>
                  <a:pt x="2066" y="360"/>
                </a:lnTo>
                <a:lnTo>
                  <a:pt x="2069" y="340"/>
                </a:lnTo>
                <a:lnTo>
                  <a:pt x="2077" y="322"/>
                </a:lnTo>
                <a:lnTo>
                  <a:pt x="2088" y="307"/>
                </a:lnTo>
                <a:lnTo>
                  <a:pt x="2104" y="295"/>
                </a:lnTo>
                <a:lnTo>
                  <a:pt x="2122" y="287"/>
                </a:lnTo>
                <a:lnTo>
                  <a:pt x="2142" y="285"/>
                </a:lnTo>
                <a:close/>
                <a:moveTo>
                  <a:pt x="1315" y="285"/>
                </a:moveTo>
                <a:lnTo>
                  <a:pt x="1335" y="287"/>
                </a:lnTo>
                <a:lnTo>
                  <a:pt x="1353" y="295"/>
                </a:lnTo>
                <a:lnTo>
                  <a:pt x="1368" y="307"/>
                </a:lnTo>
                <a:lnTo>
                  <a:pt x="1380" y="322"/>
                </a:lnTo>
                <a:lnTo>
                  <a:pt x="1388" y="340"/>
                </a:lnTo>
                <a:lnTo>
                  <a:pt x="1390" y="360"/>
                </a:lnTo>
                <a:lnTo>
                  <a:pt x="1390" y="727"/>
                </a:lnTo>
                <a:lnTo>
                  <a:pt x="1388" y="748"/>
                </a:lnTo>
                <a:lnTo>
                  <a:pt x="1380" y="766"/>
                </a:lnTo>
                <a:lnTo>
                  <a:pt x="1368" y="780"/>
                </a:lnTo>
                <a:lnTo>
                  <a:pt x="1353" y="793"/>
                </a:lnTo>
                <a:lnTo>
                  <a:pt x="1335" y="801"/>
                </a:lnTo>
                <a:lnTo>
                  <a:pt x="1315" y="803"/>
                </a:lnTo>
                <a:lnTo>
                  <a:pt x="1295" y="801"/>
                </a:lnTo>
                <a:lnTo>
                  <a:pt x="1277" y="793"/>
                </a:lnTo>
                <a:lnTo>
                  <a:pt x="1262" y="780"/>
                </a:lnTo>
                <a:lnTo>
                  <a:pt x="1250" y="766"/>
                </a:lnTo>
                <a:lnTo>
                  <a:pt x="1242" y="748"/>
                </a:lnTo>
                <a:lnTo>
                  <a:pt x="1240" y="727"/>
                </a:lnTo>
                <a:lnTo>
                  <a:pt x="1240" y="360"/>
                </a:lnTo>
                <a:lnTo>
                  <a:pt x="1242" y="340"/>
                </a:lnTo>
                <a:lnTo>
                  <a:pt x="1250" y="322"/>
                </a:lnTo>
                <a:lnTo>
                  <a:pt x="1262" y="307"/>
                </a:lnTo>
                <a:lnTo>
                  <a:pt x="1277" y="295"/>
                </a:lnTo>
                <a:lnTo>
                  <a:pt x="1295" y="287"/>
                </a:lnTo>
                <a:lnTo>
                  <a:pt x="1315" y="285"/>
                </a:lnTo>
                <a:close/>
                <a:moveTo>
                  <a:pt x="488" y="285"/>
                </a:moveTo>
                <a:lnTo>
                  <a:pt x="508" y="287"/>
                </a:lnTo>
                <a:lnTo>
                  <a:pt x="527" y="295"/>
                </a:lnTo>
                <a:lnTo>
                  <a:pt x="541" y="307"/>
                </a:lnTo>
                <a:lnTo>
                  <a:pt x="553" y="322"/>
                </a:lnTo>
                <a:lnTo>
                  <a:pt x="561" y="340"/>
                </a:lnTo>
                <a:lnTo>
                  <a:pt x="563" y="360"/>
                </a:lnTo>
                <a:lnTo>
                  <a:pt x="563" y="727"/>
                </a:lnTo>
                <a:lnTo>
                  <a:pt x="561" y="748"/>
                </a:lnTo>
                <a:lnTo>
                  <a:pt x="553" y="766"/>
                </a:lnTo>
                <a:lnTo>
                  <a:pt x="541" y="780"/>
                </a:lnTo>
                <a:lnTo>
                  <a:pt x="527" y="793"/>
                </a:lnTo>
                <a:lnTo>
                  <a:pt x="508" y="801"/>
                </a:lnTo>
                <a:lnTo>
                  <a:pt x="488" y="803"/>
                </a:lnTo>
                <a:lnTo>
                  <a:pt x="468" y="801"/>
                </a:lnTo>
                <a:lnTo>
                  <a:pt x="450" y="793"/>
                </a:lnTo>
                <a:lnTo>
                  <a:pt x="436" y="780"/>
                </a:lnTo>
                <a:lnTo>
                  <a:pt x="423" y="766"/>
                </a:lnTo>
                <a:lnTo>
                  <a:pt x="416" y="748"/>
                </a:lnTo>
                <a:lnTo>
                  <a:pt x="414" y="727"/>
                </a:lnTo>
                <a:lnTo>
                  <a:pt x="414" y="360"/>
                </a:lnTo>
                <a:lnTo>
                  <a:pt x="416" y="340"/>
                </a:lnTo>
                <a:lnTo>
                  <a:pt x="423" y="322"/>
                </a:lnTo>
                <a:lnTo>
                  <a:pt x="436" y="307"/>
                </a:lnTo>
                <a:lnTo>
                  <a:pt x="450" y="295"/>
                </a:lnTo>
                <a:lnTo>
                  <a:pt x="468" y="287"/>
                </a:lnTo>
                <a:lnTo>
                  <a:pt x="488" y="285"/>
                </a:lnTo>
                <a:close/>
                <a:moveTo>
                  <a:pt x="2555" y="0"/>
                </a:moveTo>
                <a:lnTo>
                  <a:pt x="2575" y="2"/>
                </a:lnTo>
                <a:lnTo>
                  <a:pt x="2593" y="10"/>
                </a:lnTo>
                <a:lnTo>
                  <a:pt x="2608" y="22"/>
                </a:lnTo>
                <a:lnTo>
                  <a:pt x="2619" y="37"/>
                </a:lnTo>
                <a:lnTo>
                  <a:pt x="2628" y="55"/>
                </a:lnTo>
                <a:lnTo>
                  <a:pt x="2630" y="75"/>
                </a:lnTo>
                <a:lnTo>
                  <a:pt x="2630" y="879"/>
                </a:lnTo>
                <a:lnTo>
                  <a:pt x="2628" y="899"/>
                </a:lnTo>
                <a:lnTo>
                  <a:pt x="2619" y="917"/>
                </a:lnTo>
                <a:lnTo>
                  <a:pt x="2608" y="931"/>
                </a:lnTo>
                <a:lnTo>
                  <a:pt x="2593" y="944"/>
                </a:lnTo>
                <a:lnTo>
                  <a:pt x="2575" y="951"/>
                </a:lnTo>
                <a:lnTo>
                  <a:pt x="2555" y="953"/>
                </a:lnTo>
                <a:lnTo>
                  <a:pt x="2535" y="951"/>
                </a:lnTo>
                <a:lnTo>
                  <a:pt x="2517" y="944"/>
                </a:lnTo>
                <a:lnTo>
                  <a:pt x="2502" y="931"/>
                </a:lnTo>
                <a:lnTo>
                  <a:pt x="2490" y="917"/>
                </a:lnTo>
                <a:lnTo>
                  <a:pt x="2483" y="899"/>
                </a:lnTo>
                <a:lnTo>
                  <a:pt x="2480" y="879"/>
                </a:lnTo>
                <a:lnTo>
                  <a:pt x="2480" y="75"/>
                </a:lnTo>
                <a:lnTo>
                  <a:pt x="2483" y="55"/>
                </a:lnTo>
                <a:lnTo>
                  <a:pt x="2490" y="37"/>
                </a:lnTo>
                <a:lnTo>
                  <a:pt x="2502" y="22"/>
                </a:lnTo>
                <a:lnTo>
                  <a:pt x="2517" y="10"/>
                </a:lnTo>
                <a:lnTo>
                  <a:pt x="2535" y="2"/>
                </a:lnTo>
                <a:lnTo>
                  <a:pt x="2555" y="0"/>
                </a:lnTo>
                <a:close/>
                <a:moveTo>
                  <a:pt x="902" y="0"/>
                </a:moveTo>
                <a:lnTo>
                  <a:pt x="922" y="2"/>
                </a:lnTo>
                <a:lnTo>
                  <a:pt x="939" y="10"/>
                </a:lnTo>
                <a:lnTo>
                  <a:pt x="955" y="22"/>
                </a:lnTo>
                <a:lnTo>
                  <a:pt x="967" y="37"/>
                </a:lnTo>
                <a:lnTo>
                  <a:pt x="974" y="55"/>
                </a:lnTo>
                <a:lnTo>
                  <a:pt x="977" y="75"/>
                </a:lnTo>
                <a:lnTo>
                  <a:pt x="977" y="879"/>
                </a:lnTo>
                <a:lnTo>
                  <a:pt x="974" y="899"/>
                </a:lnTo>
                <a:lnTo>
                  <a:pt x="967" y="917"/>
                </a:lnTo>
                <a:lnTo>
                  <a:pt x="955" y="931"/>
                </a:lnTo>
                <a:lnTo>
                  <a:pt x="939" y="944"/>
                </a:lnTo>
                <a:lnTo>
                  <a:pt x="922" y="951"/>
                </a:lnTo>
                <a:lnTo>
                  <a:pt x="902" y="953"/>
                </a:lnTo>
                <a:lnTo>
                  <a:pt x="882" y="951"/>
                </a:lnTo>
                <a:lnTo>
                  <a:pt x="864" y="944"/>
                </a:lnTo>
                <a:lnTo>
                  <a:pt x="848" y="931"/>
                </a:lnTo>
                <a:lnTo>
                  <a:pt x="837" y="917"/>
                </a:lnTo>
                <a:lnTo>
                  <a:pt x="829" y="899"/>
                </a:lnTo>
                <a:lnTo>
                  <a:pt x="826" y="879"/>
                </a:lnTo>
                <a:lnTo>
                  <a:pt x="826" y="75"/>
                </a:lnTo>
                <a:lnTo>
                  <a:pt x="829" y="55"/>
                </a:lnTo>
                <a:lnTo>
                  <a:pt x="837" y="37"/>
                </a:lnTo>
                <a:lnTo>
                  <a:pt x="848" y="22"/>
                </a:lnTo>
                <a:lnTo>
                  <a:pt x="864" y="10"/>
                </a:lnTo>
                <a:lnTo>
                  <a:pt x="882" y="2"/>
                </a:lnTo>
                <a:lnTo>
                  <a:pt x="902" y="0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spcFirstLastPara="1" wrap="square" lIns="121900" tIns="60933" rIns="121900" bIns="60933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2400" b="0" i="0" u="none" strike="noStrike" cap="none">
              <a:solidFill>
                <a:schemeClr val="tx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C7229477-EAC3-40F5-B1BE-2AB2EFB5842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666" y="1612900"/>
            <a:ext cx="4963585" cy="1924049"/>
          </a:xfrm>
        </p:spPr>
        <p:txBody>
          <a:bodyPr anchor="b" anchorCtr="0">
            <a:noAutofit/>
          </a:bodyPr>
          <a:lstStyle>
            <a:lvl1pPr>
              <a:defRPr sz="48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228FA3E3-32F7-49E3-B1E5-3925A1590B2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19666" y="4322233"/>
            <a:ext cx="4480983" cy="419099"/>
          </a:xfrm>
          <a:prstGeom prst="rect">
            <a:avLst/>
          </a:prstGeom>
        </p:spPr>
        <p:txBody>
          <a:bodyPr>
            <a:noAutofit/>
          </a:bodyPr>
          <a:lstStyle>
            <a:lvl1pPr marR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600"/>
              <a:buFont typeface="Arial"/>
              <a:defRPr lang="en-US" sz="1400" b="0" i="0" u="none" strike="noStrike" cap="none" dirty="0">
                <a:solidFill>
                  <a:schemeClr val="bg2"/>
                </a:solidFill>
                <a:latin typeface="+mn-lt"/>
                <a:ea typeface="Arial"/>
                <a:cs typeface="CiscoSansTT ExtraLight" panose="020B0303020201020303" pitchFamily="34" charset="0"/>
                <a:sym typeface="Arial"/>
              </a:defRPr>
            </a:lvl1pPr>
            <a:lvl2pPr>
              <a:defRPr sz="2133" b="0" i="0">
                <a:solidFill>
                  <a:schemeClr val="tx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defRPr>
            </a:lvl2pPr>
            <a:lvl3pPr>
              <a:defRPr sz="2133" b="0" i="0">
                <a:solidFill>
                  <a:schemeClr val="tx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defRPr>
            </a:lvl3pPr>
            <a:lvl4pPr>
              <a:defRPr sz="2133" b="0" i="0">
                <a:solidFill>
                  <a:schemeClr val="tx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defRPr>
            </a:lvl4pPr>
            <a:lvl5pPr>
              <a:defRPr sz="2133" b="0" i="0">
                <a:solidFill>
                  <a:schemeClr val="tx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defRPr>
            </a:lvl5pPr>
          </a:lstStyle>
          <a:p>
            <a:pPr lvl="0"/>
            <a:r>
              <a:rPr lang="en-GB"/>
              <a:t>00th of Month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95308113"/>
      </p:ext>
    </p:extLst>
  </p:cSld>
  <p:clrMapOvr>
    <a:masterClrMapping/>
  </p:clrMapOvr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9">
            <a:extLst>
              <a:ext uri="{FF2B5EF4-FFF2-40B4-BE49-F238E27FC236}">
                <a16:creationId xmlns:a16="http://schemas.microsoft.com/office/drawing/2014/main" id="{9A95AC2F-9EAD-CC4E-865A-376F9679AA5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19667" y="2070101"/>
            <a:ext cx="4799243" cy="2252662"/>
          </a:xfrm>
          <a:prstGeom prst="rect">
            <a:avLst/>
          </a:prstGeom>
        </p:spPr>
        <p:txBody>
          <a:bodyPr/>
          <a:lstStyle>
            <a:lvl1pPr>
              <a:defRPr sz="4800" b="0" i="0">
                <a:solidFill>
                  <a:schemeClr val="tx1"/>
                </a:solidFill>
                <a:latin typeface="+mj-lt"/>
                <a:cs typeface="CiscoSansTT ExtraLight" panose="020B0303020201020303" pitchFamily="34" charset="0"/>
              </a:defRPr>
            </a:lvl1pPr>
          </a:lstStyle>
          <a:p>
            <a:pPr lvl="0"/>
            <a:r>
              <a:rPr lang="en-GB"/>
              <a:t>Click to add title</a:t>
            </a:r>
            <a:endParaRPr lang="en-US"/>
          </a:p>
        </p:txBody>
      </p:sp>
      <p:sp>
        <p:nvSpPr>
          <p:cNvPr id="23" name="Picture Placeholder 22">
            <a:extLst>
              <a:ext uri="{FF2B5EF4-FFF2-40B4-BE49-F238E27FC236}">
                <a16:creationId xmlns:a16="http://schemas.microsoft.com/office/drawing/2014/main" id="{4AF3F36D-8FA3-4219-A5CD-1DB9A679760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261100" y="0"/>
            <a:ext cx="5930899" cy="6858000"/>
          </a:xfrm>
          <a:custGeom>
            <a:avLst/>
            <a:gdLst>
              <a:gd name="connsiteX0" fmla="*/ 2571750 w 4448174"/>
              <a:gd name="connsiteY0" fmla="*/ 0 h 5143500"/>
              <a:gd name="connsiteX1" fmla="*/ 3925599 w 4448174"/>
              <a:gd name="connsiteY1" fmla="*/ 0 h 5143500"/>
              <a:gd name="connsiteX2" fmla="*/ 4146550 w 4448174"/>
              <a:gd name="connsiteY2" fmla="*/ 0 h 5143500"/>
              <a:gd name="connsiteX3" fmla="*/ 4448174 w 4448174"/>
              <a:gd name="connsiteY3" fmla="*/ 0 h 5143500"/>
              <a:gd name="connsiteX4" fmla="*/ 4448174 w 4448174"/>
              <a:gd name="connsiteY4" fmla="*/ 5143500 h 5143500"/>
              <a:gd name="connsiteX5" fmla="*/ 4146550 w 4448174"/>
              <a:gd name="connsiteY5" fmla="*/ 5143500 h 5143500"/>
              <a:gd name="connsiteX6" fmla="*/ 3925599 w 4448174"/>
              <a:gd name="connsiteY6" fmla="*/ 5143500 h 5143500"/>
              <a:gd name="connsiteX7" fmla="*/ 2571750 w 4448174"/>
              <a:gd name="connsiteY7" fmla="*/ 5143500 h 5143500"/>
              <a:gd name="connsiteX8" fmla="*/ 0 w 4448174"/>
              <a:gd name="connsiteY8" fmla="*/ 2571750 h 5143500"/>
              <a:gd name="connsiteX9" fmla="*/ 2571750 w 4448174"/>
              <a:gd name="connsiteY9" fmla="*/ 0 h 5143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4448174" h="5143500">
                <a:moveTo>
                  <a:pt x="2571750" y="0"/>
                </a:moveTo>
                <a:lnTo>
                  <a:pt x="3925599" y="0"/>
                </a:lnTo>
                <a:lnTo>
                  <a:pt x="4146550" y="0"/>
                </a:lnTo>
                <a:lnTo>
                  <a:pt x="4448174" y="0"/>
                </a:lnTo>
                <a:lnTo>
                  <a:pt x="4448174" y="5143500"/>
                </a:lnTo>
                <a:lnTo>
                  <a:pt x="4146550" y="5143500"/>
                </a:lnTo>
                <a:lnTo>
                  <a:pt x="3925599" y="5143500"/>
                </a:lnTo>
                <a:lnTo>
                  <a:pt x="2571750" y="5143500"/>
                </a:lnTo>
                <a:cubicBezTo>
                  <a:pt x="1151412" y="5143500"/>
                  <a:pt x="0" y="3992088"/>
                  <a:pt x="0" y="2571750"/>
                </a:cubicBezTo>
                <a:cubicBezTo>
                  <a:pt x="0" y="1151412"/>
                  <a:pt x="1151412" y="0"/>
                  <a:pt x="2571750" y="0"/>
                </a:cubicBezTo>
                <a:close/>
              </a:path>
            </a:pathLst>
          </a:custGeom>
          <a:solidFill>
            <a:srgbClr val="EDF1F6"/>
          </a:solidFill>
        </p:spPr>
        <p:txBody>
          <a:bodyPr wrap="square">
            <a:noAutofit/>
          </a:bodyPr>
          <a:lstStyle/>
          <a:p>
            <a:endParaRPr lang="en-US"/>
          </a:p>
        </p:txBody>
      </p:sp>
      <p:sp>
        <p:nvSpPr>
          <p:cNvPr id="21" name="Picture Placeholder 10">
            <a:extLst>
              <a:ext uri="{FF2B5EF4-FFF2-40B4-BE49-F238E27FC236}">
                <a16:creationId xmlns:a16="http://schemas.microsoft.com/office/drawing/2014/main" id="{9442949A-ED6E-4DA8-9A45-1668588B47B1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673003" y="5080000"/>
            <a:ext cx="1225163" cy="1225160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>
                <a:noFill/>
              </a:defRPr>
            </a:lvl1pPr>
          </a:lstStyle>
          <a:p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90FDC25-9729-4F65-930E-87A29BCB5C7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19138" y="1613134"/>
            <a:ext cx="4799012" cy="410400"/>
          </a:xfrm>
        </p:spPr>
        <p:txBody>
          <a:bodyPr/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Insert text here</a:t>
            </a:r>
          </a:p>
        </p:txBody>
      </p:sp>
    </p:spTree>
    <p:extLst>
      <p:ext uri="{BB962C8B-B14F-4D97-AF65-F5344CB8AC3E}">
        <p14:creationId xmlns:p14="http://schemas.microsoft.com/office/powerpoint/2010/main" val="69263115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Text Placeholder 23">
            <a:extLst>
              <a:ext uri="{FF2B5EF4-FFF2-40B4-BE49-F238E27FC236}">
                <a16:creationId xmlns:a16="http://schemas.microsoft.com/office/drawing/2014/main" id="{A934575A-85EC-4073-BC40-5A80AF9728F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489618" y="1754689"/>
            <a:ext cx="463125" cy="463124"/>
          </a:xfrm>
          <a:prstGeom prst="ellipse">
            <a:avLst/>
          </a:prstGeom>
          <a:solidFill>
            <a:schemeClr val="accent1"/>
          </a:solidFill>
        </p:spPr>
        <p:txBody>
          <a:bodyPr lIns="0" tIns="0" rIns="0" bIns="0" anchor="ctr" anchorCtr="0"/>
          <a:lstStyle>
            <a:lvl1pPr algn="ctr">
              <a:defRPr sz="1600">
                <a:solidFill>
                  <a:schemeClr val="bg1"/>
                </a:solidFill>
                <a:latin typeface="+mn-lt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(#)</a:t>
            </a:r>
          </a:p>
        </p:txBody>
      </p:sp>
      <p:sp>
        <p:nvSpPr>
          <p:cNvPr id="27" name="Text Placeholder 23">
            <a:extLst>
              <a:ext uri="{FF2B5EF4-FFF2-40B4-BE49-F238E27FC236}">
                <a16:creationId xmlns:a16="http://schemas.microsoft.com/office/drawing/2014/main" id="{B194B551-9D89-4F8B-BDD0-DBFCDD72D71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489618" y="2528119"/>
            <a:ext cx="463125" cy="463124"/>
          </a:xfrm>
          <a:prstGeom prst="ellipse">
            <a:avLst/>
          </a:prstGeom>
          <a:solidFill>
            <a:schemeClr val="accent1"/>
          </a:solidFill>
        </p:spPr>
        <p:txBody>
          <a:bodyPr lIns="0" tIns="0" rIns="0" bIns="0" anchor="ctr" anchorCtr="0"/>
          <a:lstStyle>
            <a:lvl1pPr algn="ctr">
              <a:defRPr sz="1600">
                <a:solidFill>
                  <a:schemeClr val="bg1"/>
                </a:solidFill>
                <a:latin typeface="+mn-lt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(#)</a:t>
            </a:r>
          </a:p>
        </p:txBody>
      </p:sp>
      <p:sp>
        <p:nvSpPr>
          <p:cNvPr id="28" name="Text Placeholder 23">
            <a:extLst>
              <a:ext uri="{FF2B5EF4-FFF2-40B4-BE49-F238E27FC236}">
                <a16:creationId xmlns:a16="http://schemas.microsoft.com/office/drawing/2014/main" id="{724E0C06-B347-44E1-BE44-CC39258896C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489618" y="3301549"/>
            <a:ext cx="463125" cy="463124"/>
          </a:xfrm>
          <a:prstGeom prst="ellipse">
            <a:avLst/>
          </a:prstGeom>
          <a:solidFill>
            <a:schemeClr val="accent1"/>
          </a:solidFill>
        </p:spPr>
        <p:txBody>
          <a:bodyPr lIns="0" tIns="0" rIns="0" bIns="0" anchor="ctr" anchorCtr="0"/>
          <a:lstStyle>
            <a:lvl1pPr algn="ctr">
              <a:defRPr sz="1600">
                <a:solidFill>
                  <a:schemeClr val="bg1"/>
                </a:solidFill>
                <a:latin typeface="+mn-lt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(#)</a:t>
            </a:r>
          </a:p>
        </p:txBody>
      </p:sp>
      <p:sp>
        <p:nvSpPr>
          <p:cNvPr id="29" name="Text Placeholder 23">
            <a:extLst>
              <a:ext uri="{FF2B5EF4-FFF2-40B4-BE49-F238E27FC236}">
                <a16:creationId xmlns:a16="http://schemas.microsoft.com/office/drawing/2014/main" id="{387A1886-320B-4F84-8140-CAC80774DD5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489618" y="4074980"/>
            <a:ext cx="463125" cy="463124"/>
          </a:xfrm>
          <a:prstGeom prst="ellipse">
            <a:avLst/>
          </a:prstGeom>
          <a:solidFill>
            <a:schemeClr val="accent1"/>
          </a:solidFill>
        </p:spPr>
        <p:txBody>
          <a:bodyPr lIns="0" tIns="0" rIns="0" bIns="0" anchor="ctr" anchorCtr="0"/>
          <a:lstStyle>
            <a:lvl1pPr algn="ctr">
              <a:defRPr sz="1600">
                <a:solidFill>
                  <a:schemeClr val="bg1"/>
                </a:solidFill>
                <a:latin typeface="+mn-lt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(#)</a:t>
            </a:r>
          </a:p>
        </p:txBody>
      </p:sp>
      <p:sp>
        <p:nvSpPr>
          <p:cNvPr id="30" name="Text Placeholder 23">
            <a:extLst>
              <a:ext uri="{FF2B5EF4-FFF2-40B4-BE49-F238E27FC236}">
                <a16:creationId xmlns:a16="http://schemas.microsoft.com/office/drawing/2014/main" id="{A1C3FF93-83D9-48D7-8495-968320A4A20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489618" y="4848409"/>
            <a:ext cx="463125" cy="463124"/>
          </a:xfrm>
          <a:prstGeom prst="ellipse">
            <a:avLst/>
          </a:prstGeom>
          <a:solidFill>
            <a:schemeClr val="accent1"/>
          </a:solidFill>
        </p:spPr>
        <p:txBody>
          <a:bodyPr lIns="0" tIns="0" rIns="0" bIns="0" anchor="ctr" anchorCtr="0"/>
          <a:lstStyle>
            <a:lvl1pPr algn="ctr">
              <a:defRPr sz="1600">
                <a:solidFill>
                  <a:schemeClr val="bg1"/>
                </a:solidFill>
                <a:latin typeface="+mn-lt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(#)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B592C14-52D0-4997-864B-3B6418B8F6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667" y="1612900"/>
            <a:ext cx="4015907" cy="2709335"/>
          </a:xfrm>
        </p:spPr>
        <p:txBody>
          <a:bodyPr>
            <a:noAutofit/>
          </a:bodyPr>
          <a:lstStyle>
            <a:lvl1pPr>
              <a:defRPr sz="48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4DFC6FD-0F66-4380-A76E-F5DB6598CAA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77848" y="1797050"/>
            <a:ext cx="4401251" cy="378000"/>
          </a:xfrm>
        </p:spPr>
        <p:txBody>
          <a:bodyPr anchor="ctr" anchorCtr="0"/>
          <a:lstStyle>
            <a:lvl1pPr>
              <a:defRPr sz="2000"/>
            </a:lvl1pPr>
          </a:lstStyle>
          <a:p>
            <a:pPr lvl="0"/>
            <a:r>
              <a:rPr lang="en-US"/>
              <a:t>Insert section header here</a:t>
            </a:r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A90CABDF-A582-4377-BC98-C2B20669F68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177848" y="2570530"/>
            <a:ext cx="4401251" cy="378000"/>
          </a:xfrm>
        </p:spPr>
        <p:txBody>
          <a:bodyPr anchor="ctr" anchorCtr="0"/>
          <a:lstStyle>
            <a:lvl1pPr>
              <a:defRPr sz="2000"/>
            </a:lvl1pPr>
          </a:lstStyle>
          <a:p>
            <a:pPr lvl="0"/>
            <a:r>
              <a:rPr lang="en-US"/>
              <a:t>Insert section header here</a:t>
            </a:r>
          </a:p>
        </p:txBody>
      </p:sp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12A9AE11-9DE5-4933-B9CC-4F3BAC42378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177848" y="3344010"/>
            <a:ext cx="4401251" cy="378000"/>
          </a:xfrm>
        </p:spPr>
        <p:txBody>
          <a:bodyPr anchor="ctr" anchorCtr="0"/>
          <a:lstStyle>
            <a:lvl1pPr>
              <a:defRPr sz="2000"/>
            </a:lvl1pPr>
          </a:lstStyle>
          <a:p>
            <a:pPr lvl="0"/>
            <a:r>
              <a:rPr lang="en-US"/>
              <a:t>Insert section header here</a:t>
            </a:r>
          </a:p>
        </p:txBody>
      </p:sp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ADF2D992-D698-4D00-8977-C598D99330AE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177848" y="4117490"/>
            <a:ext cx="4401251" cy="378000"/>
          </a:xfrm>
        </p:spPr>
        <p:txBody>
          <a:bodyPr anchor="ctr" anchorCtr="0"/>
          <a:lstStyle>
            <a:lvl1pPr>
              <a:defRPr sz="2000"/>
            </a:lvl1pPr>
          </a:lstStyle>
          <a:p>
            <a:pPr lvl="0"/>
            <a:r>
              <a:rPr lang="en-US"/>
              <a:t>Insert section header here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F6CD6594-DE89-498A-ABB4-1E3EE4B04E3A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177848" y="4890971"/>
            <a:ext cx="4401251" cy="378000"/>
          </a:xfrm>
        </p:spPr>
        <p:txBody>
          <a:bodyPr anchor="ctr" anchorCtr="0"/>
          <a:lstStyle>
            <a:lvl1pPr>
              <a:defRPr sz="2000"/>
            </a:lvl1pPr>
          </a:lstStyle>
          <a:p>
            <a:pPr lvl="0"/>
            <a:r>
              <a:rPr lang="en-US"/>
              <a:t>Insert section header here</a:t>
            </a:r>
          </a:p>
        </p:txBody>
      </p:sp>
    </p:spTree>
    <p:extLst>
      <p:ext uri="{BB962C8B-B14F-4D97-AF65-F5344CB8AC3E}">
        <p14:creationId xmlns:p14="http://schemas.microsoft.com/office/powerpoint/2010/main" val="1893184790"/>
      </p:ext>
    </p:extLst>
  </p:cSld>
  <p:clrMapOvr>
    <a:masterClrMapping/>
  </p:clrMapOvr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4BBB5314-F22F-8E47-BF2F-342008A5E2D0}"/>
              </a:ext>
            </a:extLst>
          </p:cNvPr>
          <p:cNvSpPr/>
          <p:nvPr userDrawn="1"/>
        </p:nvSpPr>
        <p:spPr>
          <a:xfrm>
            <a:off x="696767" y="6348761"/>
            <a:ext cx="3392013" cy="148683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89"/>
          </a:p>
        </p:txBody>
      </p:sp>
      <p:sp>
        <p:nvSpPr>
          <p:cNvPr id="6" name="Text Placeholder 9">
            <a:extLst>
              <a:ext uri="{FF2B5EF4-FFF2-40B4-BE49-F238E27FC236}">
                <a16:creationId xmlns:a16="http://schemas.microsoft.com/office/drawing/2014/main" id="{9ECE22FA-A92C-FA45-B637-1203617C607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19667" y="2070101"/>
            <a:ext cx="4798483" cy="2252662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4800" b="0" i="0">
                <a:solidFill>
                  <a:schemeClr val="tx1"/>
                </a:solidFill>
                <a:latin typeface="+mj-lt"/>
                <a:cs typeface="CiscoSansTT ExtraLight" panose="020B0303020201020303" pitchFamily="34" charset="0"/>
              </a:defRPr>
            </a:lvl1pPr>
          </a:lstStyle>
          <a:p>
            <a:pPr lvl="0"/>
            <a:r>
              <a:rPr lang="en-GB"/>
              <a:t>Click to add title</a:t>
            </a:r>
            <a:endParaRPr lang="en-US"/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88432BE0-139C-48C7-A6D6-0DC95B36111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19138" y="1613134"/>
            <a:ext cx="4799012" cy="410400"/>
          </a:xfrm>
        </p:spPr>
        <p:txBody>
          <a:bodyPr/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Insert text here</a:t>
            </a:r>
          </a:p>
        </p:txBody>
      </p:sp>
    </p:spTree>
    <p:extLst>
      <p:ext uri="{BB962C8B-B14F-4D97-AF65-F5344CB8AC3E}">
        <p14:creationId xmlns:p14="http://schemas.microsoft.com/office/powerpoint/2010/main" val="285044165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and Content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832D9A9B-B135-4985-B11A-28D42D9F034F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927600" y="5306484"/>
            <a:ext cx="1168400" cy="1168400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>
                <a:noFill/>
              </a:defRPr>
            </a:lvl1pPr>
          </a:lstStyle>
          <a:p>
            <a:endParaRPr lang="en-US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157636CD-277F-4975-A395-D6CE18D6CA69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1" y="0"/>
            <a:ext cx="6547204" cy="6858000"/>
          </a:xfrm>
          <a:custGeom>
            <a:avLst/>
            <a:gdLst>
              <a:gd name="connsiteX0" fmla="*/ 0 w 4910403"/>
              <a:gd name="connsiteY0" fmla="*/ 0 h 5143500"/>
              <a:gd name="connsiteX1" fmla="*/ 2338653 w 4910403"/>
              <a:gd name="connsiteY1" fmla="*/ 0 h 5143500"/>
              <a:gd name="connsiteX2" fmla="*/ 4910403 w 4910403"/>
              <a:gd name="connsiteY2" fmla="*/ 2571750 h 5143500"/>
              <a:gd name="connsiteX3" fmla="*/ 2338653 w 4910403"/>
              <a:gd name="connsiteY3" fmla="*/ 5143500 h 5143500"/>
              <a:gd name="connsiteX4" fmla="*/ 0 w 4910403"/>
              <a:gd name="connsiteY4" fmla="*/ 5143500 h 5143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910403" h="5143500">
                <a:moveTo>
                  <a:pt x="0" y="0"/>
                </a:moveTo>
                <a:lnTo>
                  <a:pt x="2338653" y="0"/>
                </a:lnTo>
                <a:cubicBezTo>
                  <a:pt x="3758991" y="0"/>
                  <a:pt x="4910403" y="1151412"/>
                  <a:pt x="4910403" y="2571750"/>
                </a:cubicBezTo>
                <a:cubicBezTo>
                  <a:pt x="4910403" y="3992088"/>
                  <a:pt x="3758991" y="5143500"/>
                  <a:pt x="2338653" y="5143500"/>
                </a:cubicBezTo>
                <a:lnTo>
                  <a:pt x="0" y="5143500"/>
                </a:lnTo>
                <a:close/>
              </a:path>
            </a:pathLst>
          </a:custGeom>
          <a:solidFill>
            <a:srgbClr val="F5F6F9"/>
          </a:solidFill>
        </p:spPr>
        <p:txBody>
          <a:bodyPr wrap="square">
            <a:noAutofit/>
          </a:bodyPr>
          <a:lstStyle/>
          <a:p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6326DED-1CA6-478E-8CEC-675ED4202D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334249" y="1155699"/>
            <a:ext cx="4138084" cy="13636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8C3E427-5A91-4F5B-B77A-1EDFE15A7C7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334251" y="2524583"/>
            <a:ext cx="4138082" cy="359681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ED4116A-CF46-4004-B88C-DFA634D1B9F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7334249" y="6121401"/>
            <a:ext cx="4138084" cy="353484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73403387"/>
      </p:ext>
    </p:extLst>
  </p:cSld>
  <p:clrMapOvr>
    <a:masterClrMapping/>
  </p:clrMapOvr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int 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Picture Placeholder 20">
            <a:extLst>
              <a:ext uri="{FF2B5EF4-FFF2-40B4-BE49-F238E27FC236}">
                <a16:creationId xmlns:a16="http://schemas.microsoft.com/office/drawing/2014/main" id="{1D26312F-CA6A-45D5-9C6C-0228BE4FD2ED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393167" y="893967"/>
            <a:ext cx="1322400" cy="5964032"/>
          </a:xfrm>
          <a:custGeom>
            <a:avLst/>
            <a:gdLst>
              <a:gd name="connsiteX0" fmla="*/ 486101 w 991800"/>
              <a:gd name="connsiteY0" fmla="*/ 0 h 4473024"/>
              <a:gd name="connsiteX1" fmla="*/ 505699 w 991800"/>
              <a:gd name="connsiteY1" fmla="*/ 0 h 4473024"/>
              <a:gd name="connsiteX2" fmla="*/ 991800 w 991800"/>
              <a:gd name="connsiteY2" fmla="*/ 486101 h 4473024"/>
              <a:gd name="connsiteX3" fmla="*/ 991800 w 991800"/>
              <a:gd name="connsiteY3" fmla="*/ 4473024 h 4473024"/>
              <a:gd name="connsiteX4" fmla="*/ 0 w 991800"/>
              <a:gd name="connsiteY4" fmla="*/ 4473024 h 4473024"/>
              <a:gd name="connsiteX5" fmla="*/ 0 w 991800"/>
              <a:gd name="connsiteY5" fmla="*/ 486101 h 4473024"/>
              <a:gd name="connsiteX6" fmla="*/ 486101 w 991800"/>
              <a:gd name="connsiteY6" fmla="*/ 0 h 4473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991800" h="4473024">
                <a:moveTo>
                  <a:pt x="486101" y="0"/>
                </a:moveTo>
                <a:lnTo>
                  <a:pt x="505699" y="0"/>
                </a:lnTo>
                <a:cubicBezTo>
                  <a:pt x="774165" y="0"/>
                  <a:pt x="991800" y="217635"/>
                  <a:pt x="991800" y="486101"/>
                </a:cubicBezTo>
                <a:lnTo>
                  <a:pt x="991800" y="4473024"/>
                </a:lnTo>
                <a:lnTo>
                  <a:pt x="0" y="4473024"/>
                </a:lnTo>
                <a:lnTo>
                  <a:pt x="0" y="486101"/>
                </a:lnTo>
                <a:cubicBezTo>
                  <a:pt x="0" y="217635"/>
                  <a:pt x="217635" y="0"/>
                  <a:pt x="486101" y="0"/>
                </a:cubicBezTo>
                <a:close/>
              </a:path>
            </a:pathLst>
          </a:custGeom>
          <a:solidFill>
            <a:srgbClr val="F5F6F9"/>
          </a:solidFill>
        </p:spPr>
        <p:txBody>
          <a:bodyPr wrap="square">
            <a:noAutofit/>
          </a:bodyPr>
          <a:lstStyle>
            <a:lvl1pPr>
              <a:defRPr>
                <a:noFill/>
              </a:defRPr>
            </a:lvl1pPr>
          </a:lstStyle>
          <a:p>
            <a:endParaRPr lang="en-US"/>
          </a:p>
        </p:txBody>
      </p:sp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BCD01C55-168C-4557-8869-5CE381C20B48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711203" y="1"/>
            <a:ext cx="2421199" cy="3809900"/>
          </a:xfrm>
          <a:custGeom>
            <a:avLst/>
            <a:gdLst>
              <a:gd name="connsiteX0" fmla="*/ 0 w 1815899"/>
              <a:gd name="connsiteY0" fmla="*/ 0 h 2857425"/>
              <a:gd name="connsiteX1" fmla="*/ 1815899 w 1815899"/>
              <a:gd name="connsiteY1" fmla="*/ 0 h 2857425"/>
              <a:gd name="connsiteX2" fmla="*/ 1815899 w 1815899"/>
              <a:gd name="connsiteY2" fmla="*/ 1949475 h 2857425"/>
              <a:gd name="connsiteX3" fmla="*/ 907949 w 1815899"/>
              <a:gd name="connsiteY3" fmla="*/ 2857425 h 2857425"/>
              <a:gd name="connsiteX4" fmla="*/ 4687 w 1815899"/>
              <a:gd name="connsiteY4" fmla="*/ 2042308 h 2857425"/>
              <a:gd name="connsiteX5" fmla="*/ 0 w 1815899"/>
              <a:gd name="connsiteY5" fmla="*/ 1949495 h 28574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815899" h="2857425">
                <a:moveTo>
                  <a:pt x="0" y="0"/>
                </a:moveTo>
                <a:lnTo>
                  <a:pt x="1815899" y="0"/>
                </a:lnTo>
                <a:lnTo>
                  <a:pt x="1815899" y="1949475"/>
                </a:lnTo>
                <a:cubicBezTo>
                  <a:pt x="1815899" y="2450922"/>
                  <a:pt x="1409396" y="2857425"/>
                  <a:pt x="907949" y="2857425"/>
                </a:cubicBezTo>
                <a:cubicBezTo>
                  <a:pt x="437842" y="2857425"/>
                  <a:pt x="51183" y="2500147"/>
                  <a:pt x="4687" y="2042308"/>
                </a:cubicBezTo>
                <a:lnTo>
                  <a:pt x="0" y="1949495"/>
                </a:lnTo>
                <a:close/>
              </a:path>
            </a:pathLst>
          </a:custGeom>
          <a:solidFill>
            <a:srgbClr val="F5F6F9"/>
          </a:solidFill>
        </p:spPr>
        <p:txBody>
          <a:bodyPr wrap="square">
            <a:noAutofit/>
          </a:bodyPr>
          <a:lstStyle/>
          <a:p>
            <a:endParaRPr lang="en-US"/>
          </a:p>
        </p:txBody>
      </p:sp>
      <p:sp>
        <p:nvSpPr>
          <p:cNvPr id="18" name="Picture Placeholder 17">
            <a:extLst>
              <a:ext uri="{FF2B5EF4-FFF2-40B4-BE49-F238E27FC236}">
                <a16:creationId xmlns:a16="http://schemas.microsoft.com/office/drawing/2014/main" id="{84D09F35-CDD7-40E9-B917-41C86FE1F940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704634" y="1590897"/>
            <a:ext cx="699467" cy="698400"/>
          </a:xfrm>
          <a:prstGeom prst="ellipse">
            <a:avLst/>
          </a:prstGeom>
          <a:solidFill>
            <a:schemeClr val="bg1"/>
          </a:solidFill>
          <a:ln w="101600">
            <a:solidFill>
              <a:schemeClr val="bg1"/>
            </a:solidFill>
          </a:ln>
        </p:spPr>
        <p:txBody>
          <a:bodyPr/>
          <a:lstStyle>
            <a:lvl1pPr>
              <a:defRPr>
                <a:noFill/>
              </a:defRPr>
            </a:lvl1pPr>
          </a:lstStyle>
          <a:p>
            <a:endParaRPr lang="en-US"/>
          </a:p>
        </p:txBody>
      </p:sp>
      <p:sp>
        <p:nvSpPr>
          <p:cNvPr id="19" name="Picture Placeholder 17">
            <a:extLst>
              <a:ext uri="{FF2B5EF4-FFF2-40B4-BE49-F238E27FC236}">
                <a16:creationId xmlns:a16="http://schemas.microsoft.com/office/drawing/2014/main" id="{EAC09DE8-D1C7-404C-AAB0-4968B9C8377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704634" y="3079800"/>
            <a:ext cx="699467" cy="698400"/>
          </a:xfrm>
          <a:prstGeom prst="ellipse">
            <a:avLst/>
          </a:prstGeom>
          <a:solidFill>
            <a:schemeClr val="bg1"/>
          </a:solidFill>
          <a:ln w="101600">
            <a:solidFill>
              <a:schemeClr val="bg1"/>
            </a:solidFill>
          </a:ln>
        </p:spPr>
        <p:txBody>
          <a:bodyPr/>
          <a:lstStyle>
            <a:lvl1pPr>
              <a:defRPr>
                <a:noFill/>
              </a:defRPr>
            </a:lvl1pPr>
          </a:lstStyle>
          <a:p>
            <a:endParaRPr lang="en-US"/>
          </a:p>
        </p:txBody>
      </p:sp>
      <p:sp>
        <p:nvSpPr>
          <p:cNvPr id="20" name="Picture Placeholder 17">
            <a:extLst>
              <a:ext uri="{FF2B5EF4-FFF2-40B4-BE49-F238E27FC236}">
                <a16:creationId xmlns:a16="http://schemas.microsoft.com/office/drawing/2014/main" id="{B5066F44-6BA8-4DF5-A2BD-5E2192D7EC56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6704634" y="4596818"/>
            <a:ext cx="699467" cy="698400"/>
          </a:xfrm>
          <a:prstGeom prst="ellipse">
            <a:avLst/>
          </a:prstGeom>
          <a:solidFill>
            <a:schemeClr val="bg1"/>
          </a:solidFill>
          <a:ln w="101600">
            <a:solidFill>
              <a:schemeClr val="bg1"/>
            </a:solidFill>
          </a:ln>
        </p:spPr>
        <p:txBody>
          <a:bodyPr/>
          <a:lstStyle>
            <a:lvl1pPr>
              <a:defRPr>
                <a:noFill/>
              </a:defRPr>
            </a:lvl1pPr>
          </a:lstStyle>
          <a:p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35F4FBF-1C16-4019-96AE-593F2EB4B81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668" y="4322233"/>
            <a:ext cx="4529667" cy="179916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FEBB6A2-738C-42B5-8F61-FE9334B0E5E6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>
          <a:xfrm>
            <a:off x="7886699" y="6121401"/>
            <a:ext cx="3585633" cy="353484"/>
          </a:xfrm>
        </p:spPr>
        <p:txBody>
          <a:bodyPr/>
          <a:lstStyle/>
          <a:p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DA22C840-32C0-4ACC-A03B-72B75373E0A5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7886701" y="1509356"/>
            <a:ext cx="3585632" cy="861483"/>
          </a:xfrm>
        </p:spPr>
        <p:txBody>
          <a:bodyPr anchor="ctr"/>
          <a:lstStyle>
            <a:lvl1pPr>
              <a:spcAft>
                <a:spcPts val="1200"/>
              </a:spcAft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" name="Text Placeholder 4">
            <a:extLst>
              <a:ext uri="{FF2B5EF4-FFF2-40B4-BE49-F238E27FC236}">
                <a16:creationId xmlns:a16="http://schemas.microsoft.com/office/drawing/2014/main" id="{406B13E9-6D62-421B-9AC1-C0F72DE11A0F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7886701" y="2998259"/>
            <a:ext cx="3585632" cy="861483"/>
          </a:xfrm>
        </p:spPr>
        <p:txBody>
          <a:bodyPr anchor="ctr"/>
          <a:lstStyle>
            <a:lvl1pPr>
              <a:spcAft>
                <a:spcPts val="1200"/>
              </a:spcAft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7" name="Text Placeholder 4">
            <a:extLst>
              <a:ext uri="{FF2B5EF4-FFF2-40B4-BE49-F238E27FC236}">
                <a16:creationId xmlns:a16="http://schemas.microsoft.com/office/drawing/2014/main" id="{E00A20ED-DF6E-4547-ACF5-5767A53FBA68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886701" y="4515277"/>
            <a:ext cx="3585632" cy="861483"/>
          </a:xfrm>
        </p:spPr>
        <p:txBody>
          <a:bodyPr anchor="ctr"/>
          <a:lstStyle>
            <a:lvl1pPr>
              <a:spcAft>
                <a:spcPts val="1200"/>
              </a:spcAft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14479981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9D843A1F-68EE-4711-A1FC-44887FE9A8F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087534" y="505992"/>
            <a:ext cx="1185333" cy="1185333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>
            <a:noAutofit/>
          </a:bodyPr>
          <a:lstStyle>
            <a:lvl1pPr>
              <a:defRPr>
                <a:noFill/>
              </a:defRPr>
            </a:lvl1pPr>
          </a:lstStyle>
          <a:p>
            <a:endParaRPr lang="en-US"/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C3F37278-F1CC-445A-8F3A-1E125B4F2140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898170" y="1"/>
            <a:ext cx="4356399" cy="5951535"/>
          </a:xfrm>
          <a:custGeom>
            <a:avLst/>
            <a:gdLst>
              <a:gd name="connsiteX0" fmla="*/ 429 w 3267299"/>
              <a:gd name="connsiteY0" fmla="*/ 0 h 4463651"/>
              <a:gd name="connsiteX1" fmla="*/ 3266870 w 3267299"/>
              <a:gd name="connsiteY1" fmla="*/ 0 h 4463651"/>
              <a:gd name="connsiteX2" fmla="*/ 3267299 w 3267299"/>
              <a:gd name="connsiteY2" fmla="*/ 8501 h 4463651"/>
              <a:gd name="connsiteX3" fmla="*/ 3267299 w 3267299"/>
              <a:gd name="connsiteY3" fmla="*/ 2830001 h 4463651"/>
              <a:gd name="connsiteX4" fmla="*/ 1633649 w 3267299"/>
              <a:gd name="connsiteY4" fmla="*/ 4463651 h 4463651"/>
              <a:gd name="connsiteX5" fmla="*/ 8434 w 3267299"/>
              <a:gd name="connsiteY5" fmla="*/ 2997032 h 4463651"/>
              <a:gd name="connsiteX6" fmla="*/ 0 w 3267299"/>
              <a:gd name="connsiteY6" fmla="*/ 2830020 h 4463651"/>
              <a:gd name="connsiteX7" fmla="*/ 0 w 3267299"/>
              <a:gd name="connsiteY7" fmla="*/ 8482 h 44636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267299" h="4463651">
                <a:moveTo>
                  <a:pt x="429" y="0"/>
                </a:moveTo>
                <a:lnTo>
                  <a:pt x="3266870" y="0"/>
                </a:lnTo>
                <a:lnTo>
                  <a:pt x="3267299" y="8501"/>
                </a:lnTo>
                <a:lnTo>
                  <a:pt x="3267299" y="2830001"/>
                </a:lnTo>
                <a:cubicBezTo>
                  <a:pt x="3267299" y="3732241"/>
                  <a:pt x="2535889" y="4463651"/>
                  <a:pt x="1633649" y="4463651"/>
                </a:cubicBezTo>
                <a:cubicBezTo>
                  <a:pt x="787799" y="4463651"/>
                  <a:pt x="92093" y="3820810"/>
                  <a:pt x="8434" y="2997032"/>
                </a:cubicBezTo>
                <a:lnTo>
                  <a:pt x="0" y="2830020"/>
                </a:lnTo>
                <a:lnTo>
                  <a:pt x="0" y="8482"/>
                </a:lnTo>
                <a:close/>
              </a:path>
            </a:pathLst>
          </a:custGeom>
          <a:solidFill>
            <a:srgbClr val="EDF1F6"/>
          </a:solidFill>
        </p:spPr>
        <p:txBody>
          <a:bodyPr wrap="square">
            <a:noAutofit/>
          </a:bodyPr>
          <a:lstStyle/>
          <a:p>
            <a:endParaRPr lang="en-US"/>
          </a:p>
        </p:txBody>
      </p:sp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A4B2712C-CC0A-404D-88BC-98915FC2C4D2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332841" y="5365750"/>
            <a:ext cx="3803495" cy="325967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200" b="0" i="0">
                <a:solidFill>
                  <a:schemeClr val="tx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endParaRPr lang="en-US" sz="1200">
              <a:solidFill>
                <a:schemeClr val="tx1"/>
              </a:solidFill>
              <a:latin typeface="CiscoSansTT ExtraLight" panose="020B0303020201020303" pitchFamily="34" charset="0"/>
              <a:cs typeface="CiscoSansTT ExtraLight" panose="020B0303020201020303" pitchFamily="34" charset="0"/>
              <a:sym typeface="Helvetica Neue Light"/>
            </a:endParaRPr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BA7365B6-C3C6-BA4B-A68B-FD7EB711AD5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332840" y="4784763"/>
            <a:ext cx="2292659" cy="351903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467" b="0" i="0">
                <a:solidFill>
                  <a:schemeClr val="accent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defRPr>
            </a:lvl1pPr>
            <a:lvl2pPr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endParaRPr lang="en-US" sz="1467">
              <a:solidFill>
                <a:schemeClr val="accent1"/>
              </a:solidFill>
              <a:latin typeface="CiscoSansTT ExtraLight" panose="020B0303020201020303" pitchFamily="34" charset="0"/>
              <a:ea typeface="Helvetica Neue"/>
              <a:cs typeface="CiscoSansTT ExtraLight" panose="020B0303020201020303" pitchFamily="34" charset="0"/>
              <a:sym typeface="Helvetica Neue"/>
            </a:endParaRP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F9D8C6A3-C808-5842-8D68-4766828B7B0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332841" y="1613117"/>
            <a:ext cx="4641849" cy="2874433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2400" b="0" i="0">
                <a:solidFill>
                  <a:schemeClr val="tx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defRPr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endParaRPr lang="en-US" sz="2400">
              <a:solidFill>
                <a:schemeClr val="tx1"/>
              </a:solidFill>
              <a:latin typeface="CiscoSansTT ExtraLight" panose="020B0303020201020303" pitchFamily="34" charset="0"/>
              <a:cs typeface="CiscoSansTT ExtraLight" panose="020B0303020201020303" pitchFamily="34" charset="0"/>
              <a:sym typeface="Helvetica Neue Light"/>
            </a:endParaRPr>
          </a:p>
        </p:txBody>
      </p:sp>
      <p:sp>
        <p:nvSpPr>
          <p:cNvPr id="10" name="Picture Placeholder 5">
            <a:extLst>
              <a:ext uri="{FF2B5EF4-FFF2-40B4-BE49-F238E27FC236}">
                <a16:creationId xmlns:a16="http://schemas.microsoft.com/office/drawing/2014/main" id="{3AAA969E-541E-4362-A952-8DCC98596A30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711200" y="1602317"/>
            <a:ext cx="508405" cy="414528"/>
          </a:xfrm>
          <a:prstGeom prst="rect">
            <a:avLst/>
          </a:prstGeom>
          <a:blipFill>
            <a:blip r:embed="rId3"/>
            <a:stretch>
              <a:fillRect/>
            </a:stretch>
          </a:blipFill>
        </p:spPr>
        <p:txBody>
          <a:bodyPr>
            <a:noAutofit/>
          </a:bodyPr>
          <a:lstStyle>
            <a:lvl1pPr>
              <a:defRPr>
                <a:noFill/>
              </a:defRPr>
            </a:lvl1pPr>
          </a:lstStyle>
          <a:p>
            <a:endParaRPr lang="en-US"/>
          </a:p>
        </p:txBody>
      </p:sp>
      <p:sp>
        <p:nvSpPr>
          <p:cNvPr id="15" name="Picture Placeholder 7">
            <a:extLst>
              <a:ext uri="{FF2B5EF4-FFF2-40B4-BE49-F238E27FC236}">
                <a16:creationId xmlns:a16="http://schemas.microsoft.com/office/drawing/2014/main" id="{66B402A7-F12D-4EB2-92F5-1E7AF5E4E4CD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10069235" y="4543999"/>
            <a:ext cx="1185333" cy="1185333"/>
          </a:xfrm>
          <a:prstGeom prst="rect">
            <a:avLst/>
          </a:prstGeom>
          <a:blipFill>
            <a:blip r:embed="rId4"/>
            <a:stretch>
              <a:fillRect/>
            </a:stretch>
          </a:blipFill>
        </p:spPr>
        <p:txBody>
          <a:bodyPr>
            <a:noAutofit/>
          </a:bodyPr>
          <a:lstStyle>
            <a:lvl1pPr>
              <a:defRPr>
                <a:noFill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45519891"/>
      </p:ext>
    </p:extLst>
  </p:cSld>
  <p:clrMapOvr>
    <a:masterClrMapping/>
  </p:clrMapOvr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duct Showca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3">
            <a:extLst>
              <a:ext uri="{FF2B5EF4-FFF2-40B4-BE49-F238E27FC236}">
                <a16:creationId xmlns:a16="http://schemas.microsoft.com/office/drawing/2014/main" id="{87D1745F-7441-4EF3-A130-8C453490C22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91350" y="3153834"/>
            <a:ext cx="4480983" cy="833967"/>
          </a:xfrm>
        </p:spPr>
        <p:txBody>
          <a:bodyPr>
            <a:noAutofit/>
          </a:bodyPr>
          <a:lstStyle>
            <a:lvl1pPr>
              <a:defRPr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Text Placeholder 13">
            <a:extLst>
              <a:ext uri="{FF2B5EF4-FFF2-40B4-BE49-F238E27FC236}">
                <a16:creationId xmlns:a16="http://schemas.microsoft.com/office/drawing/2014/main" id="{E674CEC4-E67F-1248-A499-B15645D72FA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991351" y="4072467"/>
            <a:ext cx="4480984" cy="3683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 b="0" i="0">
                <a:solidFill>
                  <a:schemeClr val="accent1"/>
                </a:solidFill>
                <a:latin typeface="+mn-lt"/>
                <a:cs typeface="CiscoSansTT ExtraLight" panose="020B0303020201020303" pitchFamily="34" charset="0"/>
              </a:defRPr>
            </a:lvl1pPr>
          </a:lstStyle>
          <a:p>
            <a:pPr>
              <a:lnSpc>
                <a:spcPct val="115000"/>
              </a:lnSpc>
            </a:pPr>
            <a:endParaRPr lang="en-US">
              <a:solidFill>
                <a:schemeClr val="accent1"/>
              </a:solidFill>
              <a:latin typeface="CiscoSansTT ExtraLight" panose="020B0303020201020303" pitchFamily="34" charset="0"/>
              <a:cs typeface="CiscoSansTT ExtraLight" panose="020B0303020201020303" pitchFamily="34" charset="0"/>
              <a:sym typeface="Helvetica Neue Light"/>
            </a:endParaRPr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4962D45B-C6EB-254C-834A-83FDBA682DF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991351" y="2734734"/>
            <a:ext cx="4480984" cy="3683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 b="0" i="0">
                <a:solidFill>
                  <a:schemeClr val="accent1"/>
                </a:solidFill>
                <a:latin typeface="+mn-lt"/>
                <a:cs typeface="CiscoSansTT ExtraLight" panose="020B0303020201020303" pitchFamily="34" charset="0"/>
              </a:defRPr>
            </a:lvl1pPr>
          </a:lstStyle>
          <a:p>
            <a:pPr>
              <a:lnSpc>
                <a:spcPct val="115000"/>
              </a:lnSpc>
            </a:pPr>
            <a:endParaRPr lang="en-US">
              <a:solidFill>
                <a:schemeClr val="accent1"/>
              </a:solidFill>
              <a:latin typeface="CiscoSansTT ExtraLight" panose="020B0303020201020303" pitchFamily="34" charset="0"/>
              <a:cs typeface="CiscoSansTT ExtraLight" panose="020B0303020201020303" pitchFamily="34" charset="0"/>
              <a:sym typeface="Helvetica Neue Light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9A02D8B-89F4-4618-BDD2-D9ABD27D9F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91351" y="1155699"/>
            <a:ext cx="4480984" cy="13636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E30E99D0-CB64-46C5-AB05-E49F19D237D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991350" y="4485217"/>
            <a:ext cx="4480983" cy="833967"/>
          </a:xfrm>
        </p:spPr>
        <p:txBody>
          <a:bodyPr>
            <a:noAutofit/>
          </a:bodyPr>
          <a:lstStyle>
            <a:lvl1pPr>
              <a:defRPr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FF2958B-ECB9-4474-B920-1D74DD1E8BDF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4298950" y="6121401"/>
            <a:ext cx="7173383" cy="353484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3382615"/>
      </p:ext>
    </p:extLst>
  </p:cSld>
  <p:clrMapOvr>
    <a:masterClrMapping/>
  </p:clrMapOvr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100F3F9D-2E2B-4B92-9723-00F12CB5D7B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1989" cy="6858000"/>
          </a:xfrm>
          <a:prstGeom prst="rect">
            <a:avLst/>
          </a:prstGeom>
          <a:solidFill>
            <a:srgbClr val="EDF1F6"/>
          </a:solidFill>
        </p:spPr>
        <p:txBody>
          <a:bodyPr/>
          <a:lstStyle>
            <a:lvl1pPr>
              <a:defRPr>
                <a:noFill/>
              </a:defRPr>
            </a:lvl1pPr>
          </a:lstStyle>
          <a:p>
            <a:endParaRPr lang="en-US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51720427-F808-43DE-A913-D4F7F53E551D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" y="0"/>
            <a:ext cx="12196233" cy="6858000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>
                <a:noFill/>
              </a:defRPr>
            </a:lvl1pPr>
          </a:lstStyle>
          <a:p>
            <a:endParaRPr lang="en-US"/>
          </a:p>
        </p:txBody>
      </p:sp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5634DC94-63CE-4DDF-8051-D07C98B07344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239844" y="1094636"/>
            <a:ext cx="566661" cy="462027"/>
          </a:xfrm>
          <a:prstGeom prst="rect">
            <a:avLst/>
          </a:prstGeom>
          <a:blipFill>
            <a:blip r:embed="rId3"/>
            <a:stretch>
              <a:fillRect/>
            </a:stretch>
          </a:blipFill>
        </p:spPr>
        <p:txBody>
          <a:bodyPr/>
          <a:lstStyle>
            <a:lvl1pPr>
              <a:defRPr>
                <a:noFill/>
              </a:defRPr>
            </a:lvl1pPr>
          </a:lstStyle>
          <a:p>
            <a:endParaRPr lang="en-US"/>
          </a:p>
        </p:txBody>
      </p:sp>
      <p:sp>
        <p:nvSpPr>
          <p:cNvPr id="8" name="Text Placeholder 9">
            <a:extLst>
              <a:ext uri="{FF2B5EF4-FFF2-40B4-BE49-F238E27FC236}">
                <a16:creationId xmlns:a16="http://schemas.microsoft.com/office/drawing/2014/main" id="{7026F21A-7268-2643-AFAB-66A39B9C6E3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927045" y="1413718"/>
            <a:ext cx="5114800" cy="248494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 i="0">
                <a:solidFill>
                  <a:schemeClr val="bg1"/>
                </a:solidFill>
                <a:latin typeface="+mn-lt"/>
                <a:cs typeface="CiscoSansTT ExtraLight" panose="020B0303020201020303" pitchFamily="34" charset="0"/>
              </a:defRPr>
            </a:lvl1pPr>
          </a:lstStyle>
          <a:p>
            <a:pPr lvl="0"/>
            <a:r>
              <a:rPr lang="en-GB"/>
              <a:t>Click to add title</a:t>
            </a:r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0A1A6A2-D12D-4F94-831A-110B03FB0349}"/>
              </a:ext>
            </a:extLst>
          </p:cNvPr>
          <p:cNvSpPr/>
          <p:nvPr userDrawn="1"/>
        </p:nvSpPr>
        <p:spPr>
          <a:xfrm>
            <a:off x="-1" y="-844774"/>
            <a:ext cx="12196233" cy="749580"/>
          </a:xfrm>
          <a:prstGeom prst="rect">
            <a:avLst/>
          </a:prstGeom>
          <a:solidFill>
            <a:srgbClr val="EDF1F6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2000">
                <a:solidFill>
                  <a:schemeClr val="tx1"/>
                </a:solidFill>
              </a:rPr>
              <a:t>PLEASE NOTE:</a:t>
            </a:r>
          </a:p>
          <a:p>
            <a:pPr algn="ctr"/>
            <a:r>
              <a:rPr lang="en-US" sz="2000">
                <a:solidFill>
                  <a:schemeClr val="tx1"/>
                </a:solidFill>
              </a:rPr>
              <a:t>In order to insert an image into the background, simply drag and drop your image onto the slid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000DF17-0FE2-45AC-88F3-D7985248F79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927045" y="4170142"/>
            <a:ext cx="5114800" cy="230717"/>
          </a:xfrm>
        </p:spPr>
        <p:txBody>
          <a:bodyPr/>
          <a:lstStyle>
            <a:lvl1pPr>
              <a:defRPr b="1">
                <a:solidFill>
                  <a:schemeClr val="bg1"/>
                </a:solidFill>
                <a:latin typeface="CiscoSansTT" panose="020B0503020201020303" pitchFamily="34" charset="0"/>
                <a:cs typeface="CiscoSansTT" panose="020B0503020201020303" pitchFamily="34" charset="0"/>
              </a:defRPr>
            </a:lvl1pPr>
          </a:lstStyle>
          <a:p>
            <a:pPr lvl="0"/>
            <a:r>
              <a:rPr lang="en-US"/>
              <a:t>Insert sourc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E6418332-ECF9-4198-95C4-2DB2ACE9043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927225" y="4427064"/>
            <a:ext cx="5114620" cy="345017"/>
          </a:xfrm>
        </p:spPr>
        <p:txBody>
          <a:bodyPr/>
          <a:lstStyle>
            <a:lvl1pPr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Insert additional</a:t>
            </a:r>
          </a:p>
        </p:txBody>
      </p:sp>
    </p:spTree>
    <p:extLst>
      <p:ext uri="{BB962C8B-B14F-4D97-AF65-F5344CB8AC3E}">
        <p14:creationId xmlns:p14="http://schemas.microsoft.com/office/powerpoint/2010/main" val="2119466346"/>
      </p:ext>
    </p:extLst>
  </p:cSld>
  <p:clrMapOvr>
    <a:masterClrMapping/>
  </p:clrMapOvr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int Lis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683FEB4F-58F8-4354-899B-D9018B1F3352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196667" y="1308100"/>
            <a:ext cx="908267" cy="908267"/>
          </a:xfrm>
          <a:prstGeom prst="ellipse">
            <a:avLst/>
          </a:prstGeom>
          <a:solidFill>
            <a:schemeClr val="bg1"/>
          </a:solidFill>
          <a:ln w="101600">
            <a:solidFill>
              <a:srgbClr val="F5F6F9"/>
            </a:solidFill>
          </a:ln>
        </p:spPr>
        <p:txBody>
          <a:bodyPr/>
          <a:lstStyle>
            <a:lvl1pPr>
              <a:defRPr>
                <a:noFill/>
              </a:defRPr>
            </a:lvl1pPr>
          </a:lstStyle>
          <a:p>
            <a:endParaRPr lang="en-US"/>
          </a:p>
        </p:txBody>
      </p:sp>
      <p:sp>
        <p:nvSpPr>
          <p:cNvPr id="17" name="Picture Placeholder 3">
            <a:extLst>
              <a:ext uri="{FF2B5EF4-FFF2-40B4-BE49-F238E27FC236}">
                <a16:creationId xmlns:a16="http://schemas.microsoft.com/office/drawing/2014/main" id="{B9C52DC1-92ED-4A1C-8323-59E017948D65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96667" y="3016251"/>
            <a:ext cx="908267" cy="908267"/>
          </a:xfrm>
          <a:prstGeom prst="ellipse">
            <a:avLst/>
          </a:prstGeom>
          <a:solidFill>
            <a:schemeClr val="bg1"/>
          </a:solidFill>
          <a:ln w="101600">
            <a:solidFill>
              <a:srgbClr val="F5F6F9"/>
            </a:solidFill>
          </a:ln>
        </p:spPr>
        <p:txBody>
          <a:bodyPr/>
          <a:lstStyle>
            <a:lvl1pPr>
              <a:defRPr>
                <a:noFill/>
              </a:defRPr>
            </a:lvl1pPr>
          </a:lstStyle>
          <a:p>
            <a:endParaRPr lang="en-US"/>
          </a:p>
        </p:txBody>
      </p:sp>
      <p:sp>
        <p:nvSpPr>
          <p:cNvPr id="18" name="Picture Placeholder 3">
            <a:extLst>
              <a:ext uri="{FF2B5EF4-FFF2-40B4-BE49-F238E27FC236}">
                <a16:creationId xmlns:a16="http://schemas.microsoft.com/office/drawing/2014/main" id="{76BB0C0A-8B0F-4ADD-8E7B-B5EA9F5B3EA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196667" y="4692651"/>
            <a:ext cx="908267" cy="908267"/>
          </a:xfrm>
          <a:prstGeom prst="ellipse">
            <a:avLst/>
          </a:prstGeom>
          <a:solidFill>
            <a:schemeClr val="bg1"/>
          </a:solidFill>
          <a:ln w="101600">
            <a:solidFill>
              <a:srgbClr val="F5F6F9"/>
            </a:solidFill>
          </a:ln>
        </p:spPr>
        <p:txBody>
          <a:bodyPr/>
          <a:lstStyle>
            <a:lvl1pPr>
              <a:defRPr>
                <a:noFill/>
              </a:defRPr>
            </a:lvl1pPr>
          </a:lstStyle>
          <a:p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F7DBFB5-9577-4ABC-B732-55CCAD4F755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667" y="1612901"/>
            <a:ext cx="4131733" cy="1354138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21EB2C73-2A86-43AD-B83E-621B8E97D29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19667" y="3416300"/>
            <a:ext cx="4138082" cy="2252663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9B7BAA6-8584-4C3A-A441-4DD27CD61957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>
          <a:xfrm>
            <a:off x="4216400" y="6121401"/>
            <a:ext cx="7255933" cy="353484"/>
          </a:xfrm>
        </p:spPr>
        <p:txBody>
          <a:bodyPr/>
          <a:lstStyle/>
          <a:p>
            <a:endParaRPr lang="en-US"/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325CD088-FBF3-445E-B378-A92C692F7273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7370291" y="1331492"/>
            <a:ext cx="4102042" cy="861483"/>
          </a:xfrm>
        </p:spPr>
        <p:txBody>
          <a:bodyPr anchor="ctr"/>
          <a:lstStyle>
            <a:lvl1pPr>
              <a:spcAft>
                <a:spcPts val="1200"/>
              </a:spcAft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Text Placeholder 4">
            <a:extLst>
              <a:ext uri="{FF2B5EF4-FFF2-40B4-BE49-F238E27FC236}">
                <a16:creationId xmlns:a16="http://schemas.microsoft.com/office/drawing/2014/main" id="{35FEC2E1-B1B6-4EEF-9532-7023EA202DAD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370291" y="3039643"/>
            <a:ext cx="4102042" cy="861483"/>
          </a:xfrm>
        </p:spPr>
        <p:txBody>
          <a:bodyPr anchor="ctr"/>
          <a:lstStyle>
            <a:lvl1pPr>
              <a:spcAft>
                <a:spcPts val="1200"/>
              </a:spcAft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ext Placeholder 4">
            <a:extLst>
              <a:ext uri="{FF2B5EF4-FFF2-40B4-BE49-F238E27FC236}">
                <a16:creationId xmlns:a16="http://schemas.microsoft.com/office/drawing/2014/main" id="{5F8341FE-A07A-4B20-81FE-0A75940B995E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7370291" y="4716043"/>
            <a:ext cx="4102042" cy="861483"/>
          </a:xfrm>
        </p:spPr>
        <p:txBody>
          <a:bodyPr anchor="ctr"/>
          <a:lstStyle>
            <a:lvl1pPr>
              <a:spcAft>
                <a:spcPts val="1200"/>
              </a:spcAft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257008870"/>
      </p:ext>
    </p:extLst>
  </p:cSld>
  <p:clrMapOvr>
    <a:masterClrMapping/>
  </p:clrMapOvr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8882533-A64D-440E-9224-3F3A545BC47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667" y="1612901"/>
            <a:ext cx="4131733" cy="1354138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EBE1D6F3-D1FF-4C61-8EC0-77150412444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19667" y="3416300"/>
            <a:ext cx="4138082" cy="27051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FCE6FD8-63CD-478F-B0E6-070FF8365D0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55554267"/>
      </p:ext>
    </p:extLst>
  </p:cSld>
  <p:clrMapOvr>
    <a:masterClrMapping/>
  </p:clrMapOvr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EDD0B389-6141-4FE9-8448-1DBF3443ED8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967663" y="17618"/>
            <a:ext cx="6224339" cy="6840381"/>
          </a:xfrm>
          <a:custGeom>
            <a:avLst/>
            <a:gdLst>
              <a:gd name="connsiteX0" fmla="*/ 2565143 w 4668254"/>
              <a:gd name="connsiteY0" fmla="*/ 0 h 5130286"/>
              <a:gd name="connsiteX1" fmla="*/ 4668254 w 4668254"/>
              <a:gd name="connsiteY1" fmla="*/ 1 h 5130286"/>
              <a:gd name="connsiteX2" fmla="*/ 4668254 w 4668254"/>
              <a:gd name="connsiteY2" fmla="*/ 5130286 h 5130286"/>
              <a:gd name="connsiteX3" fmla="*/ 2565143 w 4668254"/>
              <a:gd name="connsiteY3" fmla="*/ 5130286 h 5130286"/>
              <a:gd name="connsiteX4" fmla="*/ 0 w 4668254"/>
              <a:gd name="connsiteY4" fmla="*/ 2565143 h 5130286"/>
              <a:gd name="connsiteX5" fmla="*/ 2565143 w 4668254"/>
              <a:gd name="connsiteY5" fmla="*/ 0 h 51302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668254" h="5130286">
                <a:moveTo>
                  <a:pt x="2565143" y="0"/>
                </a:moveTo>
                <a:lnTo>
                  <a:pt x="4668254" y="1"/>
                </a:lnTo>
                <a:lnTo>
                  <a:pt x="4668254" y="5130286"/>
                </a:lnTo>
                <a:lnTo>
                  <a:pt x="2565143" y="5130286"/>
                </a:lnTo>
                <a:cubicBezTo>
                  <a:pt x="1148454" y="5130286"/>
                  <a:pt x="0" y="3981832"/>
                  <a:pt x="0" y="2565143"/>
                </a:cubicBezTo>
                <a:cubicBezTo>
                  <a:pt x="0" y="1148454"/>
                  <a:pt x="1148454" y="0"/>
                  <a:pt x="2565143" y="0"/>
                </a:cubicBezTo>
                <a:close/>
              </a:path>
            </a:pathLst>
          </a:custGeom>
          <a:solidFill>
            <a:srgbClr val="F5F6F9"/>
          </a:solidFill>
        </p:spPr>
        <p:txBody>
          <a:bodyPr wrap="square">
            <a:noAutofit/>
          </a:bodyPr>
          <a:lstStyle/>
          <a:p>
            <a:endParaRPr lang="en-US"/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FDBE70EF-377F-4ADC-91FB-5792A2F99798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267927" y="3203620"/>
            <a:ext cx="3098800" cy="3098801"/>
          </a:xfrm>
          <a:prstGeom prst="ellipse">
            <a:avLst/>
          </a:prstGeom>
          <a:solidFill>
            <a:schemeClr val="accent1"/>
          </a:solidFill>
        </p:spPr>
        <p:txBody>
          <a:bodyPr lIns="0" tIns="0" rIns="0" bIns="0" anchor="ctr" anchorCtr="0"/>
          <a:lstStyle>
            <a:lvl1pPr algn="ctr">
              <a:defRPr>
                <a:solidFill>
                  <a:schemeClr val="tx2"/>
                </a:solidFill>
                <a:latin typeface="+mn-lt"/>
              </a:defRPr>
            </a:lvl1pPr>
            <a:lvl2pPr algn="ctr">
              <a:defRPr>
                <a:solidFill>
                  <a:schemeClr val="tx2"/>
                </a:solidFill>
                <a:latin typeface="+mn-lt"/>
              </a:defRPr>
            </a:lvl2pPr>
            <a:lvl3pPr algn="ctr">
              <a:defRPr>
                <a:solidFill>
                  <a:schemeClr val="tx2"/>
                </a:solidFill>
                <a:latin typeface="+mn-lt"/>
              </a:defRPr>
            </a:lvl3pPr>
            <a:lvl4pPr algn="ctr">
              <a:defRPr>
                <a:solidFill>
                  <a:schemeClr val="tx2"/>
                </a:solidFill>
                <a:latin typeface="+mn-lt"/>
              </a:defRPr>
            </a:lvl4pPr>
            <a:lvl5pPr algn="ctr">
              <a:defRPr>
                <a:solidFill>
                  <a:schemeClr val="tx2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Picture Placeholder 5">
            <a:extLst>
              <a:ext uri="{FF2B5EF4-FFF2-40B4-BE49-F238E27FC236}">
                <a16:creationId xmlns:a16="http://schemas.microsoft.com/office/drawing/2014/main" id="{977C4E1E-EF59-4F9B-B922-4C7C61C3BB3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5013724" y="3784539"/>
            <a:ext cx="508405" cy="414528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>
                <a:noFill/>
              </a:defRPr>
            </a:lvl1pPr>
          </a:lstStyle>
          <a:p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6476E9-FF56-4974-AD87-77B030C700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667" y="1155699"/>
            <a:ext cx="4131733" cy="1363664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Text Placeholder 3">
            <a:extLst>
              <a:ext uri="{FF2B5EF4-FFF2-40B4-BE49-F238E27FC236}">
                <a16:creationId xmlns:a16="http://schemas.microsoft.com/office/drawing/2014/main" id="{B2068A80-FE68-4865-AA94-FF151A7C956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19667" y="2960687"/>
            <a:ext cx="4138082" cy="27082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437878618"/>
      </p:ext>
    </p:extLst>
  </p:cSld>
  <p:clrMapOvr>
    <a:masterClrMapping/>
  </p:clrMapOvr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Top Cen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E4E5C93-3A8E-4484-97CA-9286E439C1C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5AA5629-FFD1-4B28-8CB4-D5F6AAB5C4C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78640949"/>
      </p:ext>
    </p:extLst>
  </p:cSld>
  <p:clrMapOvr>
    <a:masterClrMapping/>
  </p:clrMapOvr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5143A888-2FF7-460B-8488-88710C99F16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76151719"/>
      </p:ext>
    </p:extLst>
  </p:cSld>
  <p:clrMapOvr>
    <a:masterClrMapping/>
  </p:clrMapOvr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left 3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8078AEEA-5B48-464E-8502-33863921396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3900" y="1612901"/>
            <a:ext cx="3067051" cy="4056062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CA60C2D7-C8EE-4910-B028-83AB4E0055E6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E3868972-9843-4CD6-BB5A-562FD5261E7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298950" y="1612901"/>
            <a:ext cx="2275600" cy="360000"/>
          </a:xfrm>
        </p:spPr>
        <p:txBody>
          <a:bodyPr/>
          <a:lstStyle>
            <a:lvl1pPr>
              <a:defRPr sz="1600">
                <a:solidFill>
                  <a:schemeClr val="accent1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Insert short heading</a:t>
            </a:r>
          </a:p>
        </p:txBody>
      </p:sp>
      <p:sp>
        <p:nvSpPr>
          <p:cNvPr id="12" name="Text Placeholder 4">
            <a:extLst>
              <a:ext uri="{FF2B5EF4-FFF2-40B4-BE49-F238E27FC236}">
                <a16:creationId xmlns:a16="http://schemas.microsoft.com/office/drawing/2014/main" id="{CE58BD52-AC6A-4560-BDE0-613D5E26C5A1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745725" y="1612901"/>
            <a:ext cx="2275600" cy="360000"/>
          </a:xfrm>
        </p:spPr>
        <p:txBody>
          <a:bodyPr/>
          <a:lstStyle>
            <a:lvl1pPr>
              <a:defRPr sz="1600">
                <a:solidFill>
                  <a:schemeClr val="accent1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Insert short heading</a:t>
            </a:r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516118FF-0C8C-4605-A22A-1E2F1B2104F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192500" y="1612901"/>
            <a:ext cx="2275600" cy="360000"/>
          </a:xfrm>
        </p:spPr>
        <p:txBody>
          <a:bodyPr/>
          <a:lstStyle>
            <a:lvl1pPr>
              <a:defRPr sz="1600">
                <a:solidFill>
                  <a:schemeClr val="accent1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Insert short heading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75DB6320-9688-413E-8D7B-0BAEBEFD45A5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302927" y="2035883"/>
            <a:ext cx="2275200" cy="3633080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0" name="Text Placeholder 6">
            <a:extLst>
              <a:ext uri="{FF2B5EF4-FFF2-40B4-BE49-F238E27FC236}">
                <a16:creationId xmlns:a16="http://schemas.microsoft.com/office/drawing/2014/main" id="{EE1F764F-7BBA-43A8-BF76-2AC8619501D3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6747714" y="2035883"/>
            <a:ext cx="2275200" cy="3633080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1" name="Text Placeholder 6">
            <a:extLst>
              <a:ext uri="{FF2B5EF4-FFF2-40B4-BE49-F238E27FC236}">
                <a16:creationId xmlns:a16="http://schemas.microsoft.com/office/drawing/2014/main" id="{195CA2B9-2276-4B6E-BBDE-F8F0487540CA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9192500" y="2035883"/>
            <a:ext cx="2275200" cy="3633080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398984030"/>
      </p:ext>
    </p:extLst>
  </p:cSld>
  <p:clrMapOvr>
    <a:masterClrMapping/>
  </p:clrMapOvr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B6D3CFB-C854-434C-9A1F-637A0B027DD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6018" y="1612899"/>
            <a:ext cx="3321051" cy="40560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BC044539-DAE7-490B-B5E6-BC374262E05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8950" y="1612899"/>
            <a:ext cx="3439160" cy="405606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C5767B47-8446-4315-A1D6-55A50699F18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886700" y="1612899"/>
            <a:ext cx="3463290" cy="405606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961513E-9D4B-45A9-9577-19B01F670A9E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15659966"/>
      </p:ext>
    </p:extLst>
  </p:cSld>
  <p:clrMapOvr>
    <a:masterClrMapping/>
  </p:clrMapOvr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9D843A1F-68EE-4711-A1FC-44887FE9A8F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120995" y="765065"/>
            <a:ext cx="1185333" cy="1185333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>
                <a:noFill/>
              </a:defRPr>
            </a:lvl1pPr>
          </a:lstStyle>
          <a:p>
            <a:endParaRPr lang="en-US"/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C3F37278-F1CC-445A-8F3A-1E125B4F2140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898170" y="1"/>
            <a:ext cx="4356399" cy="5951535"/>
          </a:xfrm>
          <a:custGeom>
            <a:avLst/>
            <a:gdLst>
              <a:gd name="connsiteX0" fmla="*/ 429 w 3267299"/>
              <a:gd name="connsiteY0" fmla="*/ 0 h 4463651"/>
              <a:gd name="connsiteX1" fmla="*/ 3266870 w 3267299"/>
              <a:gd name="connsiteY1" fmla="*/ 0 h 4463651"/>
              <a:gd name="connsiteX2" fmla="*/ 3267299 w 3267299"/>
              <a:gd name="connsiteY2" fmla="*/ 8501 h 4463651"/>
              <a:gd name="connsiteX3" fmla="*/ 3267299 w 3267299"/>
              <a:gd name="connsiteY3" fmla="*/ 2830001 h 4463651"/>
              <a:gd name="connsiteX4" fmla="*/ 1633649 w 3267299"/>
              <a:gd name="connsiteY4" fmla="*/ 4463651 h 4463651"/>
              <a:gd name="connsiteX5" fmla="*/ 8434 w 3267299"/>
              <a:gd name="connsiteY5" fmla="*/ 2997032 h 4463651"/>
              <a:gd name="connsiteX6" fmla="*/ 0 w 3267299"/>
              <a:gd name="connsiteY6" fmla="*/ 2830020 h 4463651"/>
              <a:gd name="connsiteX7" fmla="*/ 0 w 3267299"/>
              <a:gd name="connsiteY7" fmla="*/ 8482 h 44636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267299" h="4463651">
                <a:moveTo>
                  <a:pt x="429" y="0"/>
                </a:moveTo>
                <a:lnTo>
                  <a:pt x="3266870" y="0"/>
                </a:lnTo>
                <a:lnTo>
                  <a:pt x="3267299" y="8501"/>
                </a:lnTo>
                <a:lnTo>
                  <a:pt x="3267299" y="2830001"/>
                </a:lnTo>
                <a:cubicBezTo>
                  <a:pt x="3267299" y="3732241"/>
                  <a:pt x="2535889" y="4463651"/>
                  <a:pt x="1633649" y="4463651"/>
                </a:cubicBezTo>
                <a:cubicBezTo>
                  <a:pt x="787799" y="4463651"/>
                  <a:pt x="92093" y="3820810"/>
                  <a:pt x="8434" y="2997032"/>
                </a:cubicBezTo>
                <a:lnTo>
                  <a:pt x="0" y="2830020"/>
                </a:lnTo>
                <a:lnTo>
                  <a:pt x="0" y="8482"/>
                </a:lnTo>
                <a:close/>
              </a:path>
            </a:pathLst>
          </a:custGeom>
          <a:solidFill>
            <a:srgbClr val="F5F6F9"/>
          </a:solidFill>
        </p:spPr>
        <p:txBody>
          <a:bodyPr wrap="square">
            <a:noAutofit/>
          </a:bodyPr>
          <a:lstStyle/>
          <a:p>
            <a:endParaRPr lang="en-US"/>
          </a:p>
        </p:txBody>
      </p:sp>
      <p:sp>
        <p:nvSpPr>
          <p:cNvPr id="10" name="Picture Placeholder 5">
            <a:extLst>
              <a:ext uri="{FF2B5EF4-FFF2-40B4-BE49-F238E27FC236}">
                <a16:creationId xmlns:a16="http://schemas.microsoft.com/office/drawing/2014/main" id="{3AAA969E-541E-4362-A952-8DCC98596A30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711200" y="1602317"/>
            <a:ext cx="508405" cy="414528"/>
          </a:xfrm>
          <a:prstGeom prst="rect">
            <a:avLst/>
          </a:prstGeom>
          <a:blipFill>
            <a:blip r:embed="rId3"/>
            <a:stretch>
              <a:fillRect/>
            </a:stretch>
          </a:blipFill>
        </p:spPr>
        <p:txBody>
          <a:bodyPr/>
          <a:lstStyle>
            <a:lvl1pPr>
              <a:defRPr>
                <a:noFill/>
              </a:defRPr>
            </a:lvl1pPr>
          </a:lstStyle>
          <a:p>
            <a:endParaRPr lang="en-US"/>
          </a:p>
        </p:txBody>
      </p:sp>
      <p:sp>
        <p:nvSpPr>
          <p:cNvPr id="15" name="Picture Placeholder 7">
            <a:extLst>
              <a:ext uri="{FF2B5EF4-FFF2-40B4-BE49-F238E27FC236}">
                <a16:creationId xmlns:a16="http://schemas.microsoft.com/office/drawing/2014/main" id="{66B402A7-F12D-4EB2-92F5-1E7AF5E4E4CD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10069235" y="4543999"/>
            <a:ext cx="1185333" cy="1185333"/>
          </a:xfrm>
          <a:prstGeom prst="rect">
            <a:avLst/>
          </a:prstGeom>
          <a:blipFill>
            <a:blip r:embed="rId4"/>
            <a:stretch>
              <a:fillRect/>
            </a:stretch>
          </a:blipFill>
        </p:spPr>
        <p:txBody>
          <a:bodyPr/>
          <a:lstStyle>
            <a:lvl1pPr>
              <a:defRPr>
                <a:noFill/>
              </a:defRPr>
            </a:lvl1pPr>
          </a:lstStyle>
          <a:p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E260AB85-3D05-4181-91C9-23B40E5C8EE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332840" y="1613116"/>
            <a:ext cx="4641850" cy="2958883"/>
          </a:xfrm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US"/>
              <a:t>Insert quote here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C4992B7A-C23B-4833-8772-F6C0C4E7CC2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332840" y="4770438"/>
            <a:ext cx="4641850" cy="366227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  <a:lvl5pPr>
              <a:defRPr/>
            </a:lvl5pPr>
          </a:lstStyle>
          <a:p>
            <a:pPr lvl="0"/>
            <a:r>
              <a:rPr lang="en-US"/>
              <a:t>Insert Source</a:t>
            </a:r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E0E889EA-2BA1-47C6-967E-4A254E16FD2C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332840" y="5219699"/>
            <a:ext cx="4641850" cy="366227"/>
          </a:xfrm>
        </p:spPr>
        <p:txBody>
          <a:bodyPr/>
          <a:lstStyle>
            <a:lvl1pPr>
              <a:defRPr sz="1200">
                <a:solidFill>
                  <a:schemeClr val="bg2"/>
                </a:solidFill>
              </a:defRPr>
            </a:lvl1pPr>
            <a:lvl5pPr>
              <a:defRPr/>
            </a:lvl5pPr>
          </a:lstStyle>
          <a:p>
            <a:pPr lvl="0"/>
            <a:r>
              <a:rPr lang="en-US"/>
              <a:t>Insert additional information</a:t>
            </a:r>
          </a:p>
        </p:txBody>
      </p:sp>
    </p:spTree>
    <p:extLst>
      <p:ext uri="{BB962C8B-B14F-4D97-AF65-F5344CB8AC3E}">
        <p14:creationId xmlns:p14="http://schemas.microsoft.com/office/powerpoint/2010/main" val="45689535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 Centred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 Placeholder 14">
            <a:extLst>
              <a:ext uri="{FF2B5EF4-FFF2-40B4-BE49-F238E27FC236}">
                <a16:creationId xmlns:a16="http://schemas.microsoft.com/office/drawing/2014/main" id="{ADB48F9A-75B0-5F46-94A1-49CE344195E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317613" y="2209512"/>
            <a:ext cx="2355841" cy="364891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="0" i="0">
                <a:solidFill>
                  <a:schemeClr val="accent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defRPr>
            </a:lvl1pPr>
            <a:lvl2pPr>
              <a:defRPr sz="1600" b="0" i="0">
                <a:latin typeface="CiscoSansTT ExtraLight" panose="020B0303020201020303" pitchFamily="34" charset="0"/>
                <a:cs typeface="CiscoSansTT ExtraLight" panose="020B0303020201020303" pitchFamily="34" charset="0"/>
              </a:defRPr>
            </a:lvl2pPr>
            <a:lvl3pPr>
              <a:defRPr sz="1600" b="0" i="0">
                <a:latin typeface="CiscoSansTT ExtraLight" panose="020B0303020201020303" pitchFamily="34" charset="0"/>
                <a:cs typeface="CiscoSansTT ExtraLight" panose="020B0303020201020303" pitchFamily="34" charset="0"/>
              </a:defRPr>
            </a:lvl3pPr>
            <a:lvl4pPr>
              <a:defRPr sz="1600" b="0" i="0">
                <a:latin typeface="CiscoSansTT ExtraLight" panose="020B0303020201020303" pitchFamily="34" charset="0"/>
                <a:cs typeface="CiscoSansTT ExtraLight" panose="020B0303020201020303" pitchFamily="34" charset="0"/>
              </a:defRPr>
            </a:lvl4pPr>
            <a:lvl5pPr>
              <a:defRPr sz="1600" b="0" i="0">
                <a:latin typeface="CiscoSansTT ExtraLight" panose="020B0303020201020303" pitchFamily="34" charset="0"/>
                <a:cs typeface="CiscoSansTT ExtraLight" panose="020B0303020201020303" pitchFamily="34" charset="0"/>
              </a:defRPr>
            </a:lvl5pPr>
          </a:lstStyle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lang="en-US" sz="1600" u="none" strike="noStrike" cap="none">
              <a:solidFill>
                <a:schemeClr val="accent1"/>
              </a:solidFill>
              <a:latin typeface="CiscoSansTT ExtraLight" panose="020B0303020201020303" pitchFamily="34" charset="0"/>
              <a:ea typeface="Helvetica Neue Light"/>
              <a:cs typeface="CiscoSansTT ExtraLight" panose="020B0303020201020303" pitchFamily="34" charset="0"/>
              <a:sym typeface="Helvetica Neue Light"/>
            </a:endParaRPr>
          </a:p>
        </p:txBody>
      </p:sp>
      <p:sp>
        <p:nvSpPr>
          <p:cNvPr id="19" name="Text Placeholder 12">
            <a:extLst>
              <a:ext uri="{FF2B5EF4-FFF2-40B4-BE49-F238E27FC236}">
                <a16:creationId xmlns:a16="http://schemas.microsoft.com/office/drawing/2014/main" id="{DAF50268-6A31-634C-AAB5-22721EE551F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317611" y="2632496"/>
            <a:ext cx="2356032" cy="3488904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33" b="0" i="0">
                <a:solidFill>
                  <a:schemeClr val="tx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defRPr>
            </a:lvl1pPr>
            <a:lvl2pPr>
              <a:defRPr sz="1333" b="0" i="0">
                <a:latin typeface="CiscoSansTT ExtraLight" panose="020B0303020201020303" pitchFamily="34" charset="0"/>
                <a:cs typeface="CiscoSansTT ExtraLight" panose="020B0303020201020303" pitchFamily="34" charset="0"/>
              </a:defRPr>
            </a:lvl2pPr>
            <a:lvl3pPr>
              <a:defRPr sz="1333" b="0" i="0">
                <a:latin typeface="CiscoSansTT ExtraLight" panose="020B0303020201020303" pitchFamily="34" charset="0"/>
                <a:cs typeface="CiscoSansTT ExtraLight" panose="020B0303020201020303" pitchFamily="34" charset="0"/>
              </a:defRPr>
            </a:lvl3pPr>
            <a:lvl4pPr>
              <a:defRPr sz="1333" b="0" i="0">
                <a:latin typeface="CiscoSansTT ExtraLight" panose="020B0303020201020303" pitchFamily="34" charset="0"/>
                <a:cs typeface="CiscoSansTT ExtraLight" panose="020B0303020201020303" pitchFamily="34" charset="0"/>
              </a:defRPr>
            </a:lvl4pPr>
            <a:lvl5pPr>
              <a:defRPr sz="1333" b="0" i="0">
                <a:latin typeface="CiscoSansTT ExtraLight" panose="020B0303020201020303" pitchFamily="34" charset="0"/>
                <a:cs typeface="CiscoSansTT ExtraLight" panose="020B0303020201020303" pitchFamily="34" charset="0"/>
              </a:defRPr>
            </a:lvl5pPr>
          </a:lstStyle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lang="en-US" sz="1333" u="none" strike="noStrike" cap="none">
              <a:solidFill>
                <a:schemeClr val="tx1"/>
              </a:solidFill>
              <a:latin typeface="CiscoSansTT ExtraLight" panose="020B0303020201020303" pitchFamily="34" charset="0"/>
              <a:ea typeface="Helvetica Neue Light"/>
              <a:cs typeface="CiscoSansTT ExtraLight" panose="020B0303020201020303" pitchFamily="34" charset="0"/>
              <a:sym typeface="Helvetica Neue Light"/>
            </a:endParaRPr>
          </a:p>
        </p:txBody>
      </p:sp>
      <p:sp>
        <p:nvSpPr>
          <p:cNvPr id="16" name="Text Placeholder 14">
            <a:extLst>
              <a:ext uri="{FF2B5EF4-FFF2-40B4-BE49-F238E27FC236}">
                <a16:creationId xmlns:a16="http://schemas.microsoft.com/office/drawing/2014/main" id="{D2BB6F7A-7AC7-4844-8EC1-028D16E4865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518732" y="2207684"/>
            <a:ext cx="2355841" cy="364891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="0" i="0">
                <a:solidFill>
                  <a:schemeClr val="accent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defRPr>
            </a:lvl1pPr>
            <a:lvl2pPr>
              <a:defRPr sz="1600" b="0" i="0">
                <a:latin typeface="CiscoSansTT ExtraLight" panose="020B0303020201020303" pitchFamily="34" charset="0"/>
                <a:cs typeface="CiscoSansTT ExtraLight" panose="020B0303020201020303" pitchFamily="34" charset="0"/>
              </a:defRPr>
            </a:lvl2pPr>
            <a:lvl3pPr>
              <a:defRPr sz="1600" b="0" i="0">
                <a:latin typeface="CiscoSansTT ExtraLight" panose="020B0303020201020303" pitchFamily="34" charset="0"/>
                <a:cs typeface="CiscoSansTT ExtraLight" panose="020B0303020201020303" pitchFamily="34" charset="0"/>
              </a:defRPr>
            </a:lvl3pPr>
            <a:lvl4pPr>
              <a:defRPr sz="1600" b="0" i="0">
                <a:latin typeface="CiscoSansTT ExtraLight" panose="020B0303020201020303" pitchFamily="34" charset="0"/>
                <a:cs typeface="CiscoSansTT ExtraLight" panose="020B0303020201020303" pitchFamily="34" charset="0"/>
              </a:defRPr>
            </a:lvl4pPr>
            <a:lvl5pPr>
              <a:defRPr sz="1600" b="0" i="0">
                <a:latin typeface="CiscoSansTT ExtraLight" panose="020B0303020201020303" pitchFamily="34" charset="0"/>
                <a:cs typeface="CiscoSansTT ExtraLight" panose="020B0303020201020303" pitchFamily="34" charset="0"/>
              </a:defRPr>
            </a:lvl5pPr>
          </a:lstStyle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lang="en-US" sz="1600" u="none" strike="noStrike" cap="none">
              <a:solidFill>
                <a:schemeClr val="accent1"/>
              </a:solidFill>
              <a:latin typeface="CiscoSansTT ExtraLight" panose="020B0303020201020303" pitchFamily="34" charset="0"/>
              <a:ea typeface="Helvetica Neue Light"/>
              <a:cs typeface="CiscoSansTT ExtraLight" panose="020B0303020201020303" pitchFamily="34" charset="0"/>
              <a:sym typeface="Helvetica Neue Light"/>
            </a:endParaRPr>
          </a:p>
        </p:txBody>
      </p:sp>
      <p:sp>
        <p:nvSpPr>
          <p:cNvPr id="17" name="Text Placeholder 12">
            <a:extLst>
              <a:ext uri="{FF2B5EF4-FFF2-40B4-BE49-F238E27FC236}">
                <a16:creationId xmlns:a16="http://schemas.microsoft.com/office/drawing/2014/main" id="{5C8DFF40-598B-3646-93AC-9C973014928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518729" y="2630668"/>
            <a:ext cx="2356032" cy="3488904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33" b="0" i="0">
                <a:solidFill>
                  <a:schemeClr val="tx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defRPr>
            </a:lvl1pPr>
            <a:lvl2pPr>
              <a:defRPr sz="1333" b="0" i="0">
                <a:latin typeface="CiscoSansTT ExtraLight" panose="020B0303020201020303" pitchFamily="34" charset="0"/>
                <a:cs typeface="CiscoSansTT ExtraLight" panose="020B0303020201020303" pitchFamily="34" charset="0"/>
              </a:defRPr>
            </a:lvl2pPr>
            <a:lvl3pPr>
              <a:defRPr sz="1333" b="0" i="0">
                <a:latin typeface="CiscoSansTT ExtraLight" panose="020B0303020201020303" pitchFamily="34" charset="0"/>
                <a:cs typeface="CiscoSansTT ExtraLight" panose="020B0303020201020303" pitchFamily="34" charset="0"/>
              </a:defRPr>
            </a:lvl3pPr>
            <a:lvl4pPr>
              <a:defRPr sz="1333" b="0" i="0">
                <a:latin typeface="CiscoSansTT ExtraLight" panose="020B0303020201020303" pitchFamily="34" charset="0"/>
                <a:cs typeface="CiscoSansTT ExtraLight" panose="020B0303020201020303" pitchFamily="34" charset="0"/>
              </a:defRPr>
            </a:lvl4pPr>
            <a:lvl5pPr>
              <a:defRPr sz="1333" b="0" i="0">
                <a:latin typeface="CiscoSansTT ExtraLight" panose="020B0303020201020303" pitchFamily="34" charset="0"/>
                <a:cs typeface="CiscoSansTT ExtraLight" panose="020B0303020201020303" pitchFamily="34" charset="0"/>
              </a:defRPr>
            </a:lvl5pPr>
          </a:lstStyle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lang="en-US" sz="1333" u="none" strike="noStrike" cap="none">
              <a:solidFill>
                <a:schemeClr val="tx1"/>
              </a:solidFill>
              <a:latin typeface="CiscoSansTT ExtraLight" panose="020B0303020201020303" pitchFamily="34" charset="0"/>
              <a:ea typeface="Helvetica Neue Light"/>
              <a:cs typeface="CiscoSansTT ExtraLight" panose="020B0303020201020303" pitchFamily="34" charset="0"/>
              <a:sym typeface="Helvetica Neue Light"/>
            </a:endParaRP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CC157314-987F-9744-96E8-D4DE674A269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19667" y="2207684"/>
            <a:ext cx="2356024" cy="364891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="0" i="0">
                <a:solidFill>
                  <a:schemeClr val="accent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defRPr>
            </a:lvl1pPr>
            <a:lvl2pPr>
              <a:defRPr sz="1600" b="0" i="0">
                <a:latin typeface="CiscoSansTT ExtraLight" panose="020B0303020201020303" pitchFamily="34" charset="0"/>
                <a:cs typeface="CiscoSansTT ExtraLight" panose="020B0303020201020303" pitchFamily="34" charset="0"/>
              </a:defRPr>
            </a:lvl2pPr>
            <a:lvl3pPr>
              <a:defRPr sz="1600" b="0" i="0">
                <a:latin typeface="CiscoSansTT ExtraLight" panose="020B0303020201020303" pitchFamily="34" charset="0"/>
                <a:cs typeface="CiscoSansTT ExtraLight" panose="020B0303020201020303" pitchFamily="34" charset="0"/>
              </a:defRPr>
            </a:lvl3pPr>
            <a:lvl4pPr>
              <a:defRPr sz="1600" b="0" i="0">
                <a:latin typeface="CiscoSansTT ExtraLight" panose="020B0303020201020303" pitchFamily="34" charset="0"/>
                <a:cs typeface="CiscoSansTT ExtraLight" panose="020B0303020201020303" pitchFamily="34" charset="0"/>
              </a:defRPr>
            </a:lvl4pPr>
            <a:lvl5pPr>
              <a:defRPr sz="1600" b="0" i="0">
                <a:latin typeface="CiscoSansTT ExtraLight" panose="020B0303020201020303" pitchFamily="34" charset="0"/>
                <a:cs typeface="CiscoSansTT ExtraLight" panose="020B0303020201020303" pitchFamily="34" charset="0"/>
              </a:defRPr>
            </a:lvl5pPr>
          </a:lstStyle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lang="en-US" sz="1600" u="none" strike="noStrike" cap="none">
              <a:solidFill>
                <a:schemeClr val="accent1"/>
              </a:solidFill>
              <a:latin typeface="CiscoSansTT ExtraLight" panose="020B0303020201020303" pitchFamily="34" charset="0"/>
              <a:ea typeface="Helvetica Neue Light"/>
              <a:cs typeface="CiscoSansTT ExtraLight" panose="020B0303020201020303" pitchFamily="34" charset="0"/>
              <a:sym typeface="Helvetica Neue Light"/>
            </a:endParaRP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B0033604-EE51-8440-A7C7-387C194270F7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19666" y="2630668"/>
            <a:ext cx="2356215" cy="3488904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33" b="0" i="0">
                <a:solidFill>
                  <a:schemeClr val="tx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defRPr>
            </a:lvl1pPr>
            <a:lvl2pPr>
              <a:defRPr sz="1333" b="0" i="0">
                <a:latin typeface="CiscoSansTT ExtraLight" panose="020B0303020201020303" pitchFamily="34" charset="0"/>
                <a:cs typeface="CiscoSansTT ExtraLight" panose="020B0303020201020303" pitchFamily="34" charset="0"/>
              </a:defRPr>
            </a:lvl2pPr>
            <a:lvl3pPr>
              <a:defRPr sz="1333" b="0" i="0">
                <a:latin typeface="CiscoSansTT ExtraLight" panose="020B0303020201020303" pitchFamily="34" charset="0"/>
                <a:cs typeface="CiscoSansTT ExtraLight" panose="020B0303020201020303" pitchFamily="34" charset="0"/>
              </a:defRPr>
            </a:lvl3pPr>
            <a:lvl4pPr>
              <a:defRPr sz="1333" b="0" i="0">
                <a:latin typeface="CiscoSansTT ExtraLight" panose="020B0303020201020303" pitchFamily="34" charset="0"/>
                <a:cs typeface="CiscoSansTT ExtraLight" panose="020B0303020201020303" pitchFamily="34" charset="0"/>
              </a:defRPr>
            </a:lvl4pPr>
            <a:lvl5pPr>
              <a:defRPr sz="1333" b="0" i="0">
                <a:latin typeface="CiscoSansTT ExtraLight" panose="020B0303020201020303" pitchFamily="34" charset="0"/>
                <a:cs typeface="CiscoSansTT ExtraLight" panose="020B0303020201020303" pitchFamily="34" charset="0"/>
              </a:defRPr>
            </a:lvl5pPr>
          </a:lstStyle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lang="en-US" sz="1333" u="none" strike="noStrike" cap="none">
              <a:solidFill>
                <a:schemeClr val="tx1"/>
              </a:solidFill>
              <a:latin typeface="CiscoSansTT ExtraLight" panose="020B0303020201020303" pitchFamily="34" charset="0"/>
              <a:ea typeface="Helvetica Neue Light"/>
              <a:cs typeface="CiscoSansTT ExtraLight" panose="020B0303020201020303" pitchFamily="34" charset="0"/>
              <a:sym typeface="Helvetica Neue Light"/>
            </a:endParaRPr>
          </a:p>
        </p:txBody>
      </p:sp>
      <p:sp>
        <p:nvSpPr>
          <p:cNvPr id="29" name="Text Placeholder 14">
            <a:extLst>
              <a:ext uri="{FF2B5EF4-FFF2-40B4-BE49-F238E27FC236}">
                <a16:creationId xmlns:a16="http://schemas.microsoft.com/office/drawing/2014/main" id="{09B690DE-A41E-1048-A2C8-BB275AEC32C0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9116493" y="2209512"/>
            <a:ext cx="2355841" cy="364891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="0" i="0">
                <a:solidFill>
                  <a:schemeClr val="accent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defRPr>
            </a:lvl1pPr>
            <a:lvl2pPr>
              <a:defRPr sz="1600" b="0" i="0">
                <a:latin typeface="CiscoSansTT ExtraLight" panose="020B0303020201020303" pitchFamily="34" charset="0"/>
                <a:cs typeface="CiscoSansTT ExtraLight" panose="020B0303020201020303" pitchFamily="34" charset="0"/>
              </a:defRPr>
            </a:lvl2pPr>
            <a:lvl3pPr>
              <a:defRPr sz="1600" b="0" i="0">
                <a:latin typeface="CiscoSansTT ExtraLight" panose="020B0303020201020303" pitchFamily="34" charset="0"/>
                <a:cs typeface="CiscoSansTT ExtraLight" panose="020B0303020201020303" pitchFamily="34" charset="0"/>
              </a:defRPr>
            </a:lvl3pPr>
            <a:lvl4pPr>
              <a:defRPr sz="1600" b="0" i="0">
                <a:latin typeface="CiscoSansTT ExtraLight" panose="020B0303020201020303" pitchFamily="34" charset="0"/>
                <a:cs typeface="CiscoSansTT ExtraLight" panose="020B0303020201020303" pitchFamily="34" charset="0"/>
              </a:defRPr>
            </a:lvl4pPr>
            <a:lvl5pPr>
              <a:defRPr sz="1600" b="0" i="0">
                <a:latin typeface="CiscoSansTT ExtraLight" panose="020B0303020201020303" pitchFamily="34" charset="0"/>
                <a:cs typeface="CiscoSansTT ExtraLight" panose="020B0303020201020303" pitchFamily="34" charset="0"/>
              </a:defRPr>
            </a:lvl5pPr>
          </a:lstStyle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lang="en-US" sz="1600" u="none" strike="noStrike" cap="none">
              <a:solidFill>
                <a:schemeClr val="accent1"/>
              </a:solidFill>
              <a:latin typeface="CiscoSansTT ExtraLight" panose="020B0303020201020303" pitchFamily="34" charset="0"/>
              <a:ea typeface="Helvetica Neue Light"/>
              <a:cs typeface="CiscoSansTT ExtraLight" panose="020B0303020201020303" pitchFamily="34" charset="0"/>
              <a:sym typeface="Helvetica Neue Light"/>
            </a:endParaRPr>
          </a:p>
        </p:txBody>
      </p:sp>
      <p:sp>
        <p:nvSpPr>
          <p:cNvPr id="30" name="Text Placeholder 12">
            <a:extLst>
              <a:ext uri="{FF2B5EF4-FFF2-40B4-BE49-F238E27FC236}">
                <a16:creationId xmlns:a16="http://schemas.microsoft.com/office/drawing/2014/main" id="{0C144F5B-B5DB-584B-BEA2-4BFA246434F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9116493" y="2632496"/>
            <a:ext cx="2356032" cy="3488904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33" b="0" i="0">
                <a:solidFill>
                  <a:schemeClr val="tx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defRPr>
            </a:lvl1pPr>
            <a:lvl2pPr>
              <a:defRPr sz="1333" b="0" i="0">
                <a:latin typeface="CiscoSansTT ExtraLight" panose="020B0303020201020303" pitchFamily="34" charset="0"/>
                <a:cs typeface="CiscoSansTT ExtraLight" panose="020B0303020201020303" pitchFamily="34" charset="0"/>
              </a:defRPr>
            </a:lvl2pPr>
            <a:lvl3pPr>
              <a:defRPr sz="1333" b="0" i="0">
                <a:latin typeface="CiscoSansTT ExtraLight" panose="020B0303020201020303" pitchFamily="34" charset="0"/>
                <a:cs typeface="CiscoSansTT ExtraLight" panose="020B0303020201020303" pitchFamily="34" charset="0"/>
              </a:defRPr>
            </a:lvl3pPr>
            <a:lvl4pPr>
              <a:defRPr sz="1333" b="0" i="0">
                <a:latin typeface="CiscoSansTT ExtraLight" panose="020B0303020201020303" pitchFamily="34" charset="0"/>
                <a:cs typeface="CiscoSansTT ExtraLight" panose="020B0303020201020303" pitchFamily="34" charset="0"/>
              </a:defRPr>
            </a:lvl4pPr>
            <a:lvl5pPr>
              <a:defRPr sz="1333" b="0" i="0">
                <a:latin typeface="CiscoSansTT ExtraLight" panose="020B0303020201020303" pitchFamily="34" charset="0"/>
                <a:cs typeface="CiscoSansTT ExtraLight" panose="020B0303020201020303" pitchFamily="34" charset="0"/>
              </a:defRPr>
            </a:lvl5pPr>
          </a:lstStyle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lang="en-US" sz="1333" u="none" strike="noStrike" cap="none">
              <a:solidFill>
                <a:schemeClr val="tx1"/>
              </a:solidFill>
              <a:latin typeface="CiscoSansTT ExtraLight" panose="020B0303020201020303" pitchFamily="34" charset="0"/>
              <a:ea typeface="Helvetica Neue Light"/>
              <a:cs typeface="CiscoSansTT ExtraLight" panose="020B0303020201020303" pitchFamily="34" charset="0"/>
              <a:sym typeface="Helvetica Neue Light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75365CB-F72B-40B5-9B75-1F540092C24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243005520"/>
      </p:ext>
    </p:extLst>
  </p:cSld>
  <p:clrMapOvr>
    <a:masterClrMapping/>
  </p:clrMapOvr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 Centred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75365CB-F72B-40B5-9B75-1F540092C24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27561759-DDC3-41CC-AD23-F7F9987A388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719138" y="2070100"/>
            <a:ext cx="2407858" cy="360000"/>
          </a:xfrm>
        </p:spPr>
        <p:txBody>
          <a:bodyPr/>
          <a:lstStyle>
            <a:lvl1pPr>
              <a:defRPr sz="1600">
                <a:solidFill>
                  <a:schemeClr val="accent1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Insert short heading</a:t>
            </a:r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40873BA0-D07F-48FC-BFDC-D0EFFD9B8BE9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723114" y="2493082"/>
            <a:ext cx="2407435" cy="3175881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D886E29-59DD-4CD6-A692-67361AAFABF1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5B19CAED-121F-4390-AA15-F16FCBF32B65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411538" y="2070100"/>
            <a:ext cx="2407858" cy="360000"/>
          </a:xfrm>
        </p:spPr>
        <p:txBody>
          <a:bodyPr/>
          <a:lstStyle>
            <a:lvl1pPr>
              <a:defRPr sz="1600">
                <a:solidFill>
                  <a:schemeClr val="accent1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Insert short heading</a:t>
            </a:r>
          </a:p>
        </p:txBody>
      </p:sp>
      <p:sp>
        <p:nvSpPr>
          <p:cNvPr id="20" name="Text Placeholder 6">
            <a:extLst>
              <a:ext uri="{FF2B5EF4-FFF2-40B4-BE49-F238E27FC236}">
                <a16:creationId xmlns:a16="http://schemas.microsoft.com/office/drawing/2014/main" id="{D06A3DA3-2AD3-4755-9C01-284E8E2680C8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3415514" y="2493082"/>
            <a:ext cx="2407435" cy="3175881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1" name="Text Placeholder 4">
            <a:extLst>
              <a:ext uri="{FF2B5EF4-FFF2-40B4-BE49-F238E27FC236}">
                <a16:creationId xmlns:a16="http://schemas.microsoft.com/office/drawing/2014/main" id="{9B58E007-1B1A-4D92-8233-5C9B66AF357F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097588" y="2070100"/>
            <a:ext cx="2407858" cy="360000"/>
          </a:xfrm>
        </p:spPr>
        <p:txBody>
          <a:bodyPr/>
          <a:lstStyle>
            <a:lvl1pPr>
              <a:defRPr sz="1600">
                <a:solidFill>
                  <a:schemeClr val="accent1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Insert short heading</a:t>
            </a:r>
          </a:p>
        </p:txBody>
      </p:sp>
      <p:sp>
        <p:nvSpPr>
          <p:cNvPr id="22" name="Text Placeholder 6">
            <a:extLst>
              <a:ext uri="{FF2B5EF4-FFF2-40B4-BE49-F238E27FC236}">
                <a16:creationId xmlns:a16="http://schemas.microsoft.com/office/drawing/2014/main" id="{35434B15-7A76-465B-A38A-9225667A4F49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6101564" y="2493082"/>
            <a:ext cx="2407435" cy="3175881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3" name="Text Placeholder 4">
            <a:extLst>
              <a:ext uri="{FF2B5EF4-FFF2-40B4-BE49-F238E27FC236}">
                <a16:creationId xmlns:a16="http://schemas.microsoft.com/office/drawing/2014/main" id="{4879DFFD-4D03-4930-84D1-53995BA1AD88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789988" y="2070100"/>
            <a:ext cx="2407858" cy="360000"/>
          </a:xfrm>
        </p:spPr>
        <p:txBody>
          <a:bodyPr/>
          <a:lstStyle>
            <a:lvl1pPr>
              <a:defRPr sz="1600">
                <a:solidFill>
                  <a:schemeClr val="accent1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Insert short heading</a:t>
            </a:r>
          </a:p>
        </p:txBody>
      </p:sp>
      <p:sp>
        <p:nvSpPr>
          <p:cNvPr id="24" name="Text Placeholder 6">
            <a:extLst>
              <a:ext uri="{FF2B5EF4-FFF2-40B4-BE49-F238E27FC236}">
                <a16:creationId xmlns:a16="http://schemas.microsoft.com/office/drawing/2014/main" id="{EAD87999-1ED1-4D34-B607-F39EC3945FD8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8793964" y="2493082"/>
            <a:ext cx="2407435" cy="3175881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263520663"/>
      </p:ext>
    </p:extLst>
  </p:cSld>
  <p:clrMapOvr>
    <a:masterClrMapping/>
  </p:clrMapOvr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Picture Placeholder 19">
            <a:extLst>
              <a:ext uri="{FF2B5EF4-FFF2-40B4-BE49-F238E27FC236}">
                <a16:creationId xmlns:a16="http://schemas.microsoft.com/office/drawing/2014/main" id="{86194C40-6E11-4DA3-B3BE-A6141D676B1F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120995" y="765998"/>
            <a:ext cx="1184400" cy="1184400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>
                <a:noFill/>
              </a:defRPr>
            </a:lvl1pPr>
          </a:lstStyle>
          <a:p>
            <a:endParaRPr lang="en-US"/>
          </a:p>
        </p:txBody>
      </p:sp>
      <p:sp>
        <p:nvSpPr>
          <p:cNvPr id="9" name="Picture Placeholder 11">
            <a:extLst>
              <a:ext uri="{FF2B5EF4-FFF2-40B4-BE49-F238E27FC236}">
                <a16:creationId xmlns:a16="http://schemas.microsoft.com/office/drawing/2014/main" id="{F7693863-04EF-4469-A36B-290B4E4326A5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6898170" y="1"/>
            <a:ext cx="4356399" cy="5951535"/>
          </a:xfrm>
          <a:custGeom>
            <a:avLst/>
            <a:gdLst>
              <a:gd name="connsiteX0" fmla="*/ 429 w 3267299"/>
              <a:gd name="connsiteY0" fmla="*/ 0 h 4463651"/>
              <a:gd name="connsiteX1" fmla="*/ 3266870 w 3267299"/>
              <a:gd name="connsiteY1" fmla="*/ 0 h 4463651"/>
              <a:gd name="connsiteX2" fmla="*/ 3267299 w 3267299"/>
              <a:gd name="connsiteY2" fmla="*/ 8501 h 4463651"/>
              <a:gd name="connsiteX3" fmla="*/ 3267299 w 3267299"/>
              <a:gd name="connsiteY3" fmla="*/ 2830001 h 4463651"/>
              <a:gd name="connsiteX4" fmla="*/ 1633649 w 3267299"/>
              <a:gd name="connsiteY4" fmla="*/ 4463651 h 4463651"/>
              <a:gd name="connsiteX5" fmla="*/ 8434 w 3267299"/>
              <a:gd name="connsiteY5" fmla="*/ 2997032 h 4463651"/>
              <a:gd name="connsiteX6" fmla="*/ 0 w 3267299"/>
              <a:gd name="connsiteY6" fmla="*/ 2830020 h 4463651"/>
              <a:gd name="connsiteX7" fmla="*/ 0 w 3267299"/>
              <a:gd name="connsiteY7" fmla="*/ 8482 h 44636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267299" h="4463651">
                <a:moveTo>
                  <a:pt x="429" y="0"/>
                </a:moveTo>
                <a:lnTo>
                  <a:pt x="3266870" y="0"/>
                </a:lnTo>
                <a:lnTo>
                  <a:pt x="3267299" y="8501"/>
                </a:lnTo>
                <a:lnTo>
                  <a:pt x="3267299" y="2830001"/>
                </a:lnTo>
                <a:cubicBezTo>
                  <a:pt x="3267299" y="3732241"/>
                  <a:pt x="2535889" y="4463651"/>
                  <a:pt x="1633649" y="4463651"/>
                </a:cubicBezTo>
                <a:cubicBezTo>
                  <a:pt x="787799" y="4463651"/>
                  <a:pt x="92093" y="3820810"/>
                  <a:pt x="8434" y="2997032"/>
                </a:cubicBezTo>
                <a:lnTo>
                  <a:pt x="0" y="2830020"/>
                </a:lnTo>
                <a:lnTo>
                  <a:pt x="0" y="8482"/>
                </a:lnTo>
                <a:close/>
              </a:path>
            </a:pathLst>
          </a:custGeom>
          <a:solidFill>
            <a:srgbClr val="F5F6F9"/>
          </a:solidFill>
        </p:spPr>
        <p:txBody>
          <a:bodyPr wrap="square">
            <a:noAutofit/>
          </a:bodyPr>
          <a:lstStyle/>
          <a:p>
            <a:endParaRPr lang="en-US"/>
          </a:p>
        </p:txBody>
      </p:sp>
      <p:sp>
        <p:nvSpPr>
          <p:cNvPr id="21" name="Picture Placeholder 19">
            <a:extLst>
              <a:ext uri="{FF2B5EF4-FFF2-40B4-BE49-F238E27FC236}">
                <a16:creationId xmlns:a16="http://schemas.microsoft.com/office/drawing/2014/main" id="{C43F95A5-2533-4A68-8ED4-1D3CF60825C6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0069235" y="4543999"/>
            <a:ext cx="1184400" cy="1185333"/>
          </a:xfrm>
          <a:prstGeom prst="rect">
            <a:avLst/>
          </a:prstGeom>
          <a:blipFill>
            <a:blip r:embed="rId3"/>
            <a:stretch>
              <a:fillRect/>
            </a:stretch>
          </a:blipFill>
        </p:spPr>
        <p:txBody>
          <a:bodyPr/>
          <a:lstStyle>
            <a:lvl1pPr>
              <a:defRPr>
                <a:noFill/>
              </a:defRPr>
            </a:lvl1pPr>
          </a:lstStyle>
          <a:p>
            <a:endParaRPr lang="en-US"/>
          </a:p>
        </p:txBody>
      </p:sp>
      <p:sp>
        <p:nvSpPr>
          <p:cNvPr id="13" name="Picture Placeholder 5">
            <a:extLst>
              <a:ext uri="{FF2B5EF4-FFF2-40B4-BE49-F238E27FC236}">
                <a16:creationId xmlns:a16="http://schemas.microsoft.com/office/drawing/2014/main" id="{D487B088-C7EB-400A-8256-45F802B3487A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711200" y="1602317"/>
            <a:ext cx="508405" cy="414528"/>
          </a:xfrm>
          <a:prstGeom prst="rect">
            <a:avLst/>
          </a:prstGeom>
          <a:blipFill>
            <a:blip r:embed="rId4"/>
            <a:stretch>
              <a:fillRect/>
            </a:stretch>
          </a:blipFill>
        </p:spPr>
        <p:txBody>
          <a:bodyPr/>
          <a:lstStyle>
            <a:lvl1pPr>
              <a:defRPr>
                <a:noFill/>
              </a:defRPr>
            </a:lvl1pPr>
          </a:lstStyle>
          <a:p>
            <a:endParaRPr lang="en-US"/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896670A8-7100-41F8-9184-7138AACF2E2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332840" y="1613116"/>
            <a:ext cx="4641850" cy="2958883"/>
          </a:xfrm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US"/>
              <a:t>Insert quote here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0E4957E7-DFB6-4FFF-A638-21D68F72EBD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332840" y="4770438"/>
            <a:ext cx="4641850" cy="366227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  <a:lvl5pPr>
              <a:defRPr/>
            </a:lvl5pPr>
          </a:lstStyle>
          <a:p>
            <a:pPr lvl="0"/>
            <a:r>
              <a:rPr lang="en-US"/>
              <a:t>Insert Source</a:t>
            </a:r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A0CC1390-2D91-4A0D-8002-1AB3ECC857BA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332840" y="5219699"/>
            <a:ext cx="4641850" cy="366227"/>
          </a:xfrm>
        </p:spPr>
        <p:txBody>
          <a:bodyPr/>
          <a:lstStyle>
            <a:lvl1pPr>
              <a:defRPr sz="1200">
                <a:solidFill>
                  <a:schemeClr val="bg2"/>
                </a:solidFill>
              </a:defRPr>
            </a:lvl1pPr>
            <a:lvl5pPr>
              <a:defRPr/>
            </a:lvl5pPr>
          </a:lstStyle>
          <a:p>
            <a:pPr lvl="0"/>
            <a:r>
              <a:rPr lang="en-US"/>
              <a:t>Insert additional information</a:t>
            </a:r>
          </a:p>
        </p:txBody>
      </p:sp>
    </p:spTree>
    <p:extLst>
      <p:ext uri="{BB962C8B-B14F-4D97-AF65-F5344CB8AC3E}">
        <p14:creationId xmlns:p14="http://schemas.microsoft.com/office/powerpoint/2010/main" val="1534587576"/>
      </p:ext>
    </p:extLst>
  </p:cSld>
  <p:clrMapOvr>
    <a:masterClrMapping/>
  </p:clrMapOvr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E4054473-44C8-4070-9A14-FBB58406A2B4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267282" y="1612900"/>
            <a:ext cx="3217747" cy="819150"/>
          </a:xfrm>
        </p:spPr>
        <p:txBody>
          <a:bodyPr/>
          <a:lstStyle>
            <a:lvl1pPr>
              <a:defRPr sz="2000">
                <a:solidFill>
                  <a:schemeClr val="accent1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Insert short heading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F628C63-1E02-449F-8A5E-FA326608991D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8254585" y="2519363"/>
            <a:ext cx="3217745" cy="316177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Picture Placeholder 9">
            <a:extLst>
              <a:ext uri="{FF2B5EF4-FFF2-40B4-BE49-F238E27FC236}">
                <a16:creationId xmlns:a16="http://schemas.microsoft.com/office/drawing/2014/main" id="{9226CD76-62DA-4A5C-9D4C-5E233D954AD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6813964" y="5157338"/>
            <a:ext cx="1146096" cy="1146097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>
                <a:noFill/>
              </a:defRPr>
            </a:lvl1pPr>
          </a:lstStyle>
          <a:p>
            <a:endParaRPr lang="en-US"/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D770774F-BDA5-44BF-87A9-ACAC27D30E7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937415" y="965200"/>
            <a:ext cx="1146096" cy="1146097"/>
          </a:xfrm>
          <a:prstGeom prst="rect">
            <a:avLst/>
          </a:prstGeom>
          <a:blipFill>
            <a:blip r:embed="rId3"/>
            <a:stretch>
              <a:fillRect/>
            </a:stretch>
          </a:blipFill>
        </p:spPr>
        <p:txBody>
          <a:bodyPr/>
          <a:lstStyle>
            <a:lvl1pPr>
              <a:defRPr>
                <a:noFill/>
              </a:defRPr>
            </a:lvl1pPr>
          </a:lstStyle>
          <a:p>
            <a:endParaRPr lang="en-US"/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2D989DD8-307B-4044-B0AD-5914C955D76D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359000" y="745001"/>
            <a:ext cx="3474000" cy="5403900"/>
          </a:xfrm>
          <a:prstGeom prst="roundRect">
            <a:avLst>
              <a:gd name="adj" fmla="val 50000"/>
            </a:avLst>
          </a:prstGeom>
          <a:solidFill>
            <a:srgbClr val="F5F6F9"/>
          </a:solidFill>
        </p:spPr>
        <p:txBody>
          <a:bodyPr/>
          <a:lstStyle/>
          <a:p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3159506-874E-41B2-AA58-92FF0184A76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666" y="2070101"/>
            <a:ext cx="2895601" cy="251883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17992397"/>
      </p:ext>
    </p:extLst>
  </p:cSld>
  <p:clrMapOvr>
    <a:masterClrMapping/>
  </p:clrMapOvr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Text Placeholder 6">
            <a:extLst>
              <a:ext uri="{FF2B5EF4-FFF2-40B4-BE49-F238E27FC236}">
                <a16:creationId xmlns:a16="http://schemas.microsoft.com/office/drawing/2014/main" id="{7DFABFB1-2D0D-493D-9ACD-0E104EE16057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8234226" y="2336677"/>
            <a:ext cx="3238638" cy="128602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ext Placeholder 4">
            <a:extLst>
              <a:ext uri="{FF2B5EF4-FFF2-40B4-BE49-F238E27FC236}">
                <a16:creationId xmlns:a16="http://schemas.microsoft.com/office/drawing/2014/main" id="{649F3A8B-A23D-41AF-A676-89E541E928A9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237478" y="1888066"/>
            <a:ext cx="3237237" cy="360000"/>
          </a:xfrm>
        </p:spPr>
        <p:txBody>
          <a:bodyPr/>
          <a:lstStyle>
            <a:lvl1pPr>
              <a:defRPr sz="1800">
                <a:solidFill>
                  <a:schemeClr val="accent1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Insert short heading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A8D9963-BF99-4C17-86D4-9D7B037EED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0102" y="1612900"/>
            <a:ext cx="4114800" cy="11557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02B006D3-C5BB-455C-A6FF-E9CBF94C2D3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719138" y="2967038"/>
            <a:ext cx="4114800" cy="360000"/>
          </a:xfrm>
        </p:spPr>
        <p:txBody>
          <a:bodyPr/>
          <a:lstStyle>
            <a:lvl1pPr>
              <a:defRPr sz="1800">
                <a:solidFill>
                  <a:schemeClr val="accent1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Insert short heading</a:t>
            </a:r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766512B3-51A4-4806-AC05-D7402CAC3662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723114" y="3416300"/>
            <a:ext cx="4114077" cy="2252663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587CB38-4B3C-4FD8-9170-7441294FAFE9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9" name="Text Placeholder 34">
            <a:extLst>
              <a:ext uri="{FF2B5EF4-FFF2-40B4-BE49-F238E27FC236}">
                <a16:creationId xmlns:a16="http://schemas.microsoft.com/office/drawing/2014/main" id="{7754A821-3029-4BDD-AAD3-908F2D8A8664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510575" y="2124021"/>
            <a:ext cx="1131616" cy="711200"/>
          </a:xfrm>
          <a:prstGeom prst="rect">
            <a:avLst/>
          </a:prstGeom>
        </p:spPr>
        <p:txBody>
          <a:bodyPr/>
          <a:lstStyle>
            <a:lvl1pPr>
              <a:defRPr sz="3200" b="0" i="0">
                <a:solidFill>
                  <a:schemeClr val="accent1"/>
                </a:solidFill>
                <a:latin typeface="CiscoSansTT Light" panose="020B0503020201020303" pitchFamily="34" charset="0"/>
                <a:cs typeface="CiscoSansTT Light" panose="020B0503020201020303" pitchFamily="34" charset="0"/>
              </a:defRPr>
            </a:lvl1pPr>
          </a:lstStyle>
          <a:p>
            <a:pPr lvl="0"/>
            <a:r>
              <a:rPr lang="en-GB"/>
              <a:t>XX%</a:t>
            </a:r>
            <a:endParaRPr lang="en-US"/>
          </a:p>
        </p:txBody>
      </p:sp>
      <p:sp>
        <p:nvSpPr>
          <p:cNvPr id="28" name="Text Placeholder 4">
            <a:extLst>
              <a:ext uri="{FF2B5EF4-FFF2-40B4-BE49-F238E27FC236}">
                <a16:creationId xmlns:a16="http://schemas.microsoft.com/office/drawing/2014/main" id="{48B92931-8EDF-49B6-8C0C-243F15A910EB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237478" y="4358216"/>
            <a:ext cx="3237237" cy="360000"/>
          </a:xfrm>
        </p:spPr>
        <p:txBody>
          <a:bodyPr/>
          <a:lstStyle>
            <a:lvl1pPr>
              <a:defRPr sz="1800">
                <a:solidFill>
                  <a:schemeClr val="accent5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Insert short heading</a:t>
            </a:r>
          </a:p>
        </p:txBody>
      </p:sp>
      <p:sp>
        <p:nvSpPr>
          <p:cNvPr id="29" name="Text Placeholder 34">
            <a:extLst>
              <a:ext uri="{FF2B5EF4-FFF2-40B4-BE49-F238E27FC236}">
                <a16:creationId xmlns:a16="http://schemas.microsoft.com/office/drawing/2014/main" id="{BD766710-0ABE-4624-8CA1-DC26EB21DB37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568693" y="4591337"/>
            <a:ext cx="1131616" cy="711200"/>
          </a:xfrm>
          <a:prstGeom prst="rect">
            <a:avLst/>
          </a:prstGeom>
        </p:spPr>
        <p:txBody>
          <a:bodyPr/>
          <a:lstStyle>
            <a:lvl1pPr>
              <a:defRPr sz="3200" b="0" i="0">
                <a:solidFill>
                  <a:schemeClr val="accent5"/>
                </a:solidFill>
                <a:latin typeface="CiscoSansTT Light" panose="020B0503020201020303" pitchFamily="34" charset="0"/>
                <a:cs typeface="CiscoSansTT Light" panose="020B0503020201020303" pitchFamily="34" charset="0"/>
              </a:defRPr>
            </a:lvl1pPr>
          </a:lstStyle>
          <a:p>
            <a:pPr lvl="0"/>
            <a:r>
              <a:rPr lang="en-GB"/>
              <a:t>XX%</a:t>
            </a:r>
            <a:endParaRPr lang="en-US"/>
          </a:p>
        </p:txBody>
      </p:sp>
      <p:sp>
        <p:nvSpPr>
          <p:cNvPr id="30" name="Text Placeholder 6">
            <a:extLst>
              <a:ext uri="{FF2B5EF4-FFF2-40B4-BE49-F238E27FC236}">
                <a16:creationId xmlns:a16="http://schemas.microsoft.com/office/drawing/2014/main" id="{00A91EDB-D2C4-4B6A-A163-A9A9B57EA5BA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8234226" y="4834467"/>
            <a:ext cx="3238638" cy="128602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053216743"/>
      </p:ext>
    </p:extLst>
  </p:cSld>
  <p:clrMapOvr>
    <a:masterClrMapping/>
  </p:clrMapOvr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21">
            <a:extLst>
              <a:ext uri="{FF2B5EF4-FFF2-40B4-BE49-F238E27FC236}">
                <a16:creationId xmlns:a16="http://schemas.microsoft.com/office/drawing/2014/main" id="{60AFAD34-CFFF-EF48-B99C-F11DFD70F0B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583450" y="1043471"/>
            <a:ext cx="1914801" cy="1038091"/>
          </a:xfrm>
          <a:prstGeom prst="rect">
            <a:avLst/>
          </a:prstGeom>
        </p:spPr>
        <p:txBody>
          <a:bodyPr/>
          <a:lstStyle>
            <a:lvl1pPr>
              <a:defRPr sz="1400" b="0" i="0">
                <a:solidFill>
                  <a:schemeClr val="bg2"/>
                </a:solidFill>
                <a:latin typeface="+mn-lt"/>
                <a:cs typeface="CiscoSansTT ExtraLight" panose="020B0303020201020303" pitchFamily="34" charset="0"/>
              </a:defRPr>
            </a:lvl1pPr>
          </a:lstStyle>
          <a:p>
            <a:pPr lvl="0"/>
            <a:r>
              <a:rPr lang="en-GB"/>
              <a:t>Click to add text</a:t>
            </a:r>
            <a:endParaRPr lang="en-US"/>
          </a:p>
        </p:txBody>
      </p:sp>
      <p:sp>
        <p:nvSpPr>
          <p:cNvPr id="18" name="Text Placeholder 21">
            <a:extLst>
              <a:ext uri="{FF2B5EF4-FFF2-40B4-BE49-F238E27FC236}">
                <a16:creationId xmlns:a16="http://schemas.microsoft.com/office/drawing/2014/main" id="{5DED0708-F6D0-9247-BBE1-821405FF823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583450" y="2909339"/>
            <a:ext cx="1914801" cy="1038091"/>
          </a:xfrm>
          <a:prstGeom prst="rect">
            <a:avLst/>
          </a:prstGeom>
        </p:spPr>
        <p:txBody>
          <a:bodyPr/>
          <a:lstStyle>
            <a:lvl1pPr>
              <a:defRPr sz="1400" b="0" i="0">
                <a:solidFill>
                  <a:schemeClr val="bg2"/>
                </a:solidFill>
                <a:latin typeface="+mn-lt"/>
                <a:cs typeface="CiscoSansTT ExtraLight" panose="020B0303020201020303" pitchFamily="34" charset="0"/>
              </a:defRPr>
            </a:lvl1pPr>
          </a:lstStyle>
          <a:p>
            <a:pPr lvl="0"/>
            <a:r>
              <a:rPr lang="en-GB"/>
              <a:t>Click to add text</a:t>
            </a:r>
            <a:endParaRPr lang="en-US"/>
          </a:p>
        </p:txBody>
      </p:sp>
      <p:sp>
        <p:nvSpPr>
          <p:cNvPr id="19" name="Text Placeholder 21">
            <a:extLst>
              <a:ext uri="{FF2B5EF4-FFF2-40B4-BE49-F238E27FC236}">
                <a16:creationId xmlns:a16="http://schemas.microsoft.com/office/drawing/2014/main" id="{5CCA10A3-3B40-D248-9C55-B94F50E7383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583450" y="4776439"/>
            <a:ext cx="1914801" cy="1038091"/>
          </a:xfrm>
          <a:prstGeom prst="rect">
            <a:avLst/>
          </a:prstGeom>
        </p:spPr>
        <p:txBody>
          <a:bodyPr/>
          <a:lstStyle>
            <a:lvl1pPr>
              <a:defRPr sz="1400" b="0" i="0">
                <a:solidFill>
                  <a:schemeClr val="bg2"/>
                </a:solidFill>
                <a:latin typeface="+mn-lt"/>
                <a:cs typeface="CiscoSansTT ExtraLight" panose="020B0303020201020303" pitchFamily="34" charset="0"/>
              </a:defRPr>
            </a:lvl1pPr>
          </a:lstStyle>
          <a:p>
            <a:pPr lvl="0"/>
            <a:r>
              <a:rPr lang="en-GB"/>
              <a:t>Click to add text</a:t>
            </a:r>
            <a:endParaRPr lang="en-US"/>
          </a:p>
        </p:txBody>
      </p:sp>
      <p:sp>
        <p:nvSpPr>
          <p:cNvPr id="20" name="Text Placeholder 21">
            <a:extLst>
              <a:ext uri="{FF2B5EF4-FFF2-40B4-BE49-F238E27FC236}">
                <a16:creationId xmlns:a16="http://schemas.microsoft.com/office/drawing/2014/main" id="{BC3462B6-4CC9-5145-9E61-C762FD2757B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9120152" y="1042988"/>
            <a:ext cx="1914801" cy="1038091"/>
          </a:xfrm>
          <a:prstGeom prst="rect">
            <a:avLst/>
          </a:prstGeom>
        </p:spPr>
        <p:txBody>
          <a:bodyPr/>
          <a:lstStyle>
            <a:lvl1pPr>
              <a:defRPr sz="1400" b="0" i="0">
                <a:solidFill>
                  <a:schemeClr val="bg2"/>
                </a:solidFill>
                <a:latin typeface="+mn-lt"/>
                <a:cs typeface="CiscoSansTT ExtraLight" panose="020B0303020201020303" pitchFamily="34" charset="0"/>
              </a:defRPr>
            </a:lvl1pPr>
          </a:lstStyle>
          <a:p>
            <a:pPr lvl="0"/>
            <a:r>
              <a:rPr lang="en-GB"/>
              <a:t>Click to add text</a:t>
            </a:r>
            <a:endParaRPr lang="en-US"/>
          </a:p>
        </p:txBody>
      </p:sp>
      <p:sp>
        <p:nvSpPr>
          <p:cNvPr id="21" name="Text Placeholder 21">
            <a:extLst>
              <a:ext uri="{FF2B5EF4-FFF2-40B4-BE49-F238E27FC236}">
                <a16:creationId xmlns:a16="http://schemas.microsoft.com/office/drawing/2014/main" id="{294218C0-ED14-EF44-B6DB-22164D388251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120152" y="2909339"/>
            <a:ext cx="1914801" cy="1038091"/>
          </a:xfrm>
          <a:prstGeom prst="rect">
            <a:avLst/>
          </a:prstGeom>
        </p:spPr>
        <p:txBody>
          <a:bodyPr/>
          <a:lstStyle>
            <a:lvl1pPr>
              <a:defRPr sz="1400" b="0" i="0">
                <a:solidFill>
                  <a:schemeClr val="bg2"/>
                </a:solidFill>
                <a:latin typeface="+mn-lt"/>
                <a:cs typeface="CiscoSansTT ExtraLight" panose="020B0303020201020303" pitchFamily="34" charset="0"/>
              </a:defRPr>
            </a:lvl1pPr>
          </a:lstStyle>
          <a:p>
            <a:pPr lvl="0"/>
            <a:r>
              <a:rPr lang="en-GB"/>
              <a:t>Click to add text</a:t>
            </a:r>
            <a:endParaRPr lang="en-US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29440408-FB70-0E48-9191-949F57EAAB2E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120152" y="4776439"/>
            <a:ext cx="1914801" cy="1038091"/>
          </a:xfrm>
          <a:prstGeom prst="rect">
            <a:avLst/>
          </a:prstGeom>
        </p:spPr>
        <p:txBody>
          <a:bodyPr/>
          <a:lstStyle>
            <a:lvl1pPr>
              <a:defRPr sz="1400" b="0" i="0">
                <a:solidFill>
                  <a:schemeClr val="bg2"/>
                </a:solidFill>
                <a:latin typeface="+mn-lt"/>
                <a:cs typeface="CiscoSansTT ExtraLight" panose="020B0303020201020303" pitchFamily="34" charset="0"/>
              </a:defRPr>
            </a:lvl1pPr>
          </a:lstStyle>
          <a:p>
            <a:pPr lvl="0"/>
            <a:r>
              <a:rPr lang="en-GB"/>
              <a:t>Click to add text</a:t>
            </a:r>
            <a:endParaRPr lang="en-US"/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C70EEDD5-22F0-4197-9E2C-65520A44FC04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5218531" y="1042989"/>
            <a:ext cx="364671" cy="303561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>
                <a:noFill/>
              </a:defRPr>
            </a:lvl1pPr>
          </a:lstStyle>
          <a:p>
            <a:endParaRPr lang="en-US"/>
          </a:p>
        </p:txBody>
      </p:sp>
      <p:sp>
        <p:nvSpPr>
          <p:cNvPr id="31" name="Picture Placeholder 3">
            <a:extLst>
              <a:ext uri="{FF2B5EF4-FFF2-40B4-BE49-F238E27FC236}">
                <a16:creationId xmlns:a16="http://schemas.microsoft.com/office/drawing/2014/main" id="{6BCA35DD-4B2E-4B0C-BCE1-27728E5A158F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5218531" y="2909340"/>
            <a:ext cx="364671" cy="303561"/>
          </a:xfrm>
          <a:prstGeom prst="rect">
            <a:avLst/>
          </a:prstGeom>
          <a:blipFill>
            <a:blip r:embed="rId3"/>
            <a:stretch>
              <a:fillRect/>
            </a:stretch>
          </a:blipFill>
        </p:spPr>
        <p:txBody>
          <a:bodyPr/>
          <a:lstStyle>
            <a:lvl1pPr>
              <a:defRPr>
                <a:noFill/>
              </a:defRPr>
            </a:lvl1pPr>
          </a:lstStyle>
          <a:p>
            <a:endParaRPr lang="en-US"/>
          </a:p>
        </p:txBody>
      </p:sp>
      <p:sp>
        <p:nvSpPr>
          <p:cNvPr id="32" name="Picture Placeholder 3">
            <a:extLst>
              <a:ext uri="{FF2B5EF4-FFF2-40B4-BE49-F238E27FC236}">
                <a16:creationId xmlns:a16="http://schemas.microsoft.com/office/drawing/2014/main" id="{B54AF328-4AF7-4607-93A0-00EC4947C5D6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5218531" y="4776440"/>
            <a:ext cx="364671" cy="303561"/>
          </a:xfrm>
          <a:prstGeom prst="rect">
            <a:avLst/>
          </a:prstGeom>
          <a:blipFill>
            <a:blip r:embed="rId4"/>
            <a:stretch>
              <a:fillRect/>
            </a:stretch>
          </a:blipFill>
        </p:spPr>
        <p:txBody>
          <a:bodyPr/>
          <a:lstStyle>
            <a:lvl1pPr>
              <a:defRPr>
                <a:noFill/>
              </a:defRPr>
            </a:lvl1pPr>
          </a:lstStyle>
          <a:p>
            <a:endParaRPr lang="en-US"/>
          </a:p>
        </p:txBody>
      </p:sp>
      <p:sp>
        <p:nvSpPr>
          <p:cNvPr id="33" name="Picture Placeholder 3">
            <a:extLst>
              <a:ext uri="{FF2B5EF4-FFF2-40B4-BE49-F238E27FC236}">
                <a16:creationId xmlns:a16="http://schemas.microsoft.com/office/drawing/2014/main" id="{7F4A1470-088E-40A3-A20F-C4DCAFFA3E7A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8755481" y="1042989"/>
            <a:ext cx="364671" cy="303561"/>
          </a:xfrm>
          <a:prstGeom prst="rect">
            <a:avLst/>
          </a:prstGeom>
          <a:blipFill>
            <a:blip r:embed="rId4"/>
            <a:stretch>
              <a:fillRect/>
            </a:stretch>
          </a:blipFill>
        </p:spPr>
        <p:txBody>
          <a:bodyPr/>
          <a:lstStyle>
            <a:lvl1pPr>
              <a:defRPr>
                <a:noFill/>
              </a:defRPr>
            </a:lvl1pPr>
          </a:lstStyle>
          <a:p>
            <a:endParaRPr lang="en-US"/>
          </a:p>
        </p:txBody>
      </p:sp>
      <p:sp>
        <p:nvSpPr>
          <p:cNvPr id="34" name="Picture Placeholder 3">
            <a:extLst>
              <a:ext uri="{FF2B5EF4-FFF2-40B4-BE49-F238E27FC236}">
                <a16:creationId xmlns:a16="http://schemas.microsoft.com/office/drawing/2014/main" id="{CF7DF77F-E020-4816-9E4B-754165D11DC2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8755481" y="2909340"/>
            <a:ext cx="364671" cy="303561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>
                <a:noFill/>
              </a:defRPr>
            </a:lvl1pPr>
          </a:lstStyle>
          <a:p>
            <a:endParaRPr lang="en-US"/>
          </a:p>
        </p:txBody>
      </p:sp>
      <p:sp>
        <p:nvSpPr>
          <p:cNvPr id="35" name="Picture Placeholder 3">
            <a:extLst>
              <a:ext uri="{FF2B5EF4-FFF2-40B4-BE49-F238E27FC236}">
                <a16:creationId xmlns:a16="http://schemas.microsoft.com/office/drawing/2014/main" id="{30737A6D-65C2-418D-AE2D-216451A7AE90}"/>
              </a:ext>
            </a:extLst>
          </p:cNvPr>
          <p:cNvSpPr>
            <a:spLocks noGrp="1"/>
          </p:cNvSpPr>
          <p:nvPr>
            <p:ph type="pic" sz="quarter" idx="28"/>
          </p:nvPr>
        </p:nvSpPr>
        <p:spPr>
          <a:xfrm>
            <a:off x="8755481" y="4776440"/>
            <a:ext cx="364671" cy="303561"/>
          </a:xfrm>
          <a:prstGeom prst="rect">
            <a:avLst/>
          </a:prstGeom>
          <a:blipFill>
            <a:blip r:embed="rId3"/>
            <a:stretch>
              <a:fillRect/>
            </a:stretch>
          </a:blipFill>
        </p:spPr>
        <p:txBody>
          <a:bodyPr/>
          <a:lstStyle>
            <a:lvl1pPr>
              <a:defRPr>
                <a:noFill/>
              </a:defRPr>
            </a:lvl1pPr>
          </a:lstStyle>
          <a:p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6B9A303-9952-43D3-9853-F92C20413C0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138" y="1612901"/>
            <a:ext cx="3302529" cy="3598862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68A0084-9DC5-457E-A8B4-A1B54C736B85}"/>
              </a:ext>
            </a:extLst>
          </p:cNvPr>
          <p:cNvSpPr>
            <a:spLocks noGrp="1"/>
          </p:cNvSpPr>
          <p:nvPr>
            <p:ph type="ftr" sz="quarter" idx="29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16469286"/>
      </p:ext>
    </p:extLst>
  </p:cSld>
  <p:clrMapOvr>
    <a:masterClrMapping/>
  </p:clrMapOvr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F78856C6-C3E6-4616-8EC0-B2A24F6EC4F6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775504" y="0"/>
            <a:ext cx="7416496" cy="6857997"/>
          </a:xfrm>
          <a:custGeom>
            <a:avLst/>
            <a:gdLst>
              <a:gd name="connsiteX0" fmla="*/ 0 w 5562372"/>
              <a:gd name="connsiteY0" fmla="*/ 0 h 5143498"/>
              <a:gd name="connsiteX1" fmla="*/ 5562372 w 5562372"/>
              <a:gd name="connsiteY1" fmla="*/ 0 h 5143498"/>
              <a:gd name="connsiteX2" fmla="*/ 5562372 w 5562372"/>
              <a:gd name="connsiteY2" fmla="*/ 5143498 h 5143498"/>
              <a:gd name="connsiteX3" fmla="*/ 481628 w 5562372"/>
              <a:gd name="connsiteY3" fmla="*/ 5143498 h 5143498"/>
              <a:gd name="connsiteX4" fmla="*/ 659851 w 5562372"/>
              <a:gd name="connsiteY4" fmla="*/ 4905163 h 5143498"/>
              <a:gd name="connsiteX5" fmla="*/ 1296347 w 5562372"/>
              <a:gd name="connsiteY5" fmla="*/ 2821418 h 5143498"/>
              <a:gd name="connsiteX6" fmla="*/ 204763 w 5562372"/>
              <a:gd name="connsiteY6" fmla="*/ 186102 h 51434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562372" h="5143498">
                <a:moveTo>
                  <a:pt x="0" y="0"/>
                </a:moveTo>
                <a:lnTo>
                  <a:pt x="5562372" y="0"/>
                </a:lnTo>
                <a:lnTo>
                  <a:pt x="5562372" y="5143498"/>
                </a:lnTo>
                <a:lnTo>
                  <a:pt x="481628" y="5143498"/>
                </a:lnTo>
                <a:lnTo>
                  <a:pt x="659851" y="4905163"/>
                </a:lnTo>
                <a:cubicBezTo>
                  <a:pt x="1061702" y="4310346"/>
                  <a:pt x="1296347" y="3593284"/>
                  <a:pt x="1296347" y="2821418"/>
                </a:cubicBezTo>
                <a:cubicBezTo>
                  <a:pt x="1296347" y="1792263"/>
                  <a:pt x="879200" y="860538"/>
                  <a:pt x="204763" y="186102"/>
                </a:cubicBezTo>
                <a:close/>
              </a:path>
            </a:pathLst>
          </a:custGeom>
          <a:solidFill>
            <a:srgbClr val="F5F6F9"/>
          </a:solidFill>
        </p:spPr>
        <p:txBody>
          <a:bodyPr wrap="square">
            <a:noAutofit/>
          </a:bodyPr>
          <a:lstStyle/>
          <a:p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961E1CD-E326-4961-9A88-11E9CA33773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138" y="1619250"/>
            <a:ext cx="4250267" cy="16383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7C65FE1-788D-4584-AD0B-0A2BE92452E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719138" y="3416299"/>
            <a:ext cx="4250266" cy="1795463"/>
          </a:xfrm>
        </p:spPr>
        <p:txBody>
          <a:bodyPr/>
          <a:lstStyle>
            <a:lvl1pPr>
              <a:defRPr sz="2000">
                <a:solidFill>
                  <a:schemeClr val="accent1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Insert short heading</a:t>
            </a:r>
          </a:p>
        </p:txBody>
      </p:sp>
    </p:spTree>
    <p:extLst>
      <p:ext uri="{BB962C8B-B14F-4D97-AF65-F5344CB8AC3E}">
        <p14:creationId xmlns:p14="http://schemas.microsoft.com/office/powerpoint/2010/main" val="3666339038"/>
      </p:ext>
    </p:extLst>
  </p:cSld>
  <p:clrMapOvr>
    <a:masterClrMapping/>
  </p:clrMapOvr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8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Picture Placeholder 36">
            <a:extLst>
              <a:ext uri="{FF2B5EF4-FFF2-40B4-BE49-F238E27FC236}">
                <a16:creationId xmlns:a16="http://schemas.microsoft.com/office/drawing/2014/main" id="{A09742A7-0B5E-4F47-A95F-532A0AB3B278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393167" y="1"/>
            <a:ext cx="1322400" cy="5676899"/>
          </a:xfrm>
          <a:custGeom>
            <a:avLst/>
            <a:gdLst>
              <a:gd name="connsiteX0" fmla="*/ 0 w 991800"/>
              <a:gd name="connsiteY0" fmla="*/ 0 h 4257674"/>
              <a:gd name="connsiteX1" fmla="*/ 991800 w 991800"/>
              <a:gd name="connsiteY1" fmla="*/ 0 h 4257674"/>
              <a:gd name="connsiteX2" fmla="*/ 991800 w 991800"/>
              <a:gd name="connsiteY2" fmla="*/ 3771573 h 4257674"/>
              <a:gd name="connsiteX3" fmla="*/ 505699 w 991800"/>
              <a:gd name="connsiteY3" fmla="*/ 4257674 h 4257674"/>
              <a:gd name="connsiteX4" fmla="*/ 486101 w 991800"/>
              <a:gd name="connsiteY4" fmla="*/ 4257674 h 4257674"/>
              <a:gd name="connsiteX5" fmla="*/ 0 w 991800"/>
              <a:gd name="connsiteY5" fmla="*/ 3771573 h 42576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991800" h="4257674">
                <a:moveTo>
                  <a:pt x="0" y="0"/>
                </a:moveTo>
                <a:lnTo>
                  <a:pt x="991800" y="0"/>
                </a:lnTo>
                <a:lnTo>
                  <a:pt x="991800" y="3771573"/>
                </a:lnTo>
                <a:cubicBezTo>
                  <a:pt x="991800" y="4040039"/>
                  <a:pt x="774165" y="4257674"/>
                  <a:pt x="505699" y="4257674"/>
                </a:cubicBezTo>
                <a:lnTo>
                  <a:pt x="486101" y="4257674"/>
                </a:lnTo>
                <a:cubicBezTo>
                  <a:pt x="217635" y="4257674"/>
                  <a:pt x="0" y="4040039"/>
                  <a:pt x="0" y="3771573"/>
                </a:cubicBezTo>
                <a:close/>
              </a:path>
            </a:pathLst>
          </a:custGeom>
          <a:solidFill>
            <a:srgbClr val="F5F6F9"/>
          </a:solidFill>
        </p:spPr>
        <p:txBody>
          <a:bodyPr wrap="square">
            <a:noAutofit/>
          </a:bodyPr>
          <a:lstStyle>
            <a:lvl1pPr>
              <a:defRPr>
                <a:noFill/>
              </a:defRPr>
            </a:lvl1pPr>
          </a:lstStyle>
          <a:p>
            <a:endParaRPr lang="en-US"/>
          </a:p>
        </p:txBody>
      </p:sp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B14E011C-C076-4297-993A-6269B12CEC8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715336" y="3215366"/>
            <a:ext cx="2421200" cy="3642633"/>
          </a:xfrm>
          <a:prstGeom prst="round2SameRect">
            <a:avLst>
              <a:gd name="adj1" fmla="val 50000"/>
              <a:gd name="adj2" fmla="val 0"/>
            </a:avLst>
          </a:prstGeom>
          <a:solidFill>
            <a:srgbClr val="F5F6F9"/>
          </a:solidFill>
        </p:spPr>
        <p:txBody>
          <a:bodyPr/>
          <a:lstStyle/>
          <a:p>
            <a:endParaRPr lang="en-US"/>
          </a:p>
        </p:txBody>
      </p:sp>
      <p:sp>
        <p:nvSpPr>
          <p:cNvPr id="24" name="Picture Placeholder 17">
            <a:extLst>
              <a:ext uri="{FF2B5EF4-FFF2-40B4-BE49-F238E27FC236}">
                <a16:creationId xmlns:a16="http://schemas.microsoft.com/office/drawing/2014/main" id="{799C6E57-0A19-4334-AAAF-08B6BB2F2833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704633" y="1590898"/>
            <a:ext cx="699467" cy="698400"/>
          </a:xfrm>
          <a:prstGeom prst="ellipse">
            <a:avLst/>
          </a:prstGeom>
          <a:solidFill>
            <a:schemeClr val="bg1"/>
          </a:solidFill>
          <a:ln w="101600">
            <a:solidFill>
              <a:schemeClr val="bg1"/>
            </a:solidFill>
          </a:ln>
        </p:spPr>
        <p:txBody>
          <a:bodyPr/>
          <a:lstStyle>
            <a:lvl1pPr>
              <a:defRPr>
                <a:noFill/>
              </a:defRPr>
            </a:lvl1pPr>
          </a:lstStyle>
          <a:p>
            <a:endParaRPr lang="en-US"/>
          </a:p>
        </p:txBody>
      </p:sp>
      <p:sp>
        <p:nvSpPr>
          <p:cNvPr id="26" name="Picture Placeholder 17">
            <a:extLst>
              <a:ext uri="{FF2B5EF4-FFF2-40B4-BE49-F238E27FC236}">
                <a16:creationId xmlns:a16="http://schemas.microsoft.com/office/drawing/2014/main" id="{1877A2FE-9F23-45BF-8D2A-03B5C0097EBB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6704633" y="3079800"/>
            <a:ext cx="699467" cy="698400"/>
          </a:xfrm>
          <a:prstGeom prst="ellipse">
            <a:avLst/>
          </a:prstGeom>
          <a:solidFill>
            <a:schemeClr val="bg1"/>
          </a:solidFill>
          <a:ln w="101600">
            <a:solidFill>
              <a:schemeClr val="bg1"/>
            </a:solidFill>
          </a:ln>
        </p:spPr>
        <p:txBody>
          <a:bodyPr/>
          <a:lstStyle>
            <a:lvl1pPr>
              <a:defRPr>
                <a:noFill/>
              </a:defRPr>
            </a:lvl1pPr>
          </a:lstStyle>
          <a:p>
            <a:endParaRPr lang="en-US"/>
          </a:p>
        </p:txBody>
      </p:sp>
      <p:sp>
        <p:nvSpPr>
          <p:cNvPr id="28" name="Picture Placeholder 17">
            <a:extLst>
              <a:ext uri="{FF2B5EF4-FFF2-40B4-BE49-F238E27FC236}">
                <a16:creationId xmlns:a16="http://schemas.microsoft.com/office/drawing/2014/main" id="{46FA405D-A3C1-4D33-8B98-57D1F3B32004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6704633" y="4601699"/>
            <a:ext cx="699467" cy="698400"/>
          </a:xfrm>
          <a:prstGeom prst="ellipse">
            <a:avLst/>
          </a:prstGeom>
          <a:solidFill>
            <a:schemeClr val="bg1"/>
          </a:solidFill>
          <a:ln w="101600">
            <a:solidFill>
              <a:schemeClr val="bg1"/>
            </a:solidFill>
          </a:ln>
        </p:spPr>
        <p:txBody>
          <a:bodyPr/>
          <a:lstStyle>
            <a:lvl1pPr>
              <a:defRPr>
                <a:noFill/>
              </a:defRPr>
            </a:lvl1pPr>
          </a:lstStyle>
          <a:p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58FD7D9-142A-4FD6-9261-E6EE8E9A36D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138" y="1155700"/>
            <a:ext cx="4106333" cy="17145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1" name="Text Placeholder 12">
            <a:extLst>
              <a:ext uri="{FF2B5EF4-FFF2-40B4-BE49-F238E27FC236}">
                <a16:creationId xmlns:a16="http://schemas.microsoft.com/office/drawing/2014/main" id="{BB5F2F62-0794-46CB-A9EB-2A581CF795B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886699" y="1612900"/>
            <a:ext cx="3586163" cy="654396"/>
          </a:xfrm>
          <a:prstGeom prst="rect">
            <a:avLst/>
          </a:prstGeom>
        </p:spPr>
        <p:txBody>
          <a:bodyPr anchor="ctr" anchorCtr="0">
            <a:normAutofit/>
          </a:bodyPr>
          <a:lstStyle>
            <a:lvl1pPr marL="0" marR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bg2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defRPr>
            </a:lvl1pPr>
            <a:lvl2pPr>
              <a:defRPr sz="1867"/>
            </a:lvl2pPr>
            <a:lvl3pPr>
              <a:defRPr sz="1867"/>
            </a:lvl3pPr>
            <a:lvl4pPr>
              <a:defRPr sz="1867"/>
            </a:lvl4pPr>
            <a:lvl5pPr>
              <a:defRPr sz="1867"/>
            </a:lvl5pPr>
          </a:lstStyle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lang="en-US" u="none" strike="noStrike" cap="none">
              <a:solidFill>
                <a:schemeClr val="tx1"/>
              </a:solidFill>
              <a:latin typeface="CiscoSansTT ExtraLight" panose="020B0303020201020303" pitchFamily="34" charset="0"/>
              <a:ea typeface="Helvetica Neue Light"/>
              <a:cs typeface="CiscoSansTT ExtraLight" panose="020B0303020201020303" pitchFamily="34" charset="0"/>
              <a:sym typeface="Helvetica Neue Light"/>
            </a:endParaRPr>
          </a:p>
        </p:txBody>
      </p:sp>
      <p:sp>
        <p:nvSpPr>
          <p:cNvPr id="12" name="Text Placeholder 12">
            <a:extLst>
              <a:ext uri="{FF2B5EF4-FFF2-40B4-BE49-F238E27FC236}">
                <a16:creationId xmlns:a16="http://schemas.microsoft.com/office/drawing/2014/main" id="{F84798DA-E9A3-4A59-970C-C9BA43FC8C76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7886699" y="3115860"/>
            <a:ext cx="3586163" cy="654396"/>
          </a:xfrm>
          <a:prstGeom prst="rect">
            <a:avLst/>
          </a:prstGeom>
        </p:spPr>
        <p:txBody>
          <a:bodyPr anchor="ctr" anchorCtr="0">
            <a:normAutofit/>
          </a:bodyPr>
          <a:lstStyle>
            <a:lvl1pPr marL="0" marR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bg2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defRPr>
            </a:lvl1pPr>
            <a:lvl2pPr>
              <a:defRPr sz="1867"/>
            </a:lvl2pPr>
            <a:lvl3pPr>
              <a:defRPr sz="1867"/>
            </a:lvl3pPr>
            <a:lvl4pPr>
              <a:defRPr sz="1867"/>
            </a:lvl4pPr>
            <a:lvl5pPr>
              <a:defRPr sz="1867"/>
            </a:lvl5pPr>
          </a:lstStyle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lang="en-US" u="none" strike="noStrike" cap="none">
              <a:solidFill>
                <a:schemeClr val="tx1"/>
              </a:solidFill>
              <a:latin typeface="CiscoSansTT ExtraLight" panose="020B0303020201020303" pitchFamily="34" charset="0"/>
              <a:ea typeface="Helvetica Neue Light"/>
              <a:cs typeface="CiscoSansTT ExtraLight" panose="020B0303020201020303" pitchFamily="34" charset="0"/>
              <a:sym typeface="Helvetica Neue Light"/>
            </a:endParaRP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08F896D1-2CF5-49F5-BBA2-BAC147867491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7886699" y="4618820"/>
            <a:ext cx="3586163" cy="654396"/>
          </a:xfrm>
          <a:prstGeom prst="rect">
            <a:avLst/>
          </a:prstGeom>
        </p:spPr>
        <p:txBody>
          <a:bodyPr anchor="ctr" anchorCtr="0">
            <a:normAutofit/>
          </a:bodyPr>
          <a:lstStyle>
            <a:lvl1pPr marL="0" marR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bg2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defRPr>
            </a:lvl1pPr>
            <a:lvl2pPr>
              <a:defRPr sz="1867"/>
            </a:lvl2pPr>
            <a:lvl3pPr>
              <a:defRPr sz="1867"/>
            </a:lvl3pPr>
            <a:lvl4pPr>
              <a:defRPr sz="1867"/>
            </a:lvl4pPr>
            <a:lvl5pPr>
              <a:defRPr sz="1867"/>
            </a:lvl5pPr>
          </a:lstStyle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lang="en-US" u="none" strike="noStrike" cap="none">
              <a:solidFill>
                <a:schemeClr val="tx1"/>
              </a:solidFill>
              <a:latin typeface="CiscoSansTT ExtraLight" panose="020B0303020201020303" pitchFamily="34" charset="0"/>
              <a:ea typeface="Helvetica Neue Light"/>
              <a:cs typeface="CiscoSansTT ExtraLight" panose="020B0303020201020303" pitchFamily="34" charset="0"/>
              <a:sym typeface="Helvetica Neue Light"/>
            </a:endParaRP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BA88107-D85B-4102-99BA-0504C34B915E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42831432"/>
      </p:ext>
    </p:extLst>
  </p:cSld>
  <p:clrMapOvr>
    <a:masterClrMapping/>
  </p:clrMapOvr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4">
            <a:extLst>
              <a:ext uri="{FF2B5EF4-FFF2-40B4-BE49-F238E27FC236}">
                <a16:creationId xmlns:a16="http://schemas.microsoft.com/office/drawing/2014/main" id="{E533B4C3-00C3-4EE9-9CE8-212AE8648688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1989" cy="6858000"/>
          </a:xfrm>
          <a:prstGeom prst="rect">
            <a:avLst/>
          </a:prstGeom>
          <a:solidFill>
            <a:srgbClr val="EDF1F6"/>
          </a:solidFill>
        </p:spPr>
        <p:txBody>
          <a:bodyPr/>
          <a:lstStyle>
            <a:lvl1pPr>
              <a:defRPr>
                <a:noFill/>
              </a:defRPr>
            </a:lvl1pPr>
          </a:lstStyle>
          <a:p>
            <a:endParaRPr lang="en-US"/>
          </a:p>
        </p:txBody>
      </p:sp>
      <p:sp>
        <p:nvSpPr>
          <p:cNvPr id="9" name="Picture Placeholder 6">
            <a:extLst>
              <a:ext uri="{FF2B5EF4-FFF2-40B4-BE49-F238E27FC236}">
                <a16:creationId xmlns:a16="http://schemas.microsoft.com/office/drawing/2014/main" id="{D6741ED8-910C-4652-B7B9-9AAF0CBFA206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" y="0"/>
            <a:ext cx="12196233" cy="6858000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>
                <a:noFill/>
              </a:defRPr>
            </a:lvl1pPr>
          </a:lstStyle>
          <a:p>
            <a:endParaRPr lang="en-US"/>
          </a:p>
        </p:txBody>
      </p:sp>
      <p:sp>
        <p:nvSpPr>
          <p:cNvPr id="12" name="Text Placeholder 21">
            <a:extLst>
              <a:ext uri="{FF2B5EF4-FFF2-40B4-BE49-F238E27FC236}">
                <a16:creationId xmlns:a16="http://schemas.microsoft.com/office/drawing/2014/main" id="{265E67DC-0D39-434C-8F32-63A1AD0CD7F3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5275350" y="4999433"/>
            <a:ext cx="1641299" cy="361041"/>
          </a:xfrm>
          <a:prstGeom prst="rect">
            <a:avLst/>
          </a:prstGeom>
        </p:spPr>
        <p:txBody>
          <a:bodyPr/>
          <a:lstStyle>
            <a:lvl1pPr algn="ctr">
              <a:defRPr sz="1600" b="0" i="0">
                <a:solidFill>
                  <a:schemeClr val="bg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defRPr>
            </a:lvl1pPr>
          </a:lstStyle>
          <a:p>
            <a:pPr lvl="0"/>
            <a:r>
              <a:rPr lang="en-GB"/>
              <a:t>Person Name</a:t>
            </a:r>
            <a:endParaRPr lang="en-US"/>
          </a:p>
        </p:txBody>
      </p:sp>
      <p:sp>
        <p:nvSpPr>
          <p:cNvPr id="15" name="Text Placeholder 9">
            <a:extLst>
              <a:ext uri="{FF2B5EF4-FFF2-40B4-BE49-F238E27FC236}">
                <a16:creationId xmlns:a16="http://schemas.microsoft.com/office/drawing/2014/main" id="{970925D7-95D9-DE4C-8670-93C1A5195C5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050886" y="1612900"/>
            <a:ext cx="8090227" cy="2764029"/>
          </a:xfrm>
          <a:prstGeom prst="rect">
            <a:avLst/>
          </a:prstGeom>
        </p:spPr>
        <p:txBody>
          <a:bodyPr/>
          <a:lstStyle>
            <a:lvl1pPr algn="ctr">
              <a:defRPr sz="2933" b="0" i="0">
                <a:solidFill>
                  <a:schemeClr val="bg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defRPr>
            </a:lvl1pPr>
            <a:lvl2pPr>
              <a:defRPr sz="2933" b="0" i="0">
                <a:solidFill>
                  <a:schemeClr val="tx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defRPr>
            </a:lvl2pPr>
            <a:lvl3pPr>
              <a:defRPr sz="2933" b="0" i="0">
                <a:solidFill>
                  <a:schemeClr val="tx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defRPr>
            </a:lvl3pPr>
            <a:lvl4pPr>
              <a:defRPr sz="2933" b="0" i="0">
                <a:solidFill>
                  <a:schemeClr val="tx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defRPr>
            </a:lvl4pPr>
            <a:lvl5pPr>
              <a:defRPr sz="2933" b="0" i="0">
                <a:solidFill>
                  <a:schemeClr val="tx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defRPr>
            </a:lvl5pPr>
          </a:lstStyle>
          <a:p>
            <a:pPr lvl="0"/>
            <a:r>
              <a:rPr lang="en-US" sz="3200">
                <a:solidFill>
                  <a:srgbClr val="FFFFFF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  <a:sym typeface="Helvetica Neue Light"/>
              </a:rPr>
              <a:t>Insert text here</a:t>
            </a:r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B6836383-F45D-47B3-ADBF-08BDF7D3AABD}"/>
              </a:ext>
            </a:extLst>
          </p:cNvPr>
          <p:cNvSpPr/>
          <p:nvPr userDrawn="1"/>
        </p:nvSpPr>
        <p:spPr>
          <a:xfrm>
            <a:off x="-1" y="-844774"/>
            <a:ext cx="12196233" cy="749580"/>
          </a:xfrm>
          <a:prstGeom prst="rect">
            <a:avLst/>
          </a:prstGeom>
          <a:solidFill>
            <a:srgbClr val="EDF1F6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2400">
                <a:solidFill>
                  <a:schemeClr val="tx1"/>
                </a:solidFill>
              </a:rPr>
              <a:t>PLEASE NOTE:</a:t>
            </a:r>
          </a:p>
          <a:p>
            <a:pPr algn="ctr"/>
            <a:r>
              <a:rPr lang="en-US" sz="2000">
                <a:solidFill>
                  <a:schemeClr val="tx1"/>
                </a:solidFill>
              </a:rPr>
              <a:t>In order to insert an image into the background, simply drag and drop your image onto the slide</a:t>
            </a:r>
          </a:p>
        </p:txBody>
      </p:sp>
    </p:spTree>
    <p:extLst>
      <p:ext uri="{BB962C8B-B14F-4D97-AF65-F5344CB8AC3E}">
        <p14:creationId xmlns:p14="http://schemas.microsoft.com/office/powerpoint/2010/main" val="1053729667"/>
      </p:ext>
    </p:extLst>
  </p:cSld>
  <p:clrMapOvr>
    <a:masterClrMapping/>
  </p:clrMapOvr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able Placeholder 2">
            <a:extLst>
              <a:ext uri="{FF2B5EF4-FFF2-40B4-BE49-F238E27FC236}">
                <a16:creationId xmlns:a16="http://schemas.microsoft.com/office/drawing/2014/main" id="{291315C8-5372-429E-98A3-1CFB19671AA6}"/>
              </a:ext>
            </a:extLst>
          </p:cNvPr>
          <p:cNvSpPr>
            <a:spLocks noGrp="1"/>
          </p:cNvSpPr>
          <p:nvPr>
            <p:ph type="tbl" sz="quarter" idx="15"/>
          </p:nvPr>
        </p:nvSpPr>
        <p:spPr>
          <a:xfrm>
            <a:off x="4729167" y="1602317"/>
            <a:ext cx="6743167" cy="1152727"/>
          </a:xfrm>
          <a:prstGeom prst="rect">
            <a:avLst/>
          </a:prstGeom>
          <a:solidFill>
            <a:srgbClr val="F5F6F9"/>
          </a:solidFill>
        </p:spPr>
        <p:txBody>
          <a:bodyPr lIns="72000" tIns="72000" rIns="72000" bIns="72000" anchor="ctr" anchorCtr="0"/>
          <a:lstStyle>
            <a:lvl1pPr>
              <a:spcAft>
                <a:spcPts val="800"/>
              </a:spcAft>
              <a:defRPr sz="1600">
                <a:latin typeface="+mn-lt"/>
              </a:defRPr>
            </a:lvl1pPr>
          </a:lstStyle>
          <a:p>
            <a:endParaRPr lang="en-US"/>
          </a:p>
        </p:txBody>
      </p:sp>
      <p:sp>
        <p:nvSpPr>
          <p:cNvPr id="33" name="Table Placeholder 32">
            <a:extLst>
              <a:ext uri="{FF2B5EF4-FFF2-40B4-BE49-F238E27FC236}">
                <a16:creationId xmlns:a16="http://schemas.microsoft.com/office/drawing/2014/main" id="{76374512-DC03-4B83-BB85-85A3FBF236B1}"/>
              </a:ext>
            </a:extLst>
          </p:cNvPr>
          <p:cNvSpPr>
            <a:spLocks noGrp="1"/>
          </p:cNvSpPr>
          <p:nvPr>
            <p:ph type="tbl" sz="quarter" idx="16"/>
          </p:nvPr>
        </p:nvSpPr>
        <p:spPr>
          <a:xfrm>
            <a:off x="4729166" y="2949998"/>
            <a:ext cx="6743167" cy="1152727"/>
          </a:xfrm>
          <a:prstGeom prst="rect">
            <a:avLst/>
          </a:prstGeom>
          <a:solidFill>
            <a:srgbClr val="F5F6F9"/>
          </a:solidFill>
        </p:spPr>
        <p:txBody>
          <a:bodyPr lIns="72000" tIns="72000" rIns="72000" bIns="72000" anchor="ctr" anchorCtr="0"/>
          <a:lstStyle>
            <a:lvl1pPr>
              <a:spcAft>
                <a:spcPts val="800"/>
              </a:spcAft>
              <a:defRPr lang="en-US" sz="1600">
                <a:latin typeface="+mn-lt"/>
              </a:defRPr>
            </a:lvl1pPr>
          </a:lstStyle>
          <a:p>
            <a:pPr lvl="0"/>
            <a:endParaRPr lang="en-US"/>
          </a:p>
        </p:txBody>
      </p:sp>
      <p:sp>
        <p:nvSpPr>
          <p:cNvPr id="36" name="Table Placeholder 35">
            <a:extLst>
              <a:ext uri="{FF2B5EF4-FFF2-40B4-BE49-F238E27FC236}">
                <a16:creationId xmlns:a16="http://schemas.microsoft.com/office/drawing/2014/main" id="{80CAC521-2683-4449-93C6-87F52104BE7A}"/>
              </a:ext>
            </a:extLst>
          </p:cNvPr>
          <p:cNvSpPr>
            <a:spLocks noGrp="1"/>
          </p:cNvSpPr>
          <p:nvPr>
            <p:ph type="tbl" sz="quarter" idx="17"/>
          </p:nvPr>
        </p:nvSpPr>
        <p:spPr>
          <a:xfrm>
            <a:off x="4729166" y="4297681"/>
            <a:ext cx="6743165" cy="1152727"/>
          </a:xfrm>
          <a:prstGeom prst="rect">
            <a:avLst/>
          </a:prstGeom>
          <a:solidFill>
            <a:srgbClr val="F5F6F9"/>
          </a:solidFill>
        </p:spPr>
        <p:txBody>
          <a:bodyPr lIns="72000" tIns="72000" rIns="72000" bIns="72000" anchor="ctr" anchorCtr="0"/>
          <a:lstStyle>
            <a:lvl1pPr>
              <a:spcAft>
                <a:spcPts val="800"/>
              </a:spcAft>
              <a:defRPr lang="en-US" sz="1600">
                <a:latin typeface="+mn-lt"/>
              </a:defRPr>
            </a:lvl1pPr>
          </a:lstStyle>
          <a:p>
            <a:pPr lvl="0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BD9AED8-6A3B-4418-8A35-72D2020889F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138" y="1608139"/>
            <a:ext cx="3793067" cy="1358899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A186C41-9705-4836-9BFB-C8F747EB9D5F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723114" y="3416301"/>
            <a:ext cx="3789091" cy="2034108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60DD964-6AEA-4168-B2B4-C81AC8DEAC6C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80046282"/>
      </p:ext>
    </p:extLst>
  </p:cSld>
  <p:clrMapOvr>
    <a:masterClrMapping/>
  </p:clrMapOvr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C7ACAD07-0E9D-41D1-BC32-C16D2E362C07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14300" y="408213"/>
            <a:ext cx="1193801" cy="1194105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>
                <a:noFill/>
              </a:defRPr>
            </a:lvl1pPr>
          </a:lstStyle>
          <a:p>
            <a:endParaRPr lang="en-US"/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54B24C29-5325-4B17-B777-A01160F2BFEF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996000"/>
            <a:ext cx="5846533" cy="4672800"/>
          </a:xfrm>
          <a:custGeom>
            <a:avLst/>
            <a:gdLst>
              <a:gd name="connsiteX0" fmla="*/ 127600 w 4384900"/>
              <a:gd name="connsiteY0" fmla="*/ 0 h 3504600"/>
              <a:gd name="connsiteX1" fmla="*/ 2632600 w 4384900"/>
              <a:gd name="connsiteY1" fmla="*/ 0 h 3504600"/>
              <a:gd name="connsiteX2" fmla="*/ 4384900 w 4384900"/>
              <a:gd name="connsiteY2" fmla="*/ 1752300 h 3504600"/>
              <a:gd name="connsiteX3" fmla="*/ 2632600 w 4384900"/>
              <a:gd name="connsiteY3" fmla="*/ 3504600 h 3504600"/>
              <a:gd name="connsiteX4" fmla="*/ 127600 w 4384900"/>
              <a:gd name="connsiteY4" fmla="*/ 3504600 h 3504600"/>
              <a:gd name="connsiteX5" fmla="*/ 0 w 4384900"/>
              <a:gd name="connsiteY5" fmla="*/ 3498157 h 3504600"/>
              <a:gd name="connsiteX6" fmla="*/ 0 w 4384900"/>
              <a:gd name="connsiteY6" fmla="*/ 6443 h 3504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384900" h="3504600">
                <a:moveTo>
                  <a:pt x="127600" y="0"/>
                </a:moveTo>
                <a:lnTo>
                  <a:pt x="2632600" y="0"/>
                </a:lnTo>
                <a:cubicBezTo>
                  <a:pt x="3600369" y="0"/>
                  <a:pt x="4384900" y="784531"/>
                  <a:pt x="4384900" y="1752300"/>
                </a:cubicBezTo>
                <a:cubicBezTo>
                  <a:pt x="4384900" y="2720069"/>
                  <a:pt x="3600369" y="3504600"/>
                  <a:pt x="2632600" y="3504600"/>
                </a:cubicBezTo>
                <a:lnTo>
                  <a:pt x="127600" y="3504600"/>
                </a:lnTo>
                <a:lnTo>
                  <a:pt x="0" y="3498157"/>
                </a:lnTo>
                <a:lnTo>
                  <a:pt x="0" y="6443"/>
                </a:lnTo>
                <a:close/>
              </a:path>
            </a:pathLst>
          </a:custGeom>
          <a:solidFill>
            <a:srgbClr val="F5F6F9"/>
          </a:solidFill>
        </p:spPr>
        <p:txBody>
          <a:bodyPr wrap="square">
            <a:noAutofit/>
          </a:bodyPr>
          <a:lstStyle/>
          <a:p>
            <a:endParaRPr lang="en-US"/>
          </a:p>
        </p:txBody>
      </p:sp>
      <p:sp>
        <p:nvSpPr>
          <p:cNvPr id="13" name="Picture Placeholder 11">
            <a:extLst>
              <a:ext uri="{FF2B5EF4-FFF2-40B4-BE49-F238E27FC236}">
                <a16:creationId xmlns:a16="http://schemas.microsoft.com/office/drawing/2014/main" id="{415A6F53-7A2A-446D-BE6F-72DFEBE1D528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3841748" y="4719861"/>
            <a:ext cx="1401181" cy="1401539"/>
          </a:xfrm>
          <a:prstGeom prst="rect">
            <a:avLst/>
          </a:prstGeom>
          <a:blipFill>
            <a:blip r:embed="rId3"/>
            <a:stretch>
              <a:fillRect/>
            </a:stretch>
          </a:blipFill>
        </p:spPr>
        <p:txBody>
          <a:bodyPr/>
          <a:lstStyle>
            <a:lvl1pPr>
              <a:defRPr>
                <a:noFill/>
              </a:defRPr>
            </a:lvl1pPr>
          </a:lstStyle>
          <a:p>
            <a:endParaRPr lang="en-US"/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5A865319-7E1E-4C7D-8F3D-C11C5F581DE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7004045" y="1612900"/>
            <a:ext cx="4480984" cy="819150"/>
          </a:xfrm>
        </p:spPr>
        <p:txBody>
          <a:bodyPr/>
          <a:lstStyle>
            <a:lvl1pPr>
              <a:defRPr sz="2000">
                <a:solidFill>
                  <a:schemeClr val="accent1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Insert short heading</a:t>
            </a:r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5008E675-2EF0-4050-B6BF-BA9467F9E5EA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6991349" y="2519363"/>
            <a:ext cx="4480981" cy="316177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A06037A2-F671-486F-93D2-B3874D8B347F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5037479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Picture Placeholder 19">
            <a:extLst>
              <a:ext uri="{FF2B5EF4-FFF2-40B4-BE49-F238E27FC236}">
                <a16:creationId xmlns:a16="http://schemas.microsoft.com/office/drawing/2014/main" id="{86194C40-6E11-4DA3-B3BE-A6141D676B1F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120996" y="765999"/>
            <a:ext cx="1145563" cy="1185333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>
            <a:noAutofit/>
          </a:bodyPr>
          <a:lstStyle>
            <a:lvl1pPr>
              <a:defRPr>
                <a:noFill/>
              </a:defRPr>
            </a:lvl1pPr>
          </a:lstStyle>
          <a:p>
            <a:endParaRPr lang="en-US"/>
          </a:p>
        </p:txBody>
      </p:sp>
      <p:sp>
        <p:nvSpPr>
          <p:cNvPr id="18" name="Picture Placeholder 17">
            <a:extLst>
              <a:ext uri="{FF2B5EF4-FFF2-40B4-BE49-F238E27FC236}">
                <a16:creationId xmlns:a16="http://schemas.microsoft.com/office/drawing/2014/main" id="{C620EEE8-4DE4-4E37-8E1D-712DBB6607A3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897574" y="-2"/>
            <a:ext cx="4356399" cy="5965915"/>
          </a:xfrm>
          <a:custGeom>
            <a:avLst/>
            <a:gdLst>
              <a:gd name="connsiteX0" fmla="*/ 0 w 3267299"/>
              <a:gd name="connsiteY0" fmla="*/ 0 h 4474436"/>
              <a:gd name="connsiteX1" fmla="*/ 3267299 w 3267299"/>
              <a:gd name="connsiteY1" fmla="*/ 0 h 4474436"/>
              <a:gd name="connsiteX2" fmla="*/ 3267299 w 3267299"/>
              <a:gd name="connsiteY2" fmla="*/ 2840785 h 4474436"/>
              <a:gd name="connsiteX3" fmla="*/ 1633648 w 3267299"/>
              <a:gd name="connsiteY3" fmla="*/ 4474436 h 4474436"/>
              <a:gd name="connsiteX4" fmla="*/ 8432 w 3267299"/>
              <a:gd name="connsiteY4" fmla="*/ 3007817 h 4474436"/>
              <a:gd name="connsiteX5" fmla="*/ 0 w 3267299"/>
              <a:gd name="connsiteY5" fmla="*/ 2840845 h 44744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267299" h="4474436">
                <a:moveTo>
                  <a:pt x="0" y="0"/>
                </a:moveTo>
                <a:lnTo>
                  <a:pt x="3267299" y="0"/>
                </a:lnTo>
                <a:lnTo>
                  <a:pt x="3267299" y="2840785"/>
                </a:lnTo>
                <a:cubicBezTo>
                  <a:pt x="3267299" y="3743026"/>
                  <a:pt x="2535889" y="4474436"/>
                  <a:pt x="1633648" y="4474436"/>
                </a:cubicBezTo>
                <a:cubicBezTo>
                  <a:pt x="787797" y="4474436"/>
                  <a:pt x="92091" y="3831595"/>
                  <a:pt x="8432" y="3007817"/>
                </a:cubicBezTo>
                <a:lnTo>
                  <a:pt x="0" y="2840845"/>
                </a:lnTo>
                <a:close/>
              </a:path>
            </a:pathLst>
          </a:custGeom>
          <a:solidFill>
            <a:srgbClr val="EDF1F6"/>
          </a:solidFill>
        </p:spPr>
        <p:txBody>
          <a:bodyPr wrap="square">
            <a:noAutofit/>
          </a:bodyPr>
          <a:lstStyle/>
          <a:p>
            <a:endParaRPr lang="en-US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9F867F5D-9CD7-FC4D-B4FB-2E81338228A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399461" y="1951332"/>
            <a:ext cx="4601633" cy="2861968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3200" b="0" i="0">
                <a:solidFill>
                  <a:schemeClr val="tx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endParaRPr lang="en-US" sz="3200">
              <a:solidFill>
                <a:schemeClr val="tx1"/>
              </a:solidFill>
              <a:latin typeface="CiscoSansTT ExtraLight" panose="020B0303020201020303" pitchFamily="34" charset="0"/>
              <a:cs typeface="CiscoSansTT ExtraLight" panose="020B0303020201020303" pitchFamily="34" charset="0"/>
              <a:sym typeface="Helvetica Neue Light"/>
            </a:endParaRPr>
          </a:p>
        </p:txBody>
      </p:sp>
      <p:sp>
        <p:nvSpPr>
          <p:cNvPr id="12" name="Text Placeholder 19">
            <a:extLst>
              <a:ext uri="{FF2B5EF4-FFF2-40B4-BE49-F238E27FC236}">
                <a16:creationId xmlns:a16="http://schemas.microsoft.com/office/drawing/2014/main" id="{96A8362E-13D9-D941-B2A9-35CCB7BD3F8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399460" y="4942183"/>
            <a:ext cx="4601633" cy="351903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333" b="0" i="0">
                <a:solidFill>
                  <a:schemeClr val="accent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defRPr>
            </a:lvl1pPr>
            <a:lvl2pPr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endParaRPr lang="en-US" sz="1467">
              <a:solidFill>
                <a:schemeClr val="accent1"/>
              </a:solidFill>
              <a:latin typeface="CiscoSansTT ExtraLight" panose="020B0303020201020303" pitchFamily="34" charset="0"/>
              <a:ea typeface="Helvetica Neue"/>
              <a:cs typeface="CiscoSansTT ExtraLight" panose="020B0303020201020303" pitchFamily="34" charset="0"/>
              <a:sym typeface="Helvetica Neue"/>
            </a:endParaRPr>
          </a:p>
        </p:txBody>
      </p:sp>
      <p:sp>
        <p:nvSpPr>
          <p:cNvPr id="21" name="Picture Placeholder 19">
            <a:extLst>
              <a:ext uri="{FF2B5EF4-FFF2-40B4-BE49-F238E27FC236}">
                <a16:creationId xmlns:a16="http://schemas.microsoft.com/office/drawing/2014/main" id="{C43F95A5-2533-4A68-8ED4-1D3CF60825C6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0219759" y="4813300"/>
            <a:ext cx="1145563" cy="1185333"/>
          </a:xfrm>
          <a:prstGeom prst="rect">
            <a:avLst/>
          </a:prstGeom>
          <a:blipFill>
            <a:blip r:embed="rId3"/>
            <a:stretch>
              <a:fillRect/>
            </a:stretch>
          </a:blipFill>
        </p:spPr>
        <p:txBody>
          <a:bodyPr>
            <a:noAutofit/>
          </a:bodyPr>
          <a:lstStyle>
            <a:lvl1pPr>
              <a:defRPr>
                <a:noFill/>
              </a:defRPr>
            </a:lvl1pPr>
          </a:lstStyle>
          <a:p>
            <a:endParaRPr lang="en-US"/>
          </a:p>
        </p:txBody>
      </p:sp>
      <p:sp>
        <p:nvSpPr>
          <p:cNvPr id="22" name="Picture Placeholder 5">
            <a:extLst>
              <a:ext uri="{FF2B5EF4-FFF2-40B4-BE49-F238E27FC236}">
                <a16:creationId xmlns:a16="http://schemas.microsoft.com/office/drawing/2014/main" id="{FD17670E-DFD7-49FC-8D4B-30DF985FAD9D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861979" y="1697567"/>
            <a:ext cx="508405" cy="414528"/>
          </a:xfrm>
          <a:prstGeom prst="rect">
            <a:avLst/>
          </a:prstGeom>
          <a:blipFill>
            <a:blip r:embed="rId4"/>
            <a:stretch>
              <a:fillRect/>
            </a:stretch>
          </a:blipFill>
        </p:spPr>
        <p:txBody>
          <a:bodyPr>
            <a:noAutofit/>
          </a:bodyPr>
          <a:lstStyle>
            <a:lvl1pPr>
              <a:defRPr>
                <a:noFill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02951436"/>
      </p:ext>
    </p:extLst>
  </p:cSld>
  <p:clrMapOvr>
    <a:masterClrMapping/>
  </p:clrMapOvr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628178E9-5DA9-44DD-AADF-420059B1CD5D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10591799" y="488950"/>
            <a:ext cx="1301751" cy="1301751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>
                <a:noFill/>
              </a:defRPr>
            </a:lvl1pPr>
          </a:lstStyle>
          <a:p>
            <a:endParaRPr lang="en-US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F78B2954-CFD9-4530-9B20-E3B0177074C0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21434" y="1044900"/>
            <a:ext cx="6670565" cy="4873997"/>
          </a:xfrm>
          <a:custGeom>
            <a:avLst/>
            <a:gdLst>
              <a:gd name="connsiteX0" fmla="*/ 1827750 w 5002924"/>
              <a:gd name="connsiteY0" fmla="*/ 0 h 3655498"/>
              <a:gd name="connsiteX1" fmla="*/ 5002924 w 5002924"/>
              <a:gd name="connsiteY1" fmla="*/ 0 h 3655498"/>
              <a:gd name="connsiteX2" fmla="*/ 5002924 w 5002924"/>
              <a:gd name="connsiteY2" fmla="*/ 3655498 h 3655498"/>
              <a:gd name="connsiteX3" fmla="*/ 1827711 w 5002924"/>
              <a:gd name="connsiteY3" fmla="*/ 3655498 h 3655498"/>
              <a:gd name="connsiteX4" fmla="*/ 1640874 w 5002924"/>
              <a:gd name="connsiteY4" fmla="*/ 3646064 h 3655498"/>
              <a:gd name="connsiteX5" fmla="*/ 0 w 5002924"/>
              <a:gd name="connsiteY5" fmla="*/ 1827750 h 3655498"/>
              <a:gd name="connsiteX6" fmla="*/ 1827750 w 5002924"/>
              <a:gd name="connsiteY6" fmla="*/ 0 h 36554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002924" h="3655498">
                <a:moveTo>
                  <a:pt x="1827750" y="0"/>
                </a:moveTo>
                <a:lnTo>
                  <a:pt x="5002924" y="0"/>
                </a:lnTo>
                <a:lnTo>
                  <a:pt x="5002924" y="3655498"/>
                </a:lnTo>
                <a:lnTo>
                  <a:pt x="1827711" y="3655498"/>
                </a:lnTo>
                <a:lnTo>
                  <a:pt x="1640874" y="3646064"/>
                </a:lnTo>
                <a:cubicBezTo>
                  <a:pt x="719220" y="3552465"/>
                  <a:pt x="0" y="2774098"/>
                  <a:pt x="0" y="1827750"/>
                </a:cubicBezTo>
                <a:cubicBezTo>
                  <a:pt x="0" y="818312"/>
                  <a:pt x="818312" y="0"/>
                  <a:pt x="1827750" y="0"/>
                </a:cubicBezTo>
                <a:close/>
              </a:path>
            </a:pathLst>
          </a:custGeom>
          <a:solidFill>
            <a:srgbClr val="F5F6F9"/>
          </a:solidFill>
        </p:spPr>
        <p:txBody>
          <a:bodyPr wrap="square">
            <a:noAutofit/>
          </a:bodyPr>
          <a:lstStyle/>
          <a:p>
            <a:endParaRPr lang="en-US"/>
          </a:p>
        </p:txBody>
      </p:sp>
      <p:sp>
        <p:nvSpPr>
          <p:cNvPr id="12" name="Picture Placeholder 10">
            <a:extLst>
              <a:ext uri="{FF2B5EF4-FFF2-40B4-BE49-F238E27FC236}">
                <a16:creationId xmlns:a16="http://schemas.microsoft.com/office/drawing/2014/main" id="{0CCB00C6-BCBD-452F-819F-42406F8787EE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629399" y="5283200"/>
            <a:ext cx="984253" cy="984251"/>
          </a:xfrm>
          <a:prstGeom prst="rect">
            <a:avLst/>
          </a:prstGeom>
          <a:blipFill>
            <a:blip r:embed="rId3"/>
            <a:stretch>
              <a:fillRect/>
            </a:stretch>
          </a:blipFill>
        </p:spPr>
        <p:txBody>
          <a:bodyPr/>
          <a:lstStyle>
            <a:lvl1pPr>
              <a:defRPr>
                <a:noFill/>
              </a:defRPr>
            </a:lvl1pPr>
          </a:lstStyle>
          <a:p>
            <a:endParaRPr lang="en-US"/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41E0EB8A-C974-4157-ACB5-9C435793D71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719667" y="2967568"/>
            <a:ext cx="4029048" cy="2701396"/>
          </a:xfrm>
          <a:prstGeom prst="rect">
            <a:avLst/>
          </a:prstGeom>
        </p:spPr>
        <p:txBody>
          <a:bodyPr/>
          <a:lstStyle>
            <a:lvl1pPr marL="0" indent="0">
              <a:spcAft>
                <a:spcPts val="1600"/>
              </a:spcAft>
              <a:buFont typeface="Arial" panose="020B0604020202020204" pitchFamily="34" charset="0"/>
              <a:buNone/>
              <a:defRPr>
                <a:solidFill>
                  <a:schemeClr val="bg2"/>
                </a:solidFill>
                <a:latin typeface="+mn-lt"/>
              </a:defRPr>
            </a:lvl1pPr>
            <a:lvl2pPr marL="0" indent="0">
              <a:spcAft>
                <a:spcPts val="1600"/>
              </a:spcAft>
              <a:buFont typeface="Arial" panose="020B0604020202020204" pitchFamily="34" charset="0"/>
              <a:buNone/>
              <a:defRPr>
                <a:solidFill>
                  <a:schemeClr val="bg2"/>
                </a:solidFill>
                <a:latin typeface="+mn-lt"/>
              </a:defRPr>
            </a:lvl2pPr>
            <a:lvl3pPr marL="0" indent="0">
              <a:spcAft>
                <a:spcPts val="1600"/>
              </a:spcAft>
              <a:buFont typeface="Arial" panose="020B0604020202020204" pitchFamily="34" charset="0"/>
              <a:buNone/>
              <a:defRPr>
                <a:solidFill>
                  <a:schemeClr val="bg2"/>
                </a:solidFill>
                <a:latin typeface="+mn-lt"/>
              </a:defRPr>
            </a:lvl3pPr>
            <a:lvl4pPr marL="0" indent="0">
              <a:spcAft>
                <a:spcPts val="1600"/>
              </a:spcAft>
              <a:buFont typeface="Arial" panose="020B0604020202020204" pitchFamily="34" charset="0"/>
              <a:buNone/>
              <a:defRPr>
                <a:solidFill>
                  <a:schemeClr val="bg2"/>
                </a:solidFill>
                <a:latin typeface="+mn-lt"/>
              </a:defRPr>
            </a:lvl4pPr>
            <a:lvl5pPr marL="0" indent="0">
              <a:spcAft>
                <a:spcPts val="1600"/>
              </a:spcAft>
              <a:buFont typeface="Arial" panose="020B0604020202020204" pitchFamily="34" charset="0"/>
              <a:buNone/>
              <a:defRPr>
                <a:solidFill>
                  <a:schemeClr val="bg2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3FB6EE8-88E3-4BE5-841A-466E49FAAF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667" y="1155702"/>
            <a:ext cx="4029047" cy="136313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400208627"/>
      </p:ext>
    </p:extLst>
  </p:cSld>
  <p:clrMapOvr>
    <a:masterClrMapping/>
  </p:clrMapOvr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Text Placeholder 2">
            <a:extLst>
              <a:ext uri="{FF2B5EF4-FFF2-40B4-BE49-F238E27FC236}">
                <a16:creationId xmlns:a16="http://schemas.microsoft.com/office/drawing/2014/main" id="{78F8D08E-BDEF-4257-B4AF-8D45C9769B8D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400180" y="1719170"/>
            <a:ext cx="1974556" cy="756855"/>
          </a:xfrm>
        </p:spPr>
        <p:txBody>
          <a:bodyPr/>
          <a:lstStyle>
            <a:lvl1pPr>
              <a:defRPr sz="1200">
                <a:solidFill>
                  <a:schemeClr val="bg2"/>
                </a:solidFill>
              </a:defRPr>
            </a:lvl1pPr>
            <a:lvl5pPr>
              <a:defRPr/>
            </a:lvl5pPr>
          </a:lstStyle>
          <a:p>
            <a:pPr lvl="0"/>
            <a:r>
              <a:rPr lang="en-US"/>
              <a:t>Insert short description here</a:t>
            </a:r>
          </a:p>
        </p:txBody>
      </p:sp>
      <p:cxnSp>
        <p:nvCxnSpPr>
          <p:cNvPr id="6" name="Google Shape;1224;p213">
            <a:extLst>
              <a:ext uri="{FF2B5EF4-FFF2-40B4-BE49-F238E27FC236}">
                <a16:creationId xmlns:a16="http://schemas.microsoft.com/office/drawing/2014/main" id="{68C67C1E-F7FA-5548-8B9F-05D1053DB46A}"/>
              </a:ext>
            </a:extLst>
          </p:cNvPr>
          <p:cNvCxnSpPr/>
          <p:nvPr userDrawn="1"/>
        </p:nvCxnSpPr>
        <p:spPr>
          <a:xfrm>
            <a:off x="6400180" y="1170769"/>
            <a:ext cx="638000" cy="0"/>
          </a:xfrm>
          <a:prstGeom prst="straightConnector1">
            <a:avLst/>
          </a:prstGeom>
          <a:noFill/>
          <a:ln w="28575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</p:cxnSp>
      <p:cxnSp>
        <p:nvCxnSpPr>
          <p:cNvPr id="11" name="Google Shape;1229;p213">
            <a:extLst>
              <a:ext uri="{FF2B5EF4-FFF2-40B4-BE49-F238E27FC236}">
                <a16:creationId xmlns:a16="http://schemas.microsoft.com/office/drawing/2014/main" id="{FE8EF11A-BCE2-694B-9DCE-BD54298E5B40}"/>
              </a:ext>
            </a:extLst>
          </p:cNvPr>
          <p:cNvCxnSpPr/>
          <p:nvPr userDrawn="1"/>
        </p:nvCxnSpPr>
        <p:spPr>
          <a:xfrm>
            <a:off x="6400180" y="2883469"/>
            <a:ext cx="638000" cy="0"/>
          </a:xfrm>
          <a:prstGeom prst="straightConnector1">
            <a:avLst/>
          </a:prstGeom>
          <a:noFill/>
          <a:ln w="28575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</p:cxnSp>
      <p:cxnSp>
        <p:nvCxnSpPr>
          <p:cNvPr id="17" name="Google Shape;1235;p213">
            <a:extLst>
              <a:ext uri="{FF2B5EF4-FFF2-40B4-BE49-F238E27FC236}">
                <a16:creationId xmlns:a16="http://schemas.microsoft.com/office/drawing/2014/main" id="{C0F4385B-5632-1248-B982-AE73BA738930}"/>
              </a:ext>
            </a:extLst>
          </p:cNvPr>
          <p:cNvCxnSpPr/>
          <p:nvPr userDrawn="1"/>
        </p:nvCxnSpPr>
        <p:spPr>
          <a:xfrm>
            <a:off x="9258924" y="1170769"/>
            <a:ext cx="638000" cy="0"/>
          </a:xfrm>
          <a:prstGeom prst="straightConnector1">
            <a:avLst/>
          </a:prstGeom>
          <a:noFill/>
          <a:ln w="28575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</p:cxnSp>
      <p:cxnSp>
        <p:nvCxnSpPr>
          <p:cNvPr id="20" name="Google Shape;1238;p213">
            <a:extLst>
              <a:ext uri="{FF2B5EF4-FFF2-40B4-BE49-F238E27FC236}">
                <a16:creationId xmlns:a16="http://schemas.microsoft.com/office/drawing/2014/main" id="{EEF9B179-41FC-8140-81B8-5373ECB284D4}"/>
              </a:ext>
            </a:extLst>
          </p:cNvPr>
          <p:cNvCxnSpPr/>
          <p:nvPr userDrawn="1"/>
        </p:nvCxnSpPr>
        <p:spPr>
          <a:xfrm>
            <a:off x="9258924" y="2883469"/>
            <a:ext cx="638000" cy="0"/>
          </a:xfrm>
          <a:prstGeom prst="straightConnector1">
            <a:avLst/>
          </a:prstGeom>
          <a:noFill/>
          <a:ln w="28575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34" name="Text Placeholder 33">
            <a:extLst>
              <a:ext uri="{FF2B5EF4-FFF2-40B4-BE49-F238E27FC236}">
                <a16:creationId xmlns:a16="http://schemas.microsoft.com/office/drawing/2014/main" id="{E4F1703F-FD14-2747-80D3-F176B49F55A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400180" y="1321922"/>
            <a:ext cx="1974851" cy="383116"/>
          </a:xfrm>
          <a:prstGeom prst="rect">
            <a:avLst/>
          </a:prstGeom>
        </p:spPr>
        <p:txBody>
          <a:bodyPr/>
          <a:lstStyle>
            <a:lvl1pPr>
              <a:defRPr b="0" i="0">
                <a:solidFill>
                  <a:schemeClr val="tx1"/>
                </a:solidFill>
                <a:latin typeface="CiscoSansTT" panose="020B0503020201020303" pitchFamily="34" charset="0"/>
                <a:cs typeface="CiscoSansTT" panose="020B0503020201020303" pitchFamily="34" charset="0"/>
              </a:defRPr>
            </a:lvl1pPr>
          </a:lstStyle>
          <a:p>
            <a:pPr lvl="0"/>
            <a:r>
              <a:rPr lang="en-GB"/>
              <a:t>Lorem</a:t>
            </a:r>
            <a:endParaRPr lang="en-US"/>
          </a:p>
        </p:txBody>
      </p:sp>
      <p:sp>
        <p:nvSpPr>
          <p:cNvPr id="36" name="Text Placeholder 33">
            <a:extLst>
              <a:ext uri="{FF2B5EF4-FFF2-40B4-BE49-F238E27FC236}">
                <a16:creationId xmlns:a16="http://schemas.microsoft.com/office/drawing/2014/main" id="{738D0011-FE5C-6641-AED1-0F6D9B42410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258924" y="1316567"/>
            <a:ext cx="1974851" cy="383116"/>
          </a:xfrm>
          <a:prstGeom prst="rect">
            <a:avLst/>
          </a:prstGeom>
        </p:spPr>
        <p:txBody>
          <a:bodyPr/>
          <a:lstStyle>
            <a:lvl1pPr>
              <a:defRPr b="0" i="0">
                <a:solidFill>
                  <a:schemeClr val="tx1"/>
                </a:solidFill>
                <a:latin typeface="CiscoSansTT" panose="020B0503020201020303" pitchFamily="34" charset="0"/>
                <a:cs typeface="CiscoSansTT" panose="020B0503020201020303" pitchFamily="34" charset="0"/>
              </a:defRPr>
            </a:lvl1pPr>
          </a:lstStyle>
          <a:p>
            <a:pPr lvl="0"/>
            <a:r>
              <a:rPr lang="en-GB"/>
              <a:t>Lorem</a:t>
            </a:r>
            <a:endParaRPr lang="en-US"/>
          </a:p>
        </p:txBody>
      </p:sp>
      <p:sp>
        <p:nvSpPr>
          <p:cNvPr id="37" name="Text Placeholder 33">
            <a:extLst>
              <a:ext uri="{FF2B5EF4-FFF2-40B4-BE49-F238E27FC236}">
                <a16:creationId xmlns:a16="http://schemas.microsoft.com/office/drawing/2014/main" id="{0C772D10-64AC-0A46-AC66-15F55CB301D4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400180" y="3033309"/>
            <a:ext cx="1974851" cy="383116"/>
          </a:xfrm>
          <a:prstGeom prst="rect">
            <a:avLst/>
          </a:prstGeom>
        </p:spPr>
        <p:txBody>
          <a:bodyPr/>
          <a:lstStyle>
            <a:lvl1pPr>
              <a:defRPr b="0" i="0">
                <a:solidFill>
                  <a:schemeClr val="tx1"/>
                </a:solidFill>
                <a:latin typeface="CiscoSansTT" panose="020B0503020201020303" pitchFamily="34" charset="0"/>
                <a:cs typeface="CiscoSansTT" panose="020B0503020201020303" pitchFamily="34" charset="0"/>
              </a:defRPr>
            </a:lvl1pPr>
          </a:lstStyle>
          <a:p>
            <a:pPr lvl="0"/>
            <a:r>
              <a:rPr lang="en-GB"/>
              <a:t>Lorem</a:t>
            </a:r>
            <a:endParaRPr lang="en-US"/>
          </a:p>
        </p:txBody>
      </p:sp>
      <p:sp>
        <p:nvSpPr>
          <p:cNvPr id="38" name="Text Placeholder 33">
            <a:extLst>
              <a:ext uri="{FF2B5EF4-FFF2-40B4-BE49-F238E27FC236}">
                <a16:creationId xmlns:a16="http://schemas.microsoft.com/office/drawing/2014/main" id="{AFD5C6FC-1D6D-804C-B9DB-5C348B87BB43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9258924" y="3027954"/>
            <a:ext cx="1974851" cy="383116"/>
          </a:xfrm>
          <a:prstGeom prst="rect">
            <a:avLst/>
          </a:prstGeom>
        </p:spPr>
        <p:txBody>
          <a:bodyPr/>
          <a:lstStyle>
            <a:lvl1pPr>
              <a:defRPr b="0" i="0">
                <a:solidFill>
                  <a:schemeClr val="tx1"/>
                </a:solidFill>
                <a:latin typeface="CiscoSansTT" panose="020B0503020201020303" pitchFamily="34" charset="0"/>
                <a:cs typeface="CiscoSansTT" panose="020B0503020201020303" pitchFamily="34" charset="0"/>
              </a:defRPr>
            </a:lvl1pPr>
          </a:lstStyle>
          <a:p>
            <a:pPr lvl="0"/>
            <a:r>
              <a:rPr lang="en-GB"/>
              <a:t>Lorem</a:t>
            </a:r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B2D0F69-DC62-4D67-8A64-70C1D1EC982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138" y="1612900"/>
            <a:ext cx="4318000" cy="1287516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21" name="Google Shape;1229;p213">
            <a:extLst>
              <a:ext uri="{FF2B5EF4-FFF2-40B4-BE49-F238E27FC236}">
                <a16:creationId xmlns:a16="http://schemas.microsoft.com/office/drawing/2014/main" id="{CEA0F091-302A-4927-A8DD-577AC767374D}"/>
              </a:ext>
            </a:extLst>
          </p:cNvPr>
          <p:cNvCxnSpPr/>
          <p:nvPr userDrawn="1"/>
        </p:nvCxnSpPr>
        <p:spPr>
          <a:xfrm>
            <a:off x="6400180" y="4585269"/>
            <a:ext cx="638000" cy="0"/>
          </a:xfrm>
          <a:prstGeom prst="straightConnector1">
            <a:avLst/>
          </a:prstGeom>
          <a:noFill/>
          <a:ln w="28575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</p:cxnSp>
      <p:cxnSp>
        <p:nvCxnSpPr>
          <p:cNvPr id="22" name="Google Shape;1238;p213">
            <a:extLst>
              <a:ext uri="{FF2B5EF4-FFF2-40B4-BE49-F238E27FC236}">
                <a16:creationId xmlns:a16="http://schemas.microsoft.com/office/drawing/2014/main" id="{A868F961-DC9F-4B48-8F97-A1686F674246}"/>
              </a:ext>
            </a:extLst>
          </p:cNvPr>
          <p:cNvCxnSpPr/>
          <p:nvPr userDrawn="1"/>
        </p:nvCxnSpPr>
        <p:spPr>
          <a:xfrm>
            <a:off x="9258924" y="4585269"/>
            <a:ext cx="638000" cy="0"/>
          </a:xfrm>
          <a:prstGeom prst="straightConnector1">
            <a:avLst/>
          </a:prstGeom>
          <a:noFill/>
          <a:ln w="28575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23" name="Text Placeholder 33">
            <a:extLst>
              <a:ext uri="{FF2B5EF4-FFF2-40B4-BE49-F238E27FC236}">
                <a16:creationId xmlns:a16="http://schemas.microsoft.com/office/drawing/2014/main" id="{83E8820D-8E81-4A56-9485-BB161CE50651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400180" y="4735109"/>
            <a:ext cx="1974851" cy="383116"/>
          </a:xfrm>
          <a:prstGeom prst="rect">
            <a:avLst/>
          </a:prstGeom>
        </p:spPr>
        <p:txBody>
          <a:bodyPr/>
          <a:lstStyle>
            <a:lvl1pPr>
              <a:defRPr b="0" i="0">
                <a:solidFill>
                  <a:schemeClr val="tx1"/>
                </a:solidFill>
                <a:latin typeface="CiscoSansTT" panose="020B0503020201020303" pitchFamily="34" charset="0"/>
                <a:cs typeface="CiscoSansTT" panose="020B0503020201020303" pitchFamily="34" charset="0"/>
              </a:defRPr>
            </a:lvl1pPr>
          </a:lstStyle>
          <a:p>
            <a:pPr lvl="0"/>
            <a:r>
              <a:rPr lang="en-GB"/>
              <a:t>Lorem</a:t>
            </a:r>
            <a:endParaRPr lang="en-US"/>
          </a:p>
        </p:txBody>
      </p:sp>
      <p:sp>
        <p:nvSpPr>
          <p:cNvPr id="24" name="Text Placeholder 33">
            <a:extLst>
              <a:ext uri="{FF2B5EF4-FFF2-40B4-BE49-F238E27FC236}">
                <a16:creationId xmlns:a16="http://schemas.microsoft.com/office/drawing/2014/main" id="{964F4B52-8FE5-47F3-A1CA-2A5857DF7364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9258924" y="4729754"/>
            <a:ext cx="1974851" cy="383116"/>
          </a:xfrm>
          <a:prstGeom prst="rect">
            <a:avLst/>
          </a:prstGeom>
        </p:spPr>
        <p:txBody>
          <a:bodyPr/>
          <a:lstStyle>
            <a:lvl1pPr>
              <a:defRPr b="0" i="0">
                <a:solidFill>
                  <a:schemeClr val="tx1"/>
                </a:solidFill>
                <a:latin typeface="CiscoSansTT" panose="020B0503020201020303" pitchFamily="34" charset="0"/>
                <a:cs typeface="CiscoSansTT" panose="020B0503020201020303" pitchFamily="34" charset="0"/>
              </a:defRPr>
            </a:lvl1pPr>
          </a:lstStyle>
          <a:p>
            <a:pPr lvl="0"/>
            <a:r>
              <a:rPr lang="en-GB"/>
              <a:t>Lorem</a:t>
            </a:r>
            <a:endParaRPr lang="en-US"/>
          </a:p>
        </p:txBody>
      </p:sp>
      <p:sp>
        <p:nvSpPr>
          <p:cNvPr id="27" name="Text Placeholder 4">
            <a:extLst>
              <a:ext uri="{FF2B5EF4-FFF2-40B4-BE49-F238E27FC236}">
                <a16:creationId xmlns:a16="http://schemas.microsoft.com/office/drawing/2014/main" id="{7E5ABB63-A528-43FA-881E-D107DD2EE06D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719138" y="2967039"/>
            <a:ext cx="4318000" cy="2244724"/>
          </a:xfrm>
        </p:spPr>
        <p:txBody>
          <a:bodyPr/>
          <a:lstStyle>
            <a:lvl1pPr>
              <a:defRPr sz="1800">
                <a:solidFill>
                  <a:schemeClr val="accent1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Insert short heading</a:t>
            </a:r>
          </a:p>
        </p:txBody>
      </p:sp>
      <p:sp>
        <p:nvSpPr>
          <p:cNvPr id="29" name="Text Placeholder 2">
            <a:extLst>
              <a:ext uri="{FF2B5EF4-FFF2-40B4-BE49-F238E27FC236}">
                <a16:creationId xmlns:a16="http://schemas.microsoft.com/office/drawing/2014/main" id="{4C7B152B-019D-4E76-9537-028F94E0CDA7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9258924" y="1719170"/>
            <a:ext cx="1974556" cy="756855"/>
          </a:xfrm>
        </p:spPr>
        <p:txBody>
          <a:bodyPr/>
          <a:lstStyle>
            <a:lvl1pPr>
              <a:defRPr sz="1200">
                <a:solidFill>
                  <a:schemeClr val="bg2"/>
                </a:solidFill>
              </a:defRPr>
            </a:lvl1pPr>
            <a:lvl5pPr>
              <a:defRPr/>
            </a:lvl5pPr>
          </a:lstStyle>
          <a:p>
            <a:pPr lvl="0"/>
            <a:r>
              <a:rPr lang="en-US"/>
              <a:t>Insert short description here</a:t>
            </a:r>
          </a:p>
        </p:txBody>
      </p:sp>
      <p:sp>
        <p:nvSpPr>
          <p:cNvPr id="30" name="Text Placeholder 2">
            <a:extLst>
              <a:ext uri="{FF2B5EF4-FFF2-40B4-BE49-F238E27FC236}">
                <a16:creationId xmlns:a16="http://schemas.microsoft.com/office/drawing/2014/main" id="{2451295A-018C-4213-AD54-3E6A0B68ADBE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400180" y="3425868"/>
            <a:ext cx="1974556" cy="756855"/>
          </a:xfrm>
        </p:spPr>
        <p:txBody>
          <a:bodyPr/>
          <a:lstStyle>
            <a:lvl1pPr>
              <a:defRPr sz="1200">
                <a:solidFill>
                  <a:schemeClr val="bg2"/>
                </a:solidFill>
              </a:defRPr>
            </a:lvl1pPr>
            <a:lvl5pPr>
              <a:defRPr/>
            </a:lvl5pPr>
          </a:lstStyle>
          <a:p>
            <a:pPr lvl="0"/>
            <a:r>
              <a:rPr lang="en-US"/>
              <a:t>Insert short description here</a:t>
            </a:r>
          </a:p>
        </p:txBody>
      </p:sp>
      <p:sp>
        <p:nvSpPr>
          <p:cNvPr id="31" name="Text Placeholder 2">
            <a:extLst>
              <a:ext uri="{FF2B5EF4-FFF2-40B4-BE49-F238E27FC236}">
                <a16:creationId xmlns:a16="http://schemas.microsoft.com/office/drawing/2014/main" id="{4DC19EF5-D238-4EDE-8372-F96F6D145E12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9258924" y="3425868"/>
            <a:ext cx="1974556" cy="756855"/>
          </a:xfrm>
        </p:spPr>
        <p:txBody>
          <a:bodyPr/>
          <a:lstStyle>
            <a:lvl1pPr>
              <a:defRPr sz="1200">
                <a:solidFill>
                  <a:schemeClr val="bg2"/>
                </a:solidFill>
              </a:defRPr>
            </a:lvl1pPr>
            <a:lvl5pPr>
              <a:defRPr/>
            </a:lvl5pPr>
          </a:lstStyle>
          <a:p>
            <a:pPr lvl="0"/>
            <a:r>
              <a:rPr lang="en-US"/>
              <a:t>Insert short description here</a:t>
            </a:r>
          </a:p>
        </p:txBody>
      </p:sp>
      <p:sp>
        <p:nvSpPr>
          <p:cNvPr id="39" name="Text Placeholder 2">
            <a:extLst>
              <a:ext uri="{FF2B5EF4-FFF2-40B4-BE49-F238E27FC236}">
                <a16:creationId xmlns:a16="http://schemas.microsoft.com/office/drawing/2014/main" id="{74C80095-E327-4754-A961-951C33E82A14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6400180" y="5124024"/>
            <a:ext cx="1974556" cy="756855"/>
          </a:xfrm>
        </p:spPr>
        <p:txBody>
          <a:bodyPr/>
          <a:lstStyle>
            <a:lvl1pPr>
              <a:defRPr sz="1200">
                <a:solidFill>
                  <a:schemeClr val="bg2"/>
                </a:solidFill>
              </a:defRPr>
            </a:lvl1pPr>
            <a:lvl5pPr>
              <a:defRPr/>
            </a:lvl5pPr>
          </a:lstStyle>
          <a:p>
            <a:pPr lvl="0"/>
            <a:r>
              <a:rPr lang="en-US"/>
              <a:t>Insert short description here</a:t>
            </a:r>
          </a:p>
        </p:txBody>
      </p:sp>
      <p:sp>
        <p:nvSpPr>
          <p:cNvPr id="42" name="Text Placeholder 2">
            <a:extLst>
              <a:ext uri="{FF2B5EF4-FFF2-40B4-BE49-F238E27FC236}">
                <a16:creationId xmlns:a16="http://schemas.microsoft.com/office/drawing/2014/main" id="{51CC7C50-6BB9-4426-8656-99F7CB1F1F14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9258924" y="5124024"/>
            <a:ext cx="1974556" cy="756855"/>
          </a:xfrm>
        </p:spPr>
        <p:txBody>
          <a:bodyPr/>
          <a:lstStyle>
            <a:lvl1pPr>
              <a:defRPr sz="1200">
                <a:solidFill>
                  <a:schemeClr val="bg2"/>
                </a:solidFill>
              </a:defRPr>
            </a:lvl1pPr>
            <a:lvl5pPr>
              <a:defRPr/>
            </a:lvl5pPr>
          </a:lstStyle>
          <a:p>
            <a:pPr lvl="0"/>
            <a:r>
              <a:rPr lang="en-US"/>
              <a:t>Insert short description here</a:t>
            </a:r>
          </a:p>
        </p:txBody>
      </p:sp>
    </p:spTree>
    <p:extLst>
      <p:ext uri="{BB962C8B-B14F-4D97-AF65-F5344CB8AC3E}">
        <p14:creationId xmlns:p14="http://schemas.microsoft.com/office/powerpoint/2010/main" val="1273424694"/>
      </p:ext>
    </p:extLst>
  </p:cSld>
  <p:clrMapOvr>
    <a:masterClrMapping/>
  </p:clrMapOvr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Closing Slide" preserve="1">
  <p:cSld name="Closing Slide">
    <p:bg>
      <p:bgRef idx="1001">
        <a:schemeClr val="bg2"/>
      </p:bgRef>
    </p:bg>
    <p:spTree>
      <p:nvGrpSpPr>
        <p:cNvPr id="1" name="Shape 17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>
            <a:extLst>
              <a:ext uri="{FF2B5EF4-FFF2-40B4-BE49-F238E27FC236}">
                <a16:creationId xmlns:a16="http://schemas.microsoft.com/office/drawing/2014/main" id="{F2E8120F-5B0E-4DE5-B130-9C49D2B24A32}"/>
              </a:ext>
            </a:extLst>
          </p:cNvPr>
          <p:cNvGrpSpPr/>
          <p:nvPr userDrawn="1"/>
        </p:nvGrpSpPr>
        <p:grpSpPr>
          <a:xfrm>
            <a:off x="3522511" y="3058751"/>
            <a:ext cx="5146980" cy="724599"/>
            <a:chOff x="2641883" y="2294063"/>
            <a:chExt cx="3860235" cy="543449"/>
          </a:xfrm>
        </p:grpSpPr>
        <p:grpSp>
          <p:nvGrpSpPr>
            <p:cNvPr id="5" name="Graphic 29">
              <a:extLst>
                <a:ext uri="{FF2B5EF4-FFF2-40B4-BE49-F238E27FC236}">
                  <a16:creationId xmlns:a16="http://schemas.microsoft.com/office/drawing/2014/main" id="{0A172D14-3CBF-4949-9AE4-311DECBD8083}"/>
                </a:ext>
              </a:extLst>
            </p:cNvPr>
            <p:cNvGrpSpPr/>
            <p:nvPr userDrawn="1"/>
          </p:nvGrpSpPr>
          <p:grpSpPr>
            <a:xfrm>
              <a:off x="3586197" y="2294063"/>
              <a:ext cx="2915921" cy="543449"/>
              <a:chOff x="4208467" y="3085570"/>
              <a:chExt cx="4752975" cy="885825"/>
            </a:xfrm>
            <a:solidFill>
              <a:srgbClr val="FFFFFF"/>
            </a:solidFill>
          </p:grpSpPr>
          <p:sp>
            <p:nvSpPr>
              <p:cNvPr id="7" name="Freeform: Shape 6">
                <a:extLst>
                  <a:ext uri="{FF2B5EF4-FFF2-40B4-BE49-F238E27FC236}">
                    <a16:creationId xmlns:a16="http://schemas.microsoft.com/office/drawing/2014/main" id="{14114964-F8BB-4F60-8206-4F087B8FA367}"/>
                  </a:ext>
                </a:extLst>
              </p:cNvPr>
              <p:cNvSpPr/>
              <p:nvPr/>
            </p:nvSpPr>
            <p:spPr>
              <a:xfrm>
                <a:off x="4215135" y="3085570"/>
                <a:ext cx="285750" cy="342900"/>
              </a:xfrm>
              <a:custGeom>
                <a:avLst/>
                <a:gdLst>
                  <a:gd name="connsiteX0" fmla="*/ 149542 w 285750"/>
                  <a:gd name="connsiteY0" fmla="*/ 322898 h 342900"/>
                  <a:gd name="connsiteX1" fmla="*/ 227647 w 285750"/>
                  <a:gd name="connsiteY1" fmla="*/ 294323 h 342900"/>
                  <a:gd name="connsiteX2" fmla="*/ 259080 w 285750"/>
                  <a:gd name="connsiteY2" fmla="*/ 228600 h 342900"/>
                  <a:gd name="connsiteX3" fmla="*/ 284797 w 285750"/>
                  <a:gd name="connsiteY3" fmla="*/ 228600 h 342900"/>
                  <a:gd name="connsiteX4" fmla="*/ 239077 w 285750"/>
                  <a:gd name="connsiteY4" fmla="*/ 315278 h 342900"/>
                  <a:gd name="connsiteX5" fmla="*/ 149542 w 285750"/>
                  <a:gd name="connsiteY5" fmla="*/ 345758 h 342900"/>
                  <a:gd name="connsiteX6" fmla="*/ 36195 w 285750"/>
                  <a:gd name="connsiteY6" fmla="*/ 293370 h 342900"/>
                  <a:gd name="connsiteX7" fmla="*/ 0 w 285750"/>
                  <a:gd name="connsiteY7" fmla="*/ 175260 h 342900"/>
                  <a:gd name="connsiteX8" fmla="*/ 48577 w 285750"/>
                  <a:gd name="connsiteY8" fmla="*/ 39053 h 342900"/>
                  <a:gd name="connsiteX9" fmla="*/ 150495 w 285750"/>
                  <a:gd name="connsiteY9" fmla="*/ 0 h 342900"/>
                  <a:gd name="connsiteX10" fmla="*/ 246697 w 285750"/>
                  <a:gd name="connsiteY10" fmla="*/ 32385 h 342900"/>
                  <a:gd name="connsiteX11" fmla="*/ 286702 w 285750"/>
                  <a:gd name="connsiteY11" fmla="*/ 106680 h 342900"/>
                  <a:gd name="connsiteX12" fmla="*/ 260985 w 285750"/>
                  <a:gd name="connsiteY12" fmla="*/ 106680 h 342900"/>
                  <a:gd name="connsiteX13" fmla="*/ 219075 w 285750"/>
                  <a:gd name="connsiteY13" fmla="*/ 40958 h 342900"/>
                  <a:gd name="connsiteX14" fmla="*/ 150495 w 285750"/>
                  <a:gd name="connsiteY14" fmla="*/ 21908 h 342900"/>
                  <a:gd name="connsiteX15" fmla="*/ 58102 w 285750"/>
                  <a:gd name="connsiteY15" fmla="*/ 66675 h 342900"/>
                  <a:gd name="connsiteX16" fmla="*/ 27622 w 285750"/>
                  <a:gd name="connsiteY16" fmla="*/ 175260 h 342900"/>
                  <a:gd name="connsiteX17" fmla="*/ 67627 w 285750"/>
                  <a:gd name="connsiteY17" fmla="*/ 288608 h 342900"/>
                  <a:gd name="connsiteX18" fmla="*/ 149542 w 285750"/>
                  <a:gd name="connsiteY18" fmla="*/ 322898 h 3429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285750" h="342900">
                    <a:moveTo>
                      <a:pt x="149542" y="322898"/>
                    </a:moveTo>
                    <a:cubicBezTo>
                      <a:pt x="181927" y="322898"/>
                      <a:pt x="207645" y="313373"/>
                      <a:pt x="227647" y="294323"/>
                    </a:cubicBezTo>
                    <a:cubicBezTo>
                      <a:pt x="245745" y="277178"/>
                      <a:pt x="256222" y="255270"/>
                      <a:pt x="259080" y="228600"/>
                    </a:cubicBezTo>
                    <a:lnTo>
                      <a:pt x="284797" y="228600"/>
                    </a:lnTo>
                    <a:cubicBezTo>
                      <a:pt x="280988" y="264795"/>
                      <a:pt x="265747" y="293370"/>
                      <a:pt x="239077" y="315278"/>
                    </a:cubicBezTo>
                    <a:cubicBezTo>
                      <a:pt x="214313" y="335280"/>
                      <a:pt x="184785" y="345758"/>
                      <a:pt x="149542" y="345758"/>
                    </a:cubicBezTo>
                    <a:cubicBezTo>
                      <a:pt x="100965" y="345758"/>
                      <a:pt x="63817" y="328613"/>
                      <a:pt x="36195" y="293370"/>
                    </a:cubicBezTo>
                    <a:cubicBezTo>
                      <a:pt x="11430" y="262890"/>
                      <a:pt x="0" y="223838"/>
                      <a:pt x="0" y="175260"/>
                    </a:cubicBezTo>
                    <a:cubicBezTo>
                      <a:pt x="0" y="116205"/>
                      <a:pt x="16192" y="70485"/>
                      <a:pt x="48577" y="39053"/>
                    </a:cubicBezTo>
                    <a:cubicBezTo>
                      <a:pt x="75247" y="13335"/>
                      <a:pt x="109538" y="0"/>
                      <a:pt x="150495" y="0"/>
                    </a:cubicBezTo>
                    <a:cubicBezTo>
                      <a:pt x="189547" y="0"/>
                      <a:pt x="220980" y="10478"/>
                      <a:pt x="246697" y="32385"/>
                    </a:cubicBezTo>
                    <a:cubicBezTo>
                      <a:pt x="268605" y="51435"/>
                      <a:pt x="281940" y="76200"/>
                      <a:pt x="286702" y="106680"/>
                    </a:cubicBezTo>
                    <a:lnTo>
                      <a:pt x="260985" y="106680"/>
                    </a:lnTo>
                    <a:cubicBezTo>
                      <a:pt x="255270" y="77153"/>
                      <a:pt x="241935" y="55245"/>
                      <a:pt x="219075" y="40958"/>
                    </a:cubicBezTo>
                    <a:cubicBezTo>
                      <a:pt x="200977" y="28575"/>
                      <a:pt x="178117" y="21908"/>
                      <a:pt x="150495" y="21908"/>
                    </a:cubicBezTo>
                    <a:cubicBezTo>
                      <a:pt x="111442" y="21908"/>
                      <a:pt x="80963" y="37148"/>
                      <a:pt x="58102" y="66675"/>
                    </a:cubicBezTo>
                    <a:cubicBezTo>
                      <a:pt x="37147" y="93345"/>
                      <a:pt x="27622" y="129540"/>
                      <a:pt x="27622" y="175260"/>
                    </a:cubicBezTo>
                    <a:cubicBezTo>
                      <a:pt x="27622" y="223838"/>
                      <a:pt x="40958" y="260985"/>
                      <a:pt x="67627" y="288608"/>
                    </a:cubicBezTo>
                    <a:cubicBezTo>
                      <a:pt x="87630" y="311468"/>
                      <a:pt x="115252" y="322898"/>
                      <a:pt x="149542" y="322898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2489">
                  <a:latin typeface="CiscoSansTT Light" panose="020B0503020201020303" pitchFamily="34" charset="0"/>
                  <a:cs typeface="CiscoSansTT Light" panose="020B0503020201020303" pitchFamily="34" charset="0"/>
                </a:endParaRPr>
              </a:p>
            </p:txBody>
          </p:sp>
          <p:sp>
            <p:nvSpPr>
              <p:cNvPr id="8" name="Freeform: Shape 7">
                <a:extLst>
                  <a:ext uri="{FF2B5EF4-FFF2-40B4-BE49-F238E27FC236}">
                    <a16:creationId xmlns:a16="http://schemas.microsoft.com/office/drawing/2014/main" id="{CCC4FD87-FD89-4B76-9ACC-3A4FB1A981E4}"/>
                  </a:ext>
                </a:extLst>
              </p:cNvPr>
              <p:cNvSpPr/>
              <p:nvPr/>
            </p:nvSpPr>
            <p:spPr>
              <a:xfrm>
                <a:off x="4544699" y="3092237"/>
                <a:ext cx="28575" cy="323850"/>
              </a:xfrm>
              <a:custGeom>
                <a:avLst/>
                <a:gdLst>
                  <a:gd name="connsiteX0" fmla="*/ 29528 w 28575"/>
                  <a:gd name="connsiteY0" fmla="*/ 34290 h 323850"/>
                  <a:gd name="connsiteX1" fmla="*/ 0 w 28575"/>
                  <a:gd name="connsiteY1" fmla="*/ 34290 h 323850"/>
                  <a:gd name="connsiteX2" fmla="*/ 0 w 28575"/>
                  <a:gd name="connsiteY2" fmla="*/ 0 h 323850"/>
                  <a:gd name="connsiteX3" fmla="*/ 29528 w 28575"/>
                  <a:gd name="connsiteY3" fmla="*/ 0 h 323850"/>
                  <a:gd name="connsiteX4" fmla="*/ 29528 w 28575"/>
                  <a:gd name="connsiteY4" fmla="*/ 34290 h 323850"/>
                  <a:gd name="connsiteX5" fmla="*/ 27623 w 28575"/>
                  <a:gd name="connsiteY5" fmla="*/ 332423 h 323850"/>
                  <a:gd name="connsiteX6" fmla="*/ 2858 w 28575"/>
                  <a:gd name="connsiteY6" fmla="*/ 332423 h 323850"/>
                  <a:gd name="connsiteX7" fmla="*/ 2858 w 28575"/>
                  <a:gd name="connsiteY7" fmla="*/ 92393 h 323850"/>
                  <a:gd name="connsiteX8" fmla="*/ 27623 w 28575"/>
                  <a:gd name="connsiteY8" fmla="*/ 92393 h 323850"/>
                  <a:gd name="connsiteX9" fmla="*/ 27623 w 28575"/>
                  <a:gd name="connsiteY9" fmla="*/ 332423 h 3238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28575" h="323850">
                    <a:moveTo>
                      <a:pt x="29528" y="34290"/>
                    </a:moveTo>
                    <a:lnTo>
                      <a:pt x="0" y="34290"/>
                    </a:lnTo>
                    <a:lnTo>
                      <a:pt x="0" y="0"/>
                    </a:lnTo>
                    <a:lnTo>
                      <a:pt x="29528" y="0"/>
                    </a:lnTo>
                    <a:lnTo>
                      <a:pt x="29528" y="34290"/>
                    </a:lnTo>
                    <a:close/>
                    <a:moveTo>
                      <a:pt x="27623" y="332423"/>
                    </a:moveTo>
                    <a:lnTo>
                      <a:pt x="2858" y="332423"/>
                    </a:lnTo>
                    <a:lnTo>
                      <a:pt x="2858" y="92393"/>
                    </a:lnTo>
                    <a:lnTo>
                      <a:pt x="27623" y="92393"/>
                    </a:lnTo>
                    <a:lnTo>
                      <a:pt x="27623" y="332423"/>
                    </a:ln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2489">
                  <a:latin typeface="CiscoSansTT Light" panose="020B0503020201020303" pitchFamily="34" charset="0"/>
                  <a:cs typeface="CiscoSansTT Light" panose="020B0503020201020303" pitchFamily="34" charset="0"/>
                </a:endParaRPr>
              </a:p>
            </p:txBody>
          </p:sp>
          <p:sp>
            <p:nvSpPr>
              <p:cNvPr id="9" name="Freeform: Shape 8">
                <a:extLst>
                  <a:ext uri="{FF2B5EF4-FFF2-40B4-BE49-F238E27FC236}">
                    <a16:creationId xmlns:a16="http://schemas.microsoft.com/office/drawing/2014/main" id="{7B244809-8CCE-49C2-8048-F167F8AAB089}"/>
                  </a:ext>
                </a:extLst>
              </p:cNvPr>
              <p:cNvSpPr/>
              <p:nvPr/>
            </p:nvSpPr>
            <p:spPr>
              <a:xfrm>
                <a:off x="4616137" y="3177962"/>
                <a:ext cx="190500" cy="247650"/>
              </a:xfrm>
              <a:custGeom>
                <a:avLst/>
                <a:gdLst>
                  <a:gd name="connsiteX0" fmla="*/ 164783 w 190500"/>
                  <a:gd name="connsiteY0" fmla="*/ 183833 h 247650"/>
                  <a:gd name="connsiteX1" fmla="*/ 143828 w 190500"/>
                  <a:gd name="connsiteY1" fmla="*/ 147638 h 247650"/>
                  <a:gd name="connsiteX2" fmla="*/ 86678 w 190500"/>
                  <a:gd name="connsiteY2" fmla="*/ 130493 h 247650"/>
                  <a:gd name="connsiteX3" fmla="*/ 8573 w 190500"/>
                  <a:gd name="connsiteY3" fmla="*/ 63818 h 247650"/>
                  <a:gd name="connsiteX4" fmla="*/ 33338 w 190500"/>
                  <a:gd name="connsiteY4" fmla="*/ 16192 h 247650"/>
                  <a:gd name="connsiteX5" fmla="*/ 95250 w 190500"/>
                  <a:gd name="connsiteY5" fmla="*/ 0 h 247650"/>
                  <a:gd name="connsiteX6" fmla="*/ 160973 w 190500"/>
                  <a:gd name="connsiteY6" fmla="*/ 20003 h 247650"/>
                  <a:gd name="connsiteX7" fmla="*/ 188595 w 190500"/>
                  <a:gd name="connsiteY7" fmla="*/ 65723 h 247650"/>
                  <a:gd name="connsiteX8" fmla="*/ 162878 w 190500"/>
                  <a:gd name="connsiteY8" fmla="*/ 65723 h 247650"/>
                  <a:gd name="connsiteX9" fmla="*/ 139065 w 190500"/>
                  <a:gd name="connsiteY9" fmla="*/ 31433 h 247650"/>
                  <a:gd name="connsiteX10" fmla="*/ 94298 w 190500"/>
                  <a:gd name="connsiteY10" fmla="*/ 20003 h 247650"/>
                  <a:gd name="connsiteX11" fmla="*/ 46673 w 190500"/>
                  <a:gd name="connsiteY11" fmla="*/ 34290 h 247650"/>
                  <a:gd name="connsiteX12" fmla="*/ 33338 w 190500"/>
                  <a:gd name="connsiteY12" fmla="*/ 61913 h 247650"/>
                  <a:gd name="connsiteX13" fmla="*/ 47625 w 190500"/>
                  <a:gd name="connsiteY13" fmla="*/ 93345 h 247650"/>
                  <a:gd name="connsiteX14" fmla="*/ 100013 w 190500"/>
                  <a:gd name="connsiteY14" fmla="*/ 111443 h 247650"/>
                  <a:gd name="connsiteX15" fmla="*/ 171450 w 190500"/>
                  <a:gd name="connsiteY15" fmla="*/ 139065 h 247650"/>
                  <a:gd name="connsiteX16" fmla="*/ 190500 w 190500"/>
                  <a:gd name="connsiteY16" fmla="*/ 183833 h 247650"/>
                  <a:gd name="connsiteX17" fmla="*/ 161925 w 190500"/>
                  <a:gd name="connsiteY17" fmla="*/ 236220 h 247650"/>
                  <a:gd name="connsiteX18" fmla="*/ 96203 w 190500"/>
                  <a:gd name="connsiteY18" fmla="*/ 255270 h 247650"/>
                  <a:gd name="connsiteX19" fmla="*/ 25718 w 190500"/>
                  <a:gd name="connsiteY19" fmla="*/ 233363 h 247650"/>
                  <a:gd name="connsiteX20" fmla="*/ 0 w 190500"/>
                  <a:gd name="connsiteY20" fmla="*/ 184785 h 247650"/>
                  <a:gd name="connsiteX21" fmla="*/ 25718 w 190500"/>
                  <a:gd name="connsiteY21" fmla="*/ 184785 h 247650"/>
                  <a:gd name="connsiteX22" fmla="*/ 49530 w 190500"/>
                  <a:gd name="connsiteY22" fmla="*/ 222885 h 247650"/>
                  <a:gd name="connsiteX23" fmla="*/ 96203 w 190500"/>
                  <a:gd name="connsiteY23" fmla="*/ 235268 h 247650"/>
                  <a:gd name="connsiteX24" fmla="*/ 148590 w 190500"/>
                  <a:gd name="connsiteY24" fmla="*/ 218122 h 247650"/>
                  <a:gd name="connsiteX25" fmla="*/ 164783 w 190500"/>
                  <a:gd name="connsiteY25" fmla="*/ 183833 h 2476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</a:cxnLst>
                <a:rect l="l" t="t" r="r" b="b"/>
                <a:pathLst>
                  <a:path w="190500" h="247650">
                    <a:moveTo>
                      <a:pt x="164783" y="183833"/>
                    </a:moveTo>
                    <a:cubicBezTo>
                      <a:pt x="164783" y="167640"/>
                      <a:pt x="158115" y="156210"/>
                      <a:pt x="143828" y="147638"/>
                    </a:cubicBezTo>
                    <a:cubicBezTo>
                      <a:pt x="132398" y="140970"/>
                      <a:pt x="113348" y="135255"/>
                      <a:pt x="86678" y="130493"/>
                    </a:cubicBezTo>
                    <a:cubicBezTo>
                      <a:pt x="34290" y="121920"/>
                      <a:pt x="8573" y="99060"/>
                      <a:pt x="8573" y="63818"/>
                    </a:cubicBezTo>
                    <a:cubicBezTo>
                      <a:pt x="8573" y="43815"/>
                      <a:pt x="17145" y="27623"/>
                      <a:pt x="33338" y="16192"/>
                    </a:cubicBezTo>
                    <a:cubicBezTo>
                      <a:pt x="48578" y="5715"/>
                      <a:pt x="69533" y="0"/>
                      <a:pt x="95250" y="0"/>
                    </a:cubicBezTo>
                    <a:cubicBezTo>
                      <a:pt x="121920" y="0"/>
                      <a:pt x="143828" y="6667"/>
                      <a:pt x="160973" y="20003"/>
                    </a:cubicBezTo>
                    <a:cubicBezTo>
                      <a:pt x="176213" y="32385"/>
                      <a:pt x="185738" y="47625"/>
                      <a:pt x="188595" y="65723"/>
                    </a:cubicBezTo>
                    <a:lnTo>
                      <a:pt x="162878" y="65723"/>
                    </a:lnTo>
                    <a:cubicBezTo>
                      <a:pt x="160973" y="51435"/>
                      <a:pt x="152400" y="40005"/>
                      <a:pt x="139065" y="31433"/>
                    </a:cubicBezTo>
                    <a:cubicBezTo>
                      <a:pt x="126683" y="23813"/>
                      <a:pt x="111443" y="20003"/>
                      <a:pt x="94298" y="20003"/>
                    </a:cubicBezTo>
                    <a:cubicBezTo>
                      <a:pt x="73343" y="20003"/>
                      <a:pt x="57150" y="24765"/>
                      <a:pt x="46673" y="34290"/>
                    </a:cubicBezTo>
                    <a:cubicBezTo>
                      <a:pt x="38100" y="40958"/>
                      <a:pt x="33338" y="50483"/>
                      <a:pt x="33338" y="61913"/>
                    </a:cubicBezTo>
                    <a:cubicBezTo>
                      <a:pt x="33338" y="75248"/>
                      <a:pt x="38100" y="85725"/>
                      <a:pt x="47625" y="93345"/>
                    </a:cubicBezTo>
                    <a:cubicBezTo>
                      <a:pt x="57150" y="100965"/>
                      <a:pt x="75248" y="106680"/>
                      <a:pt x="100013" y="111443"/>
                    </a:cubicBezTo>
                    <a:cubicBezTo>
                      <a:pt x="133350" y="118110"/>
                      <a:pt x="157163" y="126683"/>
                      <a:pt x="171450" y="139065"/>
                    </a:cubicBezTo>
                    <a:cubicBezTo>
                      <a:pt x="183833" y="149543"/>
                      <a:pt x="190500" y="164783"/>
                      <a:pt x="190500" y="183833"/>
                    </a:cubicBezTo>
                    <a:cubicBezTo>
                      <a:pt x="190500" y="205740"/>
                      <a:pt x="180975" y="222885"/>
                      <a:pt x="161925" y="236220"/>
                    </a:cubicBezTo>
                    <a:cubicBezTo>
                      <a:pt x="144780" y="248603"/>
                      <a:pt x="122873" y="255270"/>
                      <a:pt x="96203" y="255270"/>
                    </a:cubicBezTo>
                    <a:cubicBezTo>
                      <a:pt x="66675" y="255270"/>
                      <a:pt x="42863" y="247650"/>
                      <a:pt x="25718" y="233363"/>
                    </a:cubicBezTo>
                    <a:cubicBezTo>
                      <a:pt x="11430" y="220980"/>
                      <a:pt x="2858" y="204788"/>
                      <a:pt x="0" y="184785"/>
                    </a:cubicBezTo>
                    <a:lnTo>
                      <a:pt x="25718" y="184785"/>
                    </a:lnTo>
                    <a:cubicBezTo>
                      <a:pt x="27623" y="200978"/>
                      <a:pt x="35243" y="214313"/>
                      <a:pt x="49530" y="222885"/>
                    </a:cubicBezTo>
                    <a:cubicBezTo>
                      <a:pt x="61913" y="230505"/>
                      <a:pt x="77153" y="235268"/>
                      <a:pt x="96203" y="235268"/>
                    </a:cubicBezTo>
                    <a:cubicBezTo>
                      <a:pt x="119063" y="235268"/>
                      <a:pt x="136208" y="229553"/>
                      <a:pt x="148590" y="218122"/>
                    </a:cubicBezTo>
                    <a:cubicBezTo>
                      <a:pt x="160020" y="206693"/>
                      <a:pt x="164783" y="196215"/>
                      <a:pt x="164783" y="183833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2489">
                  <a:latin typeface="CiscoSansTT Light" panose="020B0503020201020303" pitchFamily="34" charset="0"/>
                  <a:cs typeface="CiscoSansTT Light" panose="020B0503020201020303" pitchFamily="34" charset="0"/>
                </a:endParaRPr>
              </a:p>
            </p:txBody>
          </p:sp>
          <p:sp>
            <p:nvSpPr>
              <p:cNvPr id="10" name="Freeform: Shape 9">
                <a:extLst>
                  <a:ext uri="{FF2B5EF4-FFF2-40B4-BE49-F238E27FC236}">
                    <a16:creationId xmlns:a16="http://schemas.microsoft.com/office/drawing/2014/main" id="{C1A3968A-1BCA-4C5D-A55D-7F2B0758390C}"/>
                  </a:ext>
                </a:extLst>
              </p:cNvPr>
              <p:cNvSpPr/>
              <p:nvPr/>
            </p:nvSpPr>
            <p:spPr>
              <a:xfrm>
                <a:off x="4843785" y="3177010"/>
                <a:ext cx="200025" cy="247650"/>
              </a:xfrm>
              <a:custGeom>
                <a:avLst/>
                <a:gdLst>
                  <a:gd name="connsiteX0" fmla="*/ 179070 w 200025"/>
                  <a:gd name="connsiteY0" fmla="*/ 177165 h 247650"/>
                  <a:gd name="connsiteX1" fmla="*/ 205740 w 200025"/>
                  <a:gd name="connsiteY1" fmla="*/ 177165 h 247650"/>
                  <a:gd name="connsiteX2" fmla="*/ 169545 w 200025"/>
                  <a:gd name="connsiteY2" fmla="*/ 235267 h 247650"/>
                  <a:gd name="connsiteX3" fmla="*/ 106680 w 200025"/>
                  <a:gd name="connsiteY3" fmla="*/ 254317 h 247650"/>
                  <a:gd name="connsiteX4" fmla="*/ 27622 w 200025"/>
                  <a:gd name="connsiteY4" fmla="*/ 218123 h 247650"/>
                  <a:gd name="connsiteX5" fmla="*/ 0 w 200025"/>
                  <a:gd name="connsiteY5" fmla="*/ 129540 h 247650"/>
                  <a:gd name="connsiteX6" fmla="*/ 35242 w 200025"/>
                  <a:gd name="connsiteY6" fmla="*/ 28575 h 247650"/>
                  <a:gd name="connsiteX7" fmla="*/ 107633 w 200025"/>
                  <a:gd name="connsiteY7" fmla="*/ 0 h 247650"/>
                  <a:gd name="connsiteX8" fmla="*/ 176213 w 200025"/>
                  <a:gd name="connsiteY8" fmla="*/ 22860 h 247650"/>
                  <a:gd name="connsiteX9" fmla="*/ 205740 w 200025"/>
                  <a:gd name="connsiteY9" fmla="*/ 73342 h 247650"/>
                  <a:gd name="connsiteX10" fmla="*/ 178117 w 200025"/>
                  <a:gd name="connsiteY10" fmla="*/ 73342 h 247650"/>
                  <a:gd name="connsiteX11" fmla="*/ 152400 w 200025"/>
                  <a:gd name="connsiteY11" fmla="*/ 33338 h 247650"/>
                  <a:gd name="connsiteX12" fmla="*/ 108585 w 200025"/>
                  <a:gd name="connsiteY12" fmla="*/ 20955 h 247650"/>
                  <a:gd name="connsiteX13" fmla="*/ 47625 w 200025"/>
                  <a:gd name="connsiteY13" fmla="*/ 51435 h 247650"/>
                  <a:gd name="connsiteX14" fmla="*/ 26670 w 200025"/>
                  <a:gd name="connsiteY14" fmla="*/ 129540 h 247650"/>
                  <a:gd name="connsiteX15" fmla="*/ 54292 w 200025"/>
                  <a:gd name="connsiteY15" fmla="*/ 210503 h 247650"/>
                  <a:gd name="connsiteX16" fmla="*/ 108585 w 200025"/>
                  <a:gd name="connsiteY16" fmla="*/ 232410 h 247650"/>
                  <a:gd name="connsiteX17" fmla="*/ 159067 w 200025"/>
                  <a:gd name="connsiteY17" fmla="*/ 215265 h 247650"/>
                  <a:gd name="connsiteX18" fmla="*/ 179070 w 200025"/>
                  <a:gd name="connsiteY18" fmla="*/ 177165 h 2476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200025" h="247650">
                    <a:moveTo>
                      <a:pt x="179070" y="177165"/>
                    </a:moveTo>
                    <a:lnTo>
                      <a:pt x="205740" y="177165"/>
                    </a:lnTo>
                    <a:cubicBezTo>
                      <a:pt x="201930" y="201930"/>
                      <a:pt x="189547" y="220980"/>
                      <a:pt x="169545" y="235267"/>
                    </a:cubicBezTo>
                    <a:cubicBezTo>
                      <a:pt x="152400" y="248603"/>
                      <a:pt x="130492" y="254317"/>
                      <a:pt x="106680" y="254317"/>
                    </a:cubicBezTo>
                    <a:cubicBezTo>
                      <a:pt x="73342" y="254317"/>
                      <a:pt x="46672" y="241935"/>
                      <a:pt x="27622" y="218123"/>
                    </a:cubicBezTo>
                    <a:cubicBezTo>
                      <a:pt x="9525" y="196215"/>
                      <a:pt x="0" y="166688"/>
                      <a:pt x="0" y="129540"/>
                    </a:cubicBezTo>
                    <a:cubicBezTo>
                      <a:pt x="0" y="85725"/>
                      <a:pt x="11430" y="52388"/>
                      <a:pt x="35242" y="28575"/>
                    </a:cubicBezTo>
                    <a:cubicBezTo>
                      <a:pt x="54292" y="9525"/>
                      <a:pt x="78105" y="0"/>
                      <a:pt x="107633" y="0"/>
                    </a:cubicBezTo>
                    <a:cubicBezTo>
                      <a:pt x="135255" y="0"/>
                      <a:pt x="158115" y="7620"/>
                      <a:pt x="176213" y="22860"/>
                    </a:cubicBezTo>
                    <a:cubicBezTo>
                      <a:pt x="191452" y="36195"/>
                      <a:pt x="201930" y="52388"/>
                      <a:pt x="205740" y="73342"/>
                    </a:cubicBezTo>
                    <a:lnTo>
                      <a:pt x="178117" y="73342"/>
                    </a:lnTo>
                    <a:cubicBezTo>
                      <a:pt x="175260" y="56197"/>
                      <a:pt x="166688" y="42863"/>
                      <a:pt x="152400" y="33338"/>
                    </a:cubicBezTo>
                    <a:cubicBezTo>
                      <a:pt x="140017" y="24765"/>
                      <a:pt x="125730" y="20955"/>
                      <a:pt x="108585" y="20955"/>
                    </a:cubicBezTo>
                    <a:cubicBezTo>
                      <a:pt x="82867" y="20955"/>
                      <a:pt x="61913" y="31432"/>
                      <a:pt x="47625" y="51435"/>
                    </a:cubicBezTo>
                    <a:cubicBezTo>
                      <a:pt x="33338" y="70485"/>
                      <a:pt x="26670" y="96203"/>
                      <a:pt x="26670" y="129540"/>
                    </a:cubicBezTo>
                    <a:cubicBezTo>
                      <a:pt x="26670" y="164783"/>
                      <a:pt x="36195" y="192405"/>
                      <a:pt x="54292" y="210503"/>
                    </a:cubicBezTo>
                    <a:cubicBezTo>
                      <a:pt x="68580" y="224790"/>
                      <a:pt x="86677" y="232410"/>
                      <a:pt x="108585" y="232410"/>
                    </a:cubicBezTo>
                    <a:cubicBezTo>
                      <a:pt x="128588" y="232410"/>
                      <a:pt x="145733" y="226695"/>
                      <a:pt x="159067" y="215265"/>
                    </a:cubicBezTo>
                    <a:cubicBezTo>
                      <a:pt x="168592" y="205740"/>
                      <a:pt x="176213" y="192405"/>
                      <a:pt x="179070" y="177165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2489">
                  <a:latin typeface="CiscoSansTT Light" panose="020B0503020201020303" pitchFamily="34" charset="0"/>
                  <a:cs typeface="CiscoSansTT Light" panose="020B0503020201020303" pitchFamily="34" charset="0"/>
                </a:endParaRPr>
              </a:p>
            </p:txBody>
          </p:sp>
          <p:sp>
            <p:nvSpPr>
              <p:cNvPr id="11" name="Freeform: Shape 10">
                <a:extLst>
                  <a:ext uri="{FF2B5EF4-FFF2-40B4-BE49-F238E27FC236}">
                    <a16:creationId xmlns:a16="http://schemas.microsoft.com/office/drawing/2014/main" id="{3A19A275-F179-48AE-8547-BDAB10054D7E}"/>
                  </a:ext>
                </a:extLst>
              </p:cNvPr>
              <p:cNvSpPr/>
              <p:nvPr/>
            </p:nvSpPr>
            <p:spPr>
              <a:xfrm>
                <a:off x="5084767" y="3177962"/>
                <a:ext cx="219075" cy="247650"/>
              </a:xfrm>
              <a:custGeom>
                <a:avLst/>
                <a:gdLst>
                  <a:gd name="connsiteX0" fmla="*/ 0 w 219075"/>
                  <a:gd name="connsiteY0" fmla="*/ 126683 h 247650"/>
                  <a:gd name="connsiteX1" fmla="*/ 36195 w 219075"/>
                  <a:gd name="connsiteY1" fmla="*/ 27623 h 247650"/>
                  <a:gd name="connsiteX2" fmla="*/ 110490 w 219075"/>
                  <a:gd name="connsiteY2" fmla="*/ 0 h 247650"/>
                  <a:gd name="connsiteX3" fmla="*/ 193357 w 219075"/>
                  <a:gd name="connsiteY3" fmla="*/ 36195 h 247650"/>
                  <a:gd name="connsiteX4" fmla="*/ 220980 w 219075"/>
                  <a:gd name="connsiteY4" fmla="*/ 126683 h 247650"/>
                  <a:gd name="connsiteX5" fmla="*/ 185738 w 219075"/>
                  <a:gd name="connsiteY5" fmla="*/ 225743 h 247650"/>
                  <a:gd name="connsiteX6" fmla="*/ 111442 w 219075"/>
                  <a:gd name="connsiteY6" fmla="*/ 254318 h 247650"/>
                  <a:gd name="connsiteX7" fmla="*/ 28575 w 219075"/>
                  <a:gd name="connsiteY7" fmla="*/ 217170 h 247650"/>
                  <a:gd name="connsiteX8" fmla="*/ 0 w 219075"/>
                  <a:gd name="connsiteY8" fmla="*/ 126683 h 247650"/>
                  <a:gd name="connsiteX9" fmla="*/ 25717 w 219075"/>
                  <a:gd name="connsiteY9" fmla="*/ 126683 h 247650"/>
                  <a:gd name="connsiteX10" fmla="*/ 53340 w 219075"/>
                  <a:gd name="connsiteY10" fmla="*/ 209550 h 247650"/>
                  <a:gd name="connsiteX11" fmla="*/ 110490 w 219075"/>
                  <a:gd name="connsiteY11" fmla="*/ 233363 h 247650"/>
                  <a:gd name="connsiteX12" fmla="*/ 174307 w 219075"/>
                  <a:gd name="connsiteY12" fmla="*/ 202883 h 247650"/>
                  <a:gd name="connsiteX13" fmla="*/ 195263 w 219075"/>
                  <a:gd name="connsiteY13" fmla="*/ 126683 h 247650"/>
                  <a:gd name="connsiteX14" fmla="*/ 168592 w 219075"/>
                  <a:gd name="connsiteY14" fmla="*/ 42863 h 247650"/>
                  <a:gd name="connsiteX15" fmla="*/ 110490 w 219075"/>
                  <a:gd name="connsiteY15" fmla="*/ 20003 h 247650"/>
                  <a:gd name="connsiteX16" fmla="*/ 46672 w 219075"/>
                  <a:gd name="connsiteY16" fmla="*/ 50483 h 247650"/>
                  <a:gd name="connsiteX17" fmla="*/ 25717 w 219075"/>
                  <a:gd name="connsiteY17" fmla="*/ 126683 h 2476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219075" h="247650">
                    <a:moveTo>
                      <a:pt x="0" y="126683"/>
                    </a:moveTo>
                    <a:cubicBezTo>
                      <a:pt x="0" y="82868"/>
                      <a:pt x="12382" y="50483"/>
                      <a:pt x="36195" y="27623"/>
                    </a:cubicBezTo>
                    <a:cubicBezTo>
                      <a:pt x="56197" y="9525"/>
                      <a:pt x="80963" y="0"/>
                      <a:pt x="110490" y="0"/>
                    </a:cubicBezTo>
                    <a:cubicBezTo>
                      <a:pt x="145732" y="0"/>
                      <a:pt x="173355" y="12383"/>
                      <a:pt x="193357" y="36195"/>
                    </a:cubicBezTo>
                    <a:cubicBezTo>
                      <a:pt x="211455" y="58103"/>
                      <a:pt x="220980" y="88583"/>
                      <a:pt x="220980" y="126683"/>
                    </a:cubicBezTo>
                    <a:cubicBezTo>
                      <a:pt x="220980" y="170498"/>
                      <a:pt x="209550" y="202883"/>
                      <a:pt x="185738" y="225743"/>
                    </a:cubicBezTo>
                    <a:cubicBezTo>
                      <a:pt x="166688" y="244793"/>
                      <a:pt x="141922" y="254318"/>
                      <a:pt x="111442" y="254318"/>
                    </a:cubicBezTo>
                    <a:cubicBezTo>
                      <a:pt x="76200" y="254318"/>
                      <a:pt x="48578" y="241935"/>
                      <a:pt x="28575" y="217170"/>
                    </a:cubicBezTo>
                    <a:cubicBezTo>
                      <a:pt x="9525" y="194310"/>
                      <a:pt x="0" y="163830"/>
                      <a:pt x="0" y="126683"/>
                    </a:cubicBezTo>
                    <a:close/>
                    <a:moveTo>
                      <a:pt x="25717" y="126683"/>
                    </a:moveTo>
                    <a:cubicBezTo>
                      <a:pt x="25717" y="162878"/>
                      <a:pt x="35242" y="190500"/>
                      <a:pt x="53340" y="209550"/>
                    </a:cubicBezTo>
                    <a:cubicBezTo>
                      <a:pt x="68580" y="224790"/>
                      <a:pt x="87630" y="233363"/>
                      <a:pt x="110490" y="233363"/>
                    </a:cubicBezTo>
                    <a:cubicBezTo>
                      <a:pt x="138113" y="233363"/>
                      <a:pt x="159067" y="222885"/>
                      <a:pt x="174307" y="202883"/>
                    </a:cubicBezTo>
                    <a:cubicBezTo>
                      <a:pt x="188595" y="183833"/>
                      <a:pt x="195263" y="159068"/>
                      <a:pt x="195263" y="126683"/>
                    </a:cubicBezTo>
                    <a:cubicBezTo>
                      <a:pt x="195263" y="90488"/>
                      <a:pt x="186690" y="61913"/>
                      <a:pt x="168592" y="42863"/>
                    </a:cubicBezTo>
                    <a:cubicBezTo>
                      <a:pt x="154305" y="27623"/>
                      <a:pt x="134303" y="20003"/>
                      <a:pt x="110490" y="20003"/>
                    </a:cubicBezTo>
                    <a:cubicBezTo>
                      <a:pt x="83820" y="20003"/>
                      <a:pt x="61913" y="30480"/>
                      <a:pt x="46672" y="50483"/>
                    </a:cubicBezTo>
                    <a:cubicBezTo>
                      <a:pt x="33338" y="69533"/>
                      <a:pt x="25717" y="94298"/>
                      <a:pt x="25717" y="126683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2489">
                  <a:latin typeface="CiscoSansTT Light" panose="020B0503020201020303" pitchFamily="34" charset="0"/>
                  <a:cs typeface="CiscoSansTT Light" panose="020B0503020201020303" pitchFamily="34" charset="0"/>
                </a:endParaRPr>
              </a:p>
            </p:txBody>
          </p:sp>
          <p:sp>
            <p:nvSpPr>
              <p:cNvPr id="12" name="Freeform: Shape 11">
                <a:extLst>
                  <a:ext uri="{FF2B5EF4-FFF2-40B4-BE49-F238E27FC236}">
                    <a16:creationId xmlns:a16="http://schemas.microsoft.com/office/drawing/2014/main" id="{021A6D23-10F4-4562-BC27-FDB4C8C2FDDF}"/>
                  </a:ext>
                </a:extLst>
              </p:cNvPr>
              <p:cNvSpPr/>
              <p:nvPr/>
            </p:nvSpPr>
            <p:spPr>
              <a:xfrm>
                <a:off x="4208467" y="3553247"/>
                <a:ext cx="304800" cy="342900"/>
              </a:xfrm>
              <a:custGeom>
                <a:avLst/>
                <a:gdLst>
                  <a:gd name="connsiteX0" fmla="*/ 156210 w 304800"/>
                  <a:gd name="connsiteY0" fmla="*/ 290513 h 342900"/>
                  <a:gd name="connsiteX1" fmla="*/ 228600 w 304800"/>
                  <a:gd name="connsiteY1" fmla="*/ 216218 h 342900"/>
                  <a:gd name="connsiteX2" fmla="*/ 307657 w 304800"/>
                  <a:gd name="connsiteY2" fmla="*/ 216218 h 342900"/>
                  <a:gd name="connsiteX3" fmla="*/ 256222 w 304800"/>
                  <a:gd name="connsiteY3" fmla="*/ 317183 h 342900"/>
                  <a:gd name="connsiteX4" fmla="*/ 155257 w 304800"/>
                  <a:gd name="connsiteY4" fmla="*/ 345758 h 342900"/>
                  <a:gd name="connsiteX5" fmla="*/ 39052 w 304800"/>
                  <a:gd name="connsiteY5" fmla="*/ 296228 h 342900"/>
                  <a:gd name="connsiteX6" fmla="*/ 0 w 304800"/>
                  <a:gd name="connsiteY6" fmla="*/ 171450 h 342900"/>
                  <a:gd name="connsiteX7" fmla="*/ 48577 w 304800"/>
                  <a:gd name="connsiteY7" fmla="*/ 38100 h 342900"/>
                  <a:gd name="connsiteX8" fmla="*/ 158115 w 304800"/>
                  <a:gd name="connsiteY8" fmla="*/ 0 h 342900"/>
                  <a:gd name="connsiteX9" fmla="*/ 260985 w 304800"/>
                  <a:gd name="connsiteY9" fmla="*/ 33338 h 342900"/>
                  <a:gd name="connsiteX10" fmla="*/ 304800 w 304800"/>
                  <a:gd name="connsiteY10" fmla="*/ 115253 h 342900"/>
                  <a:gd name="connsiteX11" fmla="*/ 227647 w 304800"/>
                  <a:gd name="connsiteY11" fmla="*/ 115253 h 342900"/>
                  <a:gd name="connsiteX12" fmla="*/ 158115 w 304800"/>
                  <a:gd name="connsiteY12" fmla="*/ 54293 h 342900"/>
                  <a:gd name="connsiteX13" fmla="*/ 100013 w 304800"/>
                  <a:gd name="connsiteY13" fmla="*/ 85725 h 342900"/>
                  <a:gd name="connsiteX14" fmla="*/ 80963 w 304800"/>
                  <a:gd name="connsiteY14" fmla="*/ 172402 h 342900"/>
                  <a:gd name="connsiteX15" fmla="*/ 105727 w 304800"/>
                  <a:gd name="connsiteY15" fmla="*/ 268605 h 342900"/>
                  <a:gd name="connsiteX16" fmla="*/ 156210 w 304800"/>
                  <a:gd name="connsiteY16" fmla="*/ 290513 h 3429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304800" h="342900">
                    <a:moveTo>
                      <a:pt x="156210" y="290513"/>
                    </a:moveTo>
                    <a:cubicBezTo>
                      <a:pt x="200977" y="290513"/>
                      <a:pt x="224790" y="265748"/>
                      <a:pt x="228600" y="216218"/>
                    </a:cubicBezTo>
                    <a:lnTo>
                      <a:pt x="307657" y="216218"/>
                    </a:lnTo>
                    <a:cubicBezTo>
                      <a:pt x="301942" y="260985"/>
                      <a:pt x="284797" y="295275"/>
                      <a:pt x="256222" y="317183"/>
                    </a:cubicBezTo>
                    <a:cubicBezTo>
                      <a:pt x="230505" y="336233"/>
                      <a:pt x="197167" y="345758"/>
                      <a:pt x="155257" y="345758"/>
                    </a:cubicBezTo>
                    <a:cubicBezTo>
                      <a:pt x="105727" y="345758"/>
                      <a:pt x="67627" y="329565"/>
                      <a:pt x="39052" y="296228"/>
                    </a:cubicBezTo>
                    <a:cubicBezTo>
                      <a:pt x="13335" y="265748"/>
                      <a:pt x="0" y="223838"/>
                      <a:pt x="0" y="171450"/>
                    </a:cubicBezTo>
                    <a:cubicBezTo>
                      <a:pt x="0" y="112395"/>
                      <a:pt x="16192" y="67628"/>
                      <a:pt x="48577" y="38100"/>
                    </a:cubicBezTo>
                    <a:cubicBezTo>
                      <a:pt x="76200" y="12383"/>
                      <a:pt x="112395" y="0"/>
                      <a:pt x="158115" y="0"/>
                    </a:cubicBezTo>
                    <a:cubicBezTo>
                      <a:pt x="200025" y="0"/>
                      <a:pt x="234315" y="11430"/>
                      <a:pt x="260985" y="33338"/>
                    </a:cubicBezTo>
                    <a:cubicBezTo>
                      <a:pt x="284797" y="53340"/>
                      <a:pt x="299085" y="80963"/>
                      <a:pt x="304800" y="115253"/>
                    </a:cubicBezTo>
                    <a:lnTo>
                      <a:pt x="227647" y="115253"/>
                    </a:lnTo>
                    <a:cubicBezTo>
                      <a:pt x="219075" y="74295"/>
                      <a:pt x="196215" y="54293"/>
                      <a:pt x="158115" y="54293"/>
                    </a:cubicBezTo>
                    <a:cubicBezTo>
                      <a:pt x="132397" y="54293"/>
                      <a:pt x="112395" y="64770"/>
                      <a:pt x="100013" y="85725"/>
                    </a:cubicBezTo>
                    <a:cubicBezTo>
                      <a:pt x="87630" y="105728"/>
                      <a:pt x="80963" y="134303"/>
                      <a:pt x="80963" y="172402"/>
                    </a:cubicBezTo>
                    <a:cubicBezTo>
                      <a:pt x="80963" y="216218"/>
                      <a:pt x="89535" y="248602"/>
                      <a:pt x="105727" y="268605"/>
                    </a:cubicBezTo>
                    <a:cubicBezTo>
                      <a:pt x="119063" y="282893"/>
                      <a:pt x="135255" y="290513"/>
                      <a:pt x="156210" y="290513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2489">
                  <a:latin typeface="CiscoSansTT Light" panose="020B0503020201020303" pitchFamily="34" charset="0"/>
                  <a:cs typeface="CiscoSansTT Light" panose="020B0503020201020303" pitchFamily="34" charset="0"/>
                </a:endParaRPr>
              </a:p>
            </p:txBody>
          </p:sp>
          <p:sp>
            <p:nvSpPr>
              <p:cNvPr id="13" name="Freeform: Shape 12">
                <a:extLst>
                  <a:ext uri="{FF2B5EF4-FFF2-40B4-BE49-F238E27FC236}">
                    <a16:creationId xmlns:a16="http://schemas.microsoft.com/office/drawing/2014/main" id="{0CF1C08D-E0B7-4B68-AE5D-1BA4C9F3E632}"/>
                  </a:ext>
                </a:extLst>
              </p:cNvPr>
              <p:cNvSpPr/>
              <p:nvPr/>
            </p:nvSpPr>
            <p:spPr>
              <a:xfrm>
                <a:off x="4550415" y="3651355"/>
                <a:ext cx="219075" cy="238125"/>
              </a:xfrm>
              <a:custGeom>
                <a:avLst/>
                <a:gdLst>
                  <a:gd name="connsiteX0" fmla="*/ 0 w 219075"/>
                  <a:gd name="connsiteY0" fmla="*/ 0 h 238125"/>
                  <a:gd name="connsiteX1" fmla="*/ 72390 w 219075"/>
                  <a:gd name="connsiteY1" fmla="*/ 0 h 238125"/>
                  <a:gd name="connsiteX2" fmla="*/ 72390 w 219075"/>
                  <a:gd name="connsiteY2" fmla="*/ 159067 h 238125"/>
                  <a:gd name="connsiteX3" fmla="*/ 81915 w 219075"/>
                  <a:gd name="connsiteY3" fmla="*/ 186690 h 238125"/>
                  <a:gd name="connsiteX4" fmla="*/ 110490 w 219075"/>
                  <a:gd name="connsiteY4" fmla="*/ 196215 h 238125"/>
                  <a:gd name="connsiteX5" fmla="*/ 143828 w 219075"/>
                  <a:gd name="connsiteY5" fmla="*/ 180975 h 238125"/>
                  <a:gd name="connsiteX6" fmla="*/ 155258 w 219075"/>
                  <a:gd name="connsiteY6" fmla="*/ 143827 h 238125"/>
                  <a:gd name="connsiteX7" fmla="*/ 155258 w 219075"/>
                  <a:gd name="connsiteY7" fmla="*/ 0 h 238125"/>
                  <a:gd name="connsiteX8" fmla="*/ 227647 w 219075"/>
                  <a:gd name="connsiteY8" fmla="*/ 0 h 238125"/>
                  <a:gd name="connsiteX9" fmla="*/ 227647 w 219075"/>
                  <a:gd name="connsiteY9" fmla="*/ 240030 h 238125"/>
                  <a:gd name="connsiteX10" fmla="*/ 166688 w 219075"/>
                  <a:gd name="connsiteY10" fmla="*/ 240030 h 238125"/>
                  <a:gd name="connsiteX11" fmla="*/ 160020 w 219075"/>
                  <a:gd name="connsiteY11" fmla="*/ 214313 h 238125"/>
                  <a:gd name="connsiteX12" fmla="*/ 87630 w 219075"/>
                  <a:gd name="connsiteY12" fmla="*/ 246698 h 238125"/>
                  <a:gd name="connsiteX13" fmla="*/ 20003 w 219075"/>
                  <a:gd name="connsiteY13" fmla="*/ 220027 h 238125"/>
                  <a:gd name="connsiteX14" fmla="*/ 0 w 219075"/>
                  <a:gd name="connsiteY14" fmla="*/ 156210 h 238125"/>
                  <a:gd name="connsiteX15" fmla="*/ 0 w 219075"/>
                  <a:gd name="connsiteY15" fmla="*/ 0 h 2381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219075" h="238125">
                    <a:moveTo>
                      <a:pt x="0" y="0"/>
                    </a:moveTo>
                    <a:lnTo>
                      <a:pt x="72390" y="0"/>
                    </a:lnTo>
                    <a:lnTo>
                      <a:pt x="72390" y="159067"/>
                    </a:lnTo>
                    <a:cubicBezTo>
                      <a:pt x="72390" y="171450"/>
                      <a:pt x="75247" y="180023"/>
                      <a:pt x="81915" y="186690"/>
                    </a:cubicBezTo>
                    <a:cubicBezTo>
                      <a:pt x="88583" y="193357"/>
                      <a:pt x="98108" y="196215"/>
                      <a:pt x="110490" y="196215"/>
                    </a:cubicBezTo>
                    <a:cubicBezTo>
                      <a:pt x="124778" y="196215"/>
                      <a:pt x="135255" y="191452"/>
                      <a:pt x="143828" y="180975"/>
                    </a:cubicBezTo>
                    <a:cubicBezTo>
                      <a:pt x="151447" y="171450"/>
                      <a:pt x="155258" y="159067"/>
                      <a:pt x="155258" y="143827"/>
                    </a:cubicBezTo>
                    <a:lnTo>
                      <a:pt x="155258" y="0"/>
                    </a:lnTo>
                    <a:lnTo>
                      <a:pt x="227647" y="0"/>
                    </a:lnTo>
                    <a:lnTo>
                      <a:pt x="227647" y="240030"/>
                    </a:lnTo>
                    <a:lnTo>
                      <a:pt x="166688" y="240030"/>
                    </a:lnTo>
                    <a:lnTo>
                      <a:pt x="160020" y="214313"/>
                    </a:lnTo>
                    <a:cubicBezTo>
                      <a:pt x="142875" y="236220"/>
                      <a:pt x="118110" y="246698"/>
                      <a:pt x="87630" y="246698"/>
                    </a:cubicBezTo>
                    <a:cubicBezTo>
                      <a:pt x="58103" y="246698"/>
                      <a:pt x="35242" y="238125"/>
                      <a:pt x="20003" y="220027"/>
                    </a:cubicBezTo>
                    <a:cubicBezTo>
                      <a:pt x="6667" y="204788"/>
                      <a:pt x="0" y="182880"/>
                      <a:pt x="0" y="156210"/>
                    </a:cubicBez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2489">
                  <a:latin typeface="CiscoSansTT Light" panose="020B0503020201020303" pitchFamily="34" charset="0"/>
                  <a:cs typeface="CiscoSansTT Light" panose="020B0503020201020303" pitchFamily="34" charset="0"/>
                </a:endParaRPr>
              </a:p>
            </p:txBody>
          </p:sp>
          <p:sp>
            <p:nvSpPr>
              <p:cNvPr id="14" name="Freeform: Shape 13">
                <a:extLst>
                  <a:ext uri="{FF2B5EF4-FFF2-40B4-BE49-F238E27FC236}">
                    <a16:creationId xmlns:a16="http://schemas.microsoft.com/office/drawing/2014/main" id="{9C85BB10-5D31-4B95-A484-AECFE585457E}"/>
                  </a:ext>
                </a:extLst>
              </p:cNvPr>
              <p:cNvSpPr/>
              <p:nvPr/>
            </p:nvSpPr>
            <p:spPr>
              <a:xfrm>
                <a:off x="4810447" y="3643735"/>
                <a:ext cx="219075" cy="247650"/>
              </a:xfrm>
              <a:custGeom>
                <a:avLst/>
                <a:gdLst>
                  <a:gd name="connsiteX0" fmla="*/ 113347 w 219075"/>
                  <a:gd name="connsiteY0" fmla="*/ 205740 h 247650"/>
                  <a:gd name="connsiteX1" fmla="*/ 153352 w 219075"/>
                  <a:gd name="connsiteY1" fmla="*/ 182880 h 247650"/>
                  <a:gd name="connsiteX2" fmla="*/ 144780 w 219075"/>
                  <a:gd name="connsiteY2" fmla="*/ 167640 h 247650"/>
                  <a:gd name="connsiteX3" fmla="*/ 96202 w 219075"/>
                  <a:gd name="connsiteY3" fmla="*/ 153352 h 247650"/>
                  <a:gd name="connsiteX4" fmla="*/ 32385 w 219075"/>
                  <a:gd name="connsiteY4" fmla="*/ 126683 h 247650"/>
                  <a:gd name="connsiteX5" fmla="*/ 9525 w 219075"/>
                  <a:gd name="connsiteY5" fmla="*/ 75248 h 247650"/>
                  <a:gd name="connsiteX6" fmla="*/ 40005 w 219075"/>
                  <a:gd name="connsiteY6" fmla="*/ 18098 h 247650"/>
                  <a:gd name="connsiteX7" fmla="*/ 115252 w 219075"/>
                  <a:gd name="connsiteY7" fmla="*/ 0 h 247650"/>
                  <a:gd name="connsiteX8" fmla="*/ 194310 w 219075"/>
                  <a:gd name="connsiteY8" fmla="*/ 21908 h 247650"/>
                  <a:gd name="connsiteX9" fmla="*/ 225742 w 219075"/>
                  <a:gd name="connsiteY9" fmla="*/ 73343 h 247650"/>
                  <a:gd name="connsiteX10" fmla="*/ 153352 w 219075"/>
                  <a:gd name="connsiteY10" fmla="*/ 73343 h 247650"/>
                  <a:gd name="connsiteX11" fmla="*/ 113347 w 219075"/>
                  <a:gd name="connsiteY11" fmla="*/ 48578 h 247650"/>
                  <a:gd name="connsiteX12" fmla="*/ 80963 w 219075"/>
                  <a:gd name="connsiteY12" fmla="*/ 68580 h 247650"/>
                  <a:gd name="connsiteX13" fmla="*/ 90488 w 219075"/>
                  <a:gd name="connsiteY13" fmla="*/ 83820 h 247650"/>
                  <a:gd name="connsiteX14" fmla="*/ 131445 w 219075"/>
                  <a:gd name="connsiteY14" fmla="*/ 97155 h 247650"/>
                  <a:gd name="connsiteX15" fmla="*/ 140017 w 219075"/>
                  <a:gd name="connsiteY15" fmla="*/ 99060 h 247650"/>
                  <a:gd name="connsiteX16" fmla="*/ 199072 w 219075"/>
                  <a:gd name="connsiteY16" fmla="*/ 120968 h 247650"/>
                  <a:gd name="connsiteX17" fmla="*/ 226695 w 219075"/>
                  <a:gd name="connsiteY17" fmla="*/ 172402 h 247650"/>
                  <a:gd name="connsiteX18" fmla="*/ 195263 w 219075"/>
                  <a:gd name="connsiteY18" fmla="*/ 233363 h 247650"/>
                  <a:gd name="connsiteX19" fmla="*/ 114300 w 219075"/>
                  <a:gd name="connsiteY19" fmla="*/ 253365 h 247650"/>
                  <a:gd name="connsiteX20" fmla="*/ 31433 w 219075"/>
                  <a:gd name="connsiteY20" fmla="*/ 229552 h 247650"/>
                  <a:gd name="connsiteX21" fmla="*/ 0 w 219075"/>
                  <a:gd name="connsiteY21" fmla="*/ 178118 h 247650"/>
                  <a:gd name="connsiteX22" fmla="*/ 72390 w 219075"/>
                  <a:gd name="connsiteY22" fmla="*/ 178118 h 247650"/>
                  <a:gd name="connsiteX23" fmla="*/ 86677 w 219075"/>
                  <a:gd name="connsiteY23" fmla="*/ 197168 h 247650"/>
                  <a:gd name="connsiteX24" fmla="*/ 113347 w 219075"/>
                  <a:gd name="connsiteY24" fmla="*/ 205740 h 2476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</a:cxnLst>
                <a:rect l="l" t="t" r="r" b="b"/>
                <a:pathLst>
                  <a:path w="219075" h="247650">
                    <a:moveTo>
                      <a:pt x="113347" y="205740"/>
                    </a:moveTo>
                    <a:cubicBezTo>
                      <a:pt x="140017" y="205740"/>
                      <a:pt x="153352" y="198120"/>
                      <a:pt x="153352" y="182880"/>
                    </a:cubicBezTo>
                    <a:cubicBezTo>
                      <a:pt x="153352" y="175260"/>
                      <a:pt x="150495" y="170498"/>
                      <a:pt x="144780" y="167640"/>
                    </a:cubicBezTo>
                    <a:cubicBezTo>
                      <a:pt x="139065" y="164783"/>
                      <a:pt x="122872" y="160020"/>
                      <a:pt x="96202" y="153352"/>
                    </a:cubicBezTo>
                    <a:cubicBezTo>
                      <a:pt x="66675" y="146685"/>
                      <a:pt x="44767" y="137160"/>
                      <a:pt x="32385" y="126683"/>
                    </a:cubicBezTo>
                    <a:cubicBezTo>
                      <a:pt x="17145" y="114300"/>
                      <a:pt x="9525" y="97155"/>
                      <a:pt x="9525" y="75248"/>
                    </a:cubicBezTo>
                    <a:cubicBezTo>
                      <a:pt x="9525" y="50483"/>
                      <a:pt x="20002" y="31433"/>
                      <a:pt x="40005" y="18098"/>
                    </a:cubicBezTo>
                    <a:cubicBezTo>
                      <a:pt x="58102" y="5715"/>
                      <a:pt x="83820" y="0"/>
                      <a:pt x="115252" y="0"/>
                    </a:cubicBezTo>
                    <a:cubicBezTo>
                      <a:pt x="148590" y="0"/>
                      <a:pt x="174308" y="7620"/>
                      <a:pt x="194310" y="21908"/>
                    </a:cubicBezTo>
                    <a:cubicBezTo>
                      <a:pt x="211455" y="34290"/>
                      <a:pt x="221933" y="51435"/>
                      <a:pt x="225742" y="73343"/>
                    </a:cubicBezTo>
                    <a:lnTo>
                      <a:pt x="153352" y="73343"/>
                    </a:lnTo>
                    <a:cubicBezTo>
                      <a:pt x="149542" y="57150"/>
                      <a:pt x="136208" y="48578"/>
                      <a:pt x="113347" y="48578"/>
                    </a:cubicBezTo>
                    <a:cubicBezTo>
                      <a:pt x="91440" y="48578"/>
                      <a:pt x="80963" y="55245"/>
                      <a:pt x="80963" y="68580"/>
                    </a:cubicBezTo>
                    <a:cubicBezTo>
                      <a:pt x="80963" y="75248"/>
                      <a:pt x="83820" y="80010"/>
                      <a:pt x="90488" y="83820"/>
                    </a:cubicBezTo>
                    <a:cubicBezTo>
                      <a:pt x="96202" y="87630"/>
                      <a:pt x="110490" y="91440"/>
                      <a:pt x="131445" y="97155"/>
                    </a:cubicBezTo>
                    <a:lnTo>
                      <a:pt x="140017" y="99060"/>
                    </a:lnTo>
                    <a:cubicBezTo>
                      <a:pt x="167640" y="105727"/>
                      <a:pt x="187642" y="113348"/>
                      <a:pt x="199072" y="120968"/>
                    </a:cubicBezTo>
                    <a:cubicBezTo>
                      <a:pt x="217170" y="133350"/>
                      <a:pt x="226695" y="149543"/>
                      <a:pt x="226695" y="172402"/>
                    </a:cubicBezTo>
                    <a:cubicBezTo>
                      <a:pt x="226695" y="199073"/>
                      <a:pt x="216217" y="219075"/>
                      <a:pt x="195263" y="233363"/>
                    </a:cubicBezTo>
                    <a:cubicBezTo>
                      <a:pt x="175260" y="246698"/>
                      <a:pt x="148590" y="253365"/>
                      <a:pt x="114300" y="253365"/>
                    </a:cubicBezTo>
                    <a:cubicBezTo>
                      <a:pt x="80010" y="253365"/>
                      <a:pt x="52388" y="245745"/>
                      <a:pt x="31433" y="229552"/>
                    </a:cubicBezTo>
                    <a:cubicBezTo>
                      <a:pt x="14288" y="216218"/>
                      <a:pt x="2858" y="199073"/>
                      <a:pt x="0" y="178118"/>
                    </a:cubicBezTo>
                    <a:lnTo>
                      <a:pt x="72390" y="178118"/>
                    </a:lnTo>
                    <a:cubicBezTo>
                      <a:pt x="74295" y="185738"/>
                      <a:pt x="78105" y="192405"/>
                      <a:pt x="86677" y="197168"/>
                    </a:cubicBezTo>
                    <a:cubicBezTo>
                      <a:pt x="92392" y="203835"/>
                      <a:pt x="101917" y="205740"/>
                      <a:pt x="113347" y="205740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2489">
                  <a:latin typeface="CiscoSansTT Light" panose="020B0503020201020303" pitchFamily="34" charset="0"/>
                  <a:cs typeface="CiscoSansTT Light" panose="020B0503020201020303" pitchFamily="34" charset="0"/>
                </a:endParaRPr>
              </a:p>
            </p:txBody>
          </p:sp>
          <p:sp>
            <p:nvSpPr>
              <p:cNvPr id="15" name="Freeform: Shape 14">
                <a:extLst>
                  <a:ext uri="{FF2B5EF4-FFF2-40B4-BE49-F238E27FC236}">
                    <a16:creationId xmlns:a16="http://schemas.microsoft.com/office/drawing/2014/main" id="{235BA894-88A9-4B6D-96F6-D671B66122E2}"/>
                  </a:ext>
                </a:extLst>
              </p:cNvPr>
              <p:cNvSpPr/>
              <p:nvPr/>
            </p:nvSpPr>
            <p:spPr>
              <a:xfrm>
                <a:off x="5056192" y="3594205"/>
                <a:ext cx="152400" cy="295275"/>
              </a:xfrm>
              <a:custGeom>
                <a:avLst/>
                <a:gdLst>
                  <a:gd name="connsiteX0" fmla="*/ 158115 w 152400"/>
                  <a:gd name="connsiteY0" fmla="*/ 248602 h 295275"/>
                  <a:gd name="connsiteX1" fmla="*/ 158115 w 152400"/>
                  <a:gd name="connsiteY1" fmla="*/ 297180 h 295275"/>
                  <a:gd name="connsiteX2" fmla="*/ 114300 w 152400"/>
                  <a:gd name="connsiteY2" fmla="*/ 303848 h 295275"/>
                  <a:gd name="connsiteX3" fmla="*/ 54292 w 152400"/>
                  <a:gd name="connsiteY3" fmla="*/ 281940 h 295275"/>
                  <a:gd name="connsiteX4" fmla="*/ 36195 w 152400"/>
                  <a:gd name="connsiteY4" fmla="*/ 229552 h 295275"/>
                  <a:gd name="connsiteX5" fmla="*/ 36195 w 152400"/>
                  <a:gd name="connsiteY5" fmla="*/ 107632 h 295275"/>
                  <a:gd name="connsiteX6" fmla="*/ 0 w 152400"/>
                  <a:gd name="connsiteY6" fmla="*/ 107632 h 295275"/>
                  <a:gd name="connsiteX7" fmla="*/ 0 w 152400"/>
                  <a:gd name="connsiteY7" fmla="*/ 58102 h 295275"/>
                  <a:gd name="connsiteX8" fmla="*/ 36195 w 152400"/>
                  <a:gd name="connsiteY8" fmla="*/ 58102 h 295275"/>
                  <a:gd name="connsiteX9" fmla="*/ 40957 w 152400"/>
                  <a:gd name="connsiteY9" fmla="*/ 0 h 295275"/>
                  <a:gd name="connsiteX10" fmla="*/ 108585 w 152400"/>
                  <a:gd name="connsiteY10" fmla="*/ 0 h 295275"/>
                  <a:gd name="connsiteX11" fmla="*/ 108585 w 152400"/>
                  <a:gd name="connsiteY11" fmla="*/ 58102 h 295275"/>
                  <a:gd name="connsiteX12" fmla="*/ 158115 w 152400"/>
                  <a:gd name="connsiteY12" fmla="*/ 58102 h 295275"/>
                  <a:gd name="connsiteX13" fmla="*/ 158115 w 152400"/>
                  <a:gd name="connsiteY13" fmla="*/ 107632 h 295275"/>
                  <a:gd name="connsiteX14" fmla="*/ 108585 w 152400"/>
                  <a:gd name="connsiteY14" fmla="*/ 107632 h 295275"/>
                  <a:gd name="connsiteX15" fmla="*/ 108585 w 152400"/>
                  <a:gd name="connsiteY15" fmla="*/ 233363 h 295275"/>
                  <a:gd name="connsiteX16" fmla="*/ 115253 w 152400"/>
                  <a:gd name="connsiteY16" fmla="*/ 248602 h 295275"/>
                  <a:gd name="connsiteX17" fmla="*/ 132397 w 152400"/>
                  <a:gd name="connsiteY17" fmla="*/ 254317 h 295275"/>
                  <a:gd name="connsiteX18" fmla="*/ 158115 w 152400"/>
                  <a:gd name="connsiteY18" fmla="*/ 248602 h 2952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152400" h="295275">
                    <a:moveTo>
                      <a:pt x="158115" y="248602"/>
                    </a:moveTo>
                    <a:lnTo>
                      <a:pt x="158115" y="297180"/>
                    </a:lnTo>
                    <a:cubicBezTo>
                      <a:pt x="142875" y="301942"/>
                      <a:pt x="128588" y="303848"/>
                      <a:pt x="114300" y="303848"/>
                    </a:cubicBezTo>
                    <a:cubicBezTo>
                      <a:pt x="88582" y="303848"/>
                      <a:pt x="68580" y="296228"/>
                      <a:pt x="54292" y="281940"/>
                    </a:cubicBezTo>
                    <a:cubicBezTo>
                      <a:pt x="41910" y="269557"/>
                      <a:pt x="36195" y="252413"/>
                      <a:pt x="36195" y="229552"/>
                    </a:cubicBezTo>
                    <a:lnTo>
                      <a:pt x="36195" y="107632"/>
                    </a:lnTo>
                    <a:lnTo>
                      <a:pt x="0" y="107632"/>
                    </a:lnTo>
                    <a:lnTo>
                      <a:pt x="0" y="58102"/>
                    </a:lnTo>
                    <a:lnTo>
                      <a:pt x="36195" y="58102"/>
                    </a:lnTo>
                    <a:lnTo>
                      <a:pt x="40957" y="0"/>
                    </a:lnTo>
                    <a:lnTo>
                      <a:pt x="108585" y="0"/>
                    </a:lnTo>
                    <a:lnTo>
                      <a:pt x="108585" y="58102"/>
                    </a:lnTo>
                    <a:lnTo>
                      <a:pt x="158115" y="58102"/>
                    </a:lnTo>
                    <a:lnTo>
                      <a:pt x="158115" y="107632"/>
                    </a:lnTo>
                    <a:lnTo>
                      <a:pt x="108585" y="107632"/>
                    </a:lnTo>
                    <a:lnTo>
                      <a:pt x="108585" y="233363"/>
                    </a:lnTo>
                    <a:cubicBezTo>
                      <a:pt x="108585" y="240030"/>
                      <a:pt x="110490" y="244792"/>
                      <a:pt x="115253" y="248602"/>
                    </a:cubicBezTo>
                    <a:cubicBezTo>
                      <a:pt x="119063" y="252413"/>
                      <a:pt x="124778" y="254317"/>
                      <a:pt x="132397" y="254317"/>
                    </a:cubicBezTo>
                    <a:cubicBezTo>
                      <a:pt x="138113" y="253365"/>
                      <a:pt x="146685" y="251460"/>
                      <a:pt x="158115" y="248602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2489">
                  <a:latin typeface="CiscoSansTT Light" panose="020B0503020201020303" pitchFamily="34" charset="0"/>
                  <a:cs typeface="CiscoSansTT Light" panose="020B0503020201020303" pitchFamily="34" charset="0"/>
                </a:endParaRPr>
              </a:p>
            </p:txBody>
          </p:sp>
          <p:sp>
            <p:nvSpPr>
              <p:cNvPr id="16" name="Freeform: Shape 15">
                <a:extLst>
                  <a:ext uri="{FF2B5EF4-FFF2-40B4-BE49-F238E27FC236}">
                    <a16:creationId xmlns:a16="http://schemas.microsoft.com/office/drawing/2014/main" id="{F90A1336-2D46-49AB-AD59-131208C200DC}"/>
                  </a:ext>
                </a:extLst>
              </p:cNvPr>
              <p:cNvSpPr/>
              <p:nvPr/>
            </p:nvSpPr>
            <p:spPr>
              <a:xfrm>
                <a:off x="5231452" y="3644688"/>
                <a:ext cx="247650" cy="247650"/>
              </a:xfrm>
              <a:custGeom>
                <a:avLst/>
                <a:gdLst>
                  <a:gd name="connsiteX0" fmla="*/ 0 w 247650"/>
                  <a:gd name="connsiteY0" fmla="*/ 125730 h 247650"/>
                  <a:gd name="connsiteX1" fmla="*/ 38100 w 247650"/>
                  <a:gd name="connsiteY1" fmla="*/ 27622 h 247650"/>
                  <a:gd name="connsiteX2" fmla="*/ 126682 w 247650"/>
                  <a:gd name="connsiteY2" fmla="*/ 0 h 247650"/>
                  <a:gd name="connsiteX3" fmla="*/ 224790 w 247650"/>
                  <a:gd name="connsiteY3" fmla="*/ 36195 h 247650"/>
                  <a:gd name="connsiteX4" fmla="*/ 254318 w 247650"/>
                  <a:gd name="connsiteY4" fmla="*/ 125730 h 247650"/>
                  <a:gd name="connsiteX5" fmla="*/ 216218 w 247650"/>
                  <a:gd name="connsiteY5" fmla="*/ 224790 h 247650"/>
                  <a:gd name="connsiteX6" fmla="*/ 127635 w 247650"/>
                  <a:gd name="connsiteY6" fmla="*/ 253365 h 247650"/>
                  <a:gd name="connsiteX7" fmla="*/ 30480 w 247650"/>
                  <a:gd name="connsiteY7" fmla="*/ 216218 h 247650"/>
                  <a:gd name="connsiteX8" fmla="*/ 0 w 247650"/>
                  <a:gd name="connsiteY8" fmla="*/ 125730 h 247650"/>
                  <a:gd name="connsiteX9" fmla="*/ 73343 w 247650"/>
                  <a:gd name="connsiteY9" fmla="*/ 125730 h 247650"/>
                  <a:gd name="connsiteX10" fmla="*/ 88582 w 247650"/>
                  <a:gd name="connsiteY10" fmla="*/ 189547 h 247650"/>
                  <a:gd name="connsiteX11" fmla="*/ 125730 w 247650"/>
                  <a:gd name="connsiteY11" fmla="*/ 204787 h 247650"/>
                  <a:gd name="connsiteX12" fmla="*/ 166688 w 247650"/>
                  <a:gd name="connsiteY12" fmla="*/ 184785 h 247650"/>
                  <a:gd name="connsiteX13" fmla="*/ 178118 w 247650"/>
                  <a:gd name="connsiteY13" fmla="*/ 125730 h 247650"/>
                  <a:gd name="connsiteX14" fmla="*/ 162878 w 247650"/>
                  <a:gd name="connsiteY14" fmla="*/ 62865 h 247650"/>
                  <a:gd name="connsiteX15" fmla="*/ 124778 w 247650"/>
                  <a:gd name="connsiteY15" fmla="*/ 48577 h 247650"/>
                  <a:gd name="connsiteX16" fmla="*/ 82868 w 247650"/>
                  <a:gd name="connsiteY16" fmla="*/ 68580 h 247650"/>
                  <a:gd name="connsiteX17" fmla="*/ 73343 w 247650"/>
                  <a:gd name="connsiteY17" fmla="*/ 125730 h 2476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247650" h="247650">
                    <a:moveTo>
                      <a:pt x="0" y="125730"/>
                    </a:moveTo>
                    <a:cubicBezTo>
                      <a:pt x="0" y="81915"/>
                      <a:pt x="12382" y="49530"/>
                      <a:pt x="38100" y="27622"/>
                    </a:cubicBezTo>
                    <a:cubicBezTo>
                      <a:pt x="60007" y="9525"/>
                      <a:pt x="89535" y="0"/>
                      <a:pt x="126682" y="0"/>
                    </a:cubicBezTo>
                    <a:cubicBezTo>
                      <a:pt x="170497" y="0"/>
                      <a:pt x="202882" y="12382"/>
                      <a:pt x="224790" y="36195"/>
                    </a:cubicBezTo>
                    <a:cubicBezTo>
                      <a:pt x="243840" y="58103"/>
                      <a:pt x="254318" y="87630"/>
                      <a:pt x="254318" y="125730"/>
                    </a:cubicBezTo>
                    <a:cubicBezTo>
                      <a:pt x="254318" y="169545"/>
                      <a:pt x="241935" y="202883"/>
                      <a:pt x="216218" y="224790"/>
                    </a:cubicBezTo>
                    <a:cubicBezTo>
                      <a:pt x="194310" y="243840"/>
                      <a:pt x="164782" y="253365"/>
                      <a:pt x="127635" y="253365"/>
                    </a:cubicBezTo>
                    <a:cubicBezTo>
                      <a:pt x="84772" y="253365"/>
                      <a:pt x="53340" y="240983"/>
                      <a:pt x="30480" y="216218"/>
                    </a:cubicBezTo>
                    <a:cubicBezTo>
                      <a:pt x="9525" y="194310"/>
                      <a:pt x="0" y="164783"/>
                      <a:pt x="0" y="125730"/>
                    </a:cubicBezTo>
                    <a:close/>
                    <a:moveTo>
                      <a:pt x="73343" y="125730"/>
                    </a:moveTo>
                    <a:cubicBezTo>
                      <a:pt x="73343" y="155258"/>
                      <a:pt x="78105" y="177165"/>
                      <a:pt x="88582" y="189547"/>
                    </a:cubicBezTo>
                    <a:cubicBezTo>
                      <a:pt x="97155" y="200025"/>
                      <a:pt x="109538" y="204787"/>
                      <a:pt x="125730" y="204787"/>
                    </a:cubicBezTo>
                    <a:cubicBezTo>
                      <a:pt x="144780" y="204787"/>
                      <a:pt x="159068" y="198120"/>
                      <a:pt x="166688" y="184785"/>
                    </a:cubicBezTo>
                    <a:cubicBezTo>
                      <a:pt x="174307" y="172403"/>
                      <a:pt x="178118" y="152400"/>
                      <a:pt x="178118" y="125730"/>
                    </a:cubicBezTo>
                    <a:cubicBezTo>
                      <a:pt x="178118" y="95250"/>
                      <a:pt x="173355" y="74295"/>
                      <a:pt x="162878" y="62865"/>
                    </a:cubicBezTo>
                    <a:cubicBezTo>
                      <a:pt x="154305" y="53340"/>
                      <a:pt x="141922" y="48577"/>
                      <a:pt x="124778" y="48577"/>
                    </a:cubicBezTo>
                    <a:cubicBezTo>
                      <a:pt x="105728" y="48577"/>
                      <a:pt x="91440" y="55245"/>
                      <a:pt x="82868" y="68580"/>
                    </a:cubicBezTo>
                    <a:cubicBezTo>
                      <a:pt x="77153" y="80010"/>
                      <a:pt x="73343" y="100012"/>
                      <a:pt x="73343" y="125730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2489">
                  <a:latin typeface="CiscoSansTT Light" panose="020B0503020201020303" pitchFamily="34" charset="0"/>
                  <a:cs typeface="CiscoSansTT Light" panose="020B0503020201020303" pitchFamily="34" charset="0"/>
                </a:endParaRPr>
              </a:p>
            </p:txBody>
          </p:sp>
          <p:sp>
            <p:nvSpPr>
              <p:cNvPr id="17" name="Freeform: Shape 16">
                <a:extLst>
                  <a:ext uri="{FF2B5EF4-FFF2-40B4-BE49-F238E27FC236}">
                    <a16:creationId xmlns:a16="http://schemas.microsoft.com/office/drawing/2014/main" id="{B240106F-2142-4512-9261-2BFFC7910B11}"/>
                  </a:ext>
                </a:extLst>
              </p:cNvPr>
              <p:cNvSpPr/>
              <p:nvPr/>
            </p:nvSpPr>
            <p:spPr>
              <a:xfrm>
                <a:off x="5521965" y="3644688"/>
                <a:ext cx="371475" cy="238125"/>
              </a:xfrm>
              <a:custGeom>
                <a:avLst/>
                <a:gdLst>
                  <a:gd name="connsiteX0" fmla="*/ 72390 w 371475"/>
                  <a:gd name="connsiteY0" fmla="*/ 246697 h 238125"/>
                  <a:gd name="connsiteX1" fmla="*/ 0 w 371475"/>
                  <a:gd name="connsiteY1" fmla="*/ 246697 h 238125"/>
                  <a:gd name="connsiteX2" fmla="*/ 0 w 371475"/>
                  <a:gd name="connsiteY2" fmla="*/ 6668 h 238125"/>
                  <a:gd name="connsiteX3" fmla="*/ 50482 w 371475"/>
                  <a:gd name="connsiteY3" fmla="*/ 6668 h 238125"/>
                  <a:gd name="connsiteX4" fmla="*/ 62865 w 371475"/>
                  <a:gd name="connsiteY4" fmla="*/ 33338 h 238125"/>
                  <a:gd name="connsiteX5" fmla="*/ 136207 w 371475"/>
                  <a:gd name="connsiteY5" fmla="*/ 0 h 238125"/>
                  <a:gd name="connsiteX6" fmla="*/ 208597 w 371475"/>
                  <a:gd name="connsiteY6" fmla="*/ 33338 h 238125"/>
                  <a:gd name="connsiteX7" fmla="*/ 287655 w 371475"/>
                  <a:gd name="connsiteY7" fmla="*/ 0 h 238125"/>
                  <a:gd name="connsiteX8" fmla="*/ 353378 w 371475"/>
                  <a:gd name="connsiteY8" fmla="*/ 23813 h 238125"/>
                  <a:gd name="connsiteX9" fmla="*/ 375285 w 371475"/>
                  <a:gd name="connsiteY9" fmla="*/ 90487 h 238125"/>
                  <a:gd name="connsiteX10" fmla="*/ 375285 w 371475"/>
                  <a:gd name="connsiteY10" fmla="*/ 246697 h 238125"/>
                  <a:gd name="connsiteX11" fmla="*/ 302895 w 371475"/>
                  <a:gd name="connsiteY11" fmla="*/ 246697 h 238125"/>
                  <a:gd name="connsiteX12" fmla="*/ 302895 w 371475"/>
                  <a:gd name="connsiteY12" fmla="*/ 89535 h 238125"/>
                  <a:gd name="connsiteX13" fmla="*/ 264795 w 371475"/>
                  <a:gd name="connsiteY13" fmla="*/ 51435 h 238125"/>
                  <a:gd name="connsiteX14" fmla="*/ 231457 w 371475"/>
                  <a:gd name="connsiteY14" fmla="*/ 67628 h 238125"/>
                  <a:gd name="connsiteX15" fmla="*/ 222885 w 371475"/>
                  <a:gd name="connsiteY15" fmla="*/ 100012 h 238125"/>
                  <a:gd name="connsiteX16" fmla="*/ 222885 w 371475"/>
                  <a:gd name="connsiteY16" fmla="*/ 246697 h 238125"/>
                  <a:gd name="connsiteX17" fmla="*/ 150495 w 371475"/>
                  <a:gd name="connsiteY17" fmla="*/ 246697 h 238125"/>
                  <a:gd name="connsiteX18" fmla="*/ 150495 w 371475"/>
                  <a:gd name="connsiteY18" fmla="*/ 89535 h 238125"/>
                  <a:gd name="connsiteX19" fmla="*/ 112395 w 371475"/>
                  <a:gd name="connsiteY19" fmla="*/ 51435 h 238125"/>
                  <a:gd name="connsiteX20" fmla="*/ 80963 w 371475"/>
                  <a:gd name="connsiteY20" fmla="*/ 66675 h 238125"/>
                  <a:gd name="connsiteX21" fmla="*/ 71438 w 371475"/>
                  <a:gd name="connsiteY21" fmla="*/ 97155 h 238125"/>
                  <a:gd name="connsiteX22" fmla="*/ 71438 w 371475"/>
                  <a:gd name="connsiteY22" fmla="*/ 246697 h 2381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</a:cxnLst>
                <a:rect l="l" t="t" r="r" b="b"/>
                <a:pathLst>
                  <a:path w="371475" h="238125">
                    <a:moveTo>
                      <a:pt x="72390" y="246697"/>
                    </a:moveTo>
                    <a:lnTo>
                      <a:pt x="0" y="246697"/>
                    </a:lnTo>
                    <a:lnTo>
                      <a:pt x="0" y="6668"/>
                    </a:lnTo>
                    <a:lnTo>
                      <a:pt x="50482" y="6668"/>
                    </a:lnTo>
                    <a:lnTo>
                      <a:pt x="62865" y="33338"/>
                    </a:lnTo>
                    <a:cubicBezTo>
                      <a:pt x="80963" y="11430"/>
                      <a:pt x="105728" y="0"/>
                      <a:pt x="136207" y="0"/>
                    </a:cubicBezTo>
                    <a:cubicBezTo>
                      <a:pt x="169545" y="0"/>
                      <a:pt x="194310" y="11430"/>
                      <a:pt x="208597" y="33338"/>
                    </a:cubicBezTo>
                    <a:cubicBezTo>
                      <a:pt x="228600" y="11430"/>
                      <a:pt x="254318" y="0"/>
                      <a:pt x="287655" y="0"/>
                    </a:cubicBezTo>
                    <a:cubicBezTo>
                      <a:pt x="316230" y="0"/>
                      <a:pt x="338138" y="7620"/>
                      <a:pt x="353378" y="23813"/>
                    </a:cubicBezTo>
                    <a:cubicBezTo>
                      <a:pt x="367665" y="39052"/>
                      <a:pt x="375285" y="61912"/>
                      <a:pt x="375285" y="90487"/>
                    </a:cubicBezTo>
                    <a:lnTo>
                      <a:pt x="375285" y="246697"/>
                    </a:lnTo>
                    <a:lnTo>
                      <a:pt x="302895" y="246697"/>
                    </a:lnTo>
                    <a:lnTo>
                      <a:pt x="302895" y="89535"/>
                    </a:lnTo>
                    <a:cubicBezTo>
                      <a:pt x="302895" y="63818"/>
                      <a:pt x="290513" y="51435"/>
                      <a:pt x="264795" y="51435"/>
                    </a:cubicBezTo>
                    <a:cubicBezTo>
                      <a:pt x="250507" y="51435"/>
                      <a:pt x="239078" y="57150"/>
                      <a:pt x="231457" y="67628"/>
                    </a:cubicBezTo>
                    <a:cubicBezTo>
                      <a:pt x="225743" y="76200"/>
                      <a:pt x="222885" y="86678"/>
                      <a:pt x="222885" y="100012"/>
                    </a:cubicBezTo>
                    <a:lnTo>
                      <a:pt x="222885" y="246697"/>
                    </a:lnTo>
                    <a:lnTo>
                      <a:pt x="150495" y="246697"/>
                    </a:lnTo>
                    <a:lnTo>
                      <a:pt x="150495" y="89535"/>
                    </a:lnTo>
                    <a:cubicBezTo>
                      <a:pt x="150495" y="63818"/>
                      <a:pt x="138113" y="51435"/>
                      <a:pt x="112395" y="51435"/>
                    </a:cubicBezTo>
                    <a:cubicBezTo>
                      <a:pt x="99060" y="51435"/>
                      <a:pt x="88582" y="56197"/>
                      <a:pt x="80963" y="66675"/>
                    </a:cubicBezTo>
                    <a:cubicBezTo>
                      <a:pt x="74295" y="75247"/>
                      <a:pt x="71438" y="85725"/>
                      <a:pt x="71438" y="97155"/>
                    </a:cubicBezTo>
                    <a:lnTo>
                      <a:pt x="71438" y="246697"/>
                    </a:ln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2489">
                  <a:latin typeface="CiscoSansTT Light" panose="020B0503020201020303" pitchFamily="34" charset="0"/>
                  <a:cs typeface="CiscoSansTT Light" panose="020B0503020201020303" pitchFamily="34" charset="0"/>
                </a:endParaRPr>
              </a:p>
            </p:txBody>
          </p:sp>
          <p:sp>
            <p:nvSpPr>
              <p:cNvPr id="18" name="Freeform: Shape 17">
                <a:extLst>
                  <a:ext uri="{FF2B5EF4-FFF2-40B4-BE49-F238E27FC236}">
                    <a16:creationId xmlns:a16="http://schemas.microsoft.com/office/drawing/2014/main" id="{DB8CFF30-3B90-4182-8B59-B81025B2D96E}"/>
                  </a:ext>
                </a:extLst>
              </p:cNvPr>
              <p:cNvSpPr/>
              <p:nvPr/>
            </p:nvSpPr>
            <p:spPr>
              <a:xfrm>
                <a:off x="5934397" y="3645640"/>
                <a:ext cx="247650" cy="247650"/>
              </a:xfrm>
              <a:custGeom>
                <a:avLst/>
                <a:gdLst>
                  <a:gd name="connsiteX0" fmla="*/ 170498 w 247650"/>
                  <a:gd name="connsiteY0" fmla="*/ 176213 h 247650"/>
                  <a:gd name="connsiteX1" fmla="*/ 243840 w 247650"/>
                  <a:gd name="connsiteY1" fmla="*/ 176213 h 247650"/>
                  <a:gd name="connsiteX2" fmla="*/ 203835 w 247650"/>
                  <a:gd name="connsiteY2" fmla="*/ 234315 h 247650"/>
                  <a:gd name="connsiteX3" fmla="*/ 125730 w 247650"/>
                  <a:gd name="connsiteY3" fmla="*/ 253365 h 247650"/>
                  <a:gd name="connsiteX4" fmla="*/ 30480 w 247650"/>
                  <a:gd name="connsiteY4" fmla="*/ 215265 h 247650"/>
                  <a:gd name="connsiteX5" fmla="*/ 0 w 247650"/>
                  <a:gd name="connsiteY5" fmla="*/ 126682 h 247650"/>
                  <a:gd name="connsiteX6" fmla="*/ 38100 w 247650"/>
                  <a:gd name="connsiteY6" fmla="*/ 28575 h 247650"/>
                  <a:gd name="connsiteX7" fmla="*/ 123825 w 247650"/>
                  <a:gd name="connsiteY7" fmla="*/ 0 h 247650"/>
                  <a:gd name="connsiteX8" fmla="*/ 218123 w 247650"/>
                  <a:gd name="connsiteY8" fmla="*/ 40957 h 247650"/>
                  <a:gd name="connsiteX9" fmla="*/ 247650 w 247650"/>
                  <a:gd name="connsiteY9" fmla="*/ 144780 h 247650"/>
                  <a:gd name="connsiteX10" fmla="*/ 72390 w 247650"/>
                  <a:gd name="connsiteY10" fmla="*/ 144780 h 247650"/>
                  <a:gd name="connsiteX11" fmla="*/ 129540 w 247650"/>
                  <a:gd name="connsiteY11" fmla="*/ 203835 h 247650"/>
                  <a:gd name="connsiteX12" fmla="*/ 157163 w 247650"/>
                  <a:gd name="connsiteY12" fmla="*/ 197168 h 247650"/>
                  <a:gd name="connsiteX13" fmla="*/ 170498 w 247650"/>
                  <a:gd name="connsiteY13" fmla="*/ 176213 h 247650"/>
                  <a:gd name="connsiteX14" fmla="*/ 121920 w 247650"/>
                  <a:gd name="connsiteY14" fmla="*/ 44768 h 247650"/>
                  <a:gd name="connsiteX15" fmla="*/ 72390 w 247650"/>
                  <a:gd name="connsiteY15" fmla="*/ 101918 h 247650"/>
                  <a:gd name="connsiteX16" fmla="*/ 173355 w 247650"/>
                  <a:gd name="connsiteY16" fmla="*/ 101918 h 247650"/>
                  <a:gd name="connsiteX17" fmla="*/ 121920 w 247650"/>
                  <a:gd name="connsiteY17" fmla="*/ 44768 h 2476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247650" h="247650">
                    <a:moveTo>
                      <a:pt x="170498" y="176213"/>
                    </a:moveTo>
                    <a:lnTo>
                      <a:pt x="243840" y="176213"/>
                    </a:lnTo>
                    <a:cubicBezTo>
                      <a:pt x="238125" y="200978"/>
                      <a:pt x="223838" y="220980"/>
                      <a:pt x="203835" y="234315"/>
                    </a:cubicBezTo>
                    <a:cubicBezTo>
                      <a:pt x="183833" y="246697"/>
                      <a:pt x="157163" y="253365"/>
                      <a:pt x="125730" y="253365"/>
                    </a:cubicBezTo>
                    <a:cubicBezTo>
                      <a:pt x="84773" y="253365"/>
                      <a:pt x="53340" y="240983"/>
                      <a:pt x="30480" y="215265"/>
                    </a:cubicBezTo>
                    <a:cubicBezTo>
                      <a:pt x="9525" y="192405"/>
                      <a:pt x="0" y="162878"/>
                      <a:pt x="0" y="126682"/>
                    </a:cubicBezTo>
                    <a:cubicBezTo>
                      <a:pt x="0" y="83820"/>
                      <a:pt x="12383" y="50482"/>
                      <a:pt x="38100" y="28575"/>
                    </a:cubicBezTo>
                    <a:cubicBezTo>
                      <a:pt x="60008" y="9525"/>
                      <a:pt x="88583" y="0"/>
                      <a:pt x="123825" y="0"/>
                    </a:cubicBezTo>
                    <a:cubicBezTo>
                      <a:pt x="165735" y="0"/>
                      <a:pt x="197168" y="13335"/>
                      <a:pt x="218123" y="40957"/>
                    </a:cubicBezTo>
                    <a:cubicBezTo>
                      <a:pt x="237173" y="65722"/>
                      <a:pt x="247650" y="100013"/>
                      <a:pt x="247650" y="144780"/>
                    </a:cubicBezTo>
                    <a:lnTo>
                      <a:pt x="72390" y="144780"/>
                    </a:lnTo>
                    <a:cubicBezTo>
                      <a:pt x="77153" y="183833"/>
                      <a:pt x="96203" y="203835"/>
                      <a:pt x="129540" y="203835"/>
                    </a:cubicBezTo>
                    <a:cubicBezTo>
                      <a:pt x="140018" y="203835"/>
                      <a:pt x="149543" y="201930"/>
                      <a:pt x="157163" y="197168"/>
                    </a:cubicBezTo>
                    <a:cubicBezTo>
                      <a:pt x="163830" y="191453"/>
                      <a:pt x="168593" y="184785"/>
                      <a:pt x="170498" y="176213"/>
                    </a:cubicBezTo>
                    <a:close/>
                    <a:moveTo>
                      <a:pt x="121920" y="44768"/>
                    </a:moveTo>
                    <a:cubicBezTo>
                      <a:pt x="92393" y="44768"/>
                      <a:pt x="76200" y="63818"/>
                      <a:pt x="72390" y="101918"/>
                    </a:cubicBezTo>
                    <a:lnTo>
                      <a:pt x="173355" y="101918"/>
                    </a:lnTo>
                    <a:cubicBezTo>
                      <a:pt x="170498" y="63818"/>
                      <a:pt x="153353" y="44768"/>
                      <a:pt x="121920" y="44768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2489">
                  <a:latin typeface="CiscoSansTT Light" panose="020B0503020201020303" pitchFamily="34" charset="0"/>
                  <a:cs typeface="CiscoSansTT Light" panose="020B0503020201020303" pitchFamily="34" charset="0"/>
                </a:endParaRPr>
              </a:p>
            </p:txBody>
          </p:sp>
          <p:sp>
            <p:nvSpPr>
              <p:cNvPr id="19" name="Freeform: Shape 18">
                <a:extLst>
                  <a:ext uri="{FF2B5EF4-FFF2-40B4-BE49-F238E27FC236}">
                    <a16:creationId xmlns:a16="http://schemas.microsoft.com/office/drawing/2014/main" id="{2D192A82-0EAF-4951-B698-9291EB2AF632}"/>
                  </a:ext>
                </a:extLst>
              </p:cNvPr>
              <p:cNvSpPr/>
              <p:nvPr/>
            </p:nvSpPr>
            <p:spPr>
              <a:xfrm>
                <a:off x="6216337" y="3643735"/>
                <a:ext cx="152400" cy="247650"/>
              </a:xfrm>
              <a:custGeom>
                <a:avLst/>
                <a:gdLst>
                  <a:gd name="connsiteX0" fmla="*/ 72390 w 152400"/>
                  <a:gd name="connsiteY0" fmla="*/ 247650 h 247650"/>
                  <a:gd name="connsiteX1" fmla="*/ 0 w 152400"/>
                  <a:gd name="connsiteY1" fmla="*/ 247650 h 247650"/>
                  <a:gd name="connsiteX2" fmla="*/ 0 w 152400"/>
                  <a:gd name="connsiteY2" fmla="*/ 7620 h 247650"/>
                  <a:gd name="connsiteX3" fmla="*/ 60008 w 152400"/>
                  <a:gd name="connsiteY3" fmla="*/ 7620 h 247650"/>
                  <a:gd name="connsiteX4" fmla="*/ 67628 w 152400"/>
                  <a:gd name="connsiteY4" fmla="*/ 43815 h 247650"/>
                  <a:gd name="connsiteX5" fmla="*/ 130493 w 152400"/>
                  <a:gd name="connsiteY5" fmla="*/ 0 h 247650"/>
                  <a:gd name="connsiteX6" fmla="*/ 158115 w 152400"/>
                  <a:gd name="connsiteY6" fmla="*/ 2858 h 247650"/>
                  <a:gd name="connsiteX7" fmla="*/ 158115 w 152400"/>
                  <a:gd name="connsiteY7" fmla="*/ 69533 h 247650"/>
                  <a:gd name="connsiteX8" fmla="*/ 127635 w 152400"/>
                  <a:gd name="connsiteY8" fmla="*/ 64770 h 247650"/>
                  <a:gd name="connsiteX9" fmla="*/ 87630 w 152400"/>
                  <a:gd name="connsiteY9" fmla="*/ 88583 h 247650"/>
                  <a:gd name="connsiteX10" fmla="*/ 73343 w 152400"/>
                  <a:gd name="connsiteY10" fmla="*/ 146685 h 247650"/>
                  <a:gd name="connsiteX11" fmla="*/ 73343 w 152400"/>
                  <a:gd name="connsiteY11" fmla="*/ 247650 h 2476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152400" h="247650">
                    <a:moveTo>
                      <a:pt x="72390" y="247650"/>
                    </a:moveTo>
                    <a:lnTo>
                      <a:pt x="0" y="247650"/>
                    </a:lnTo>
                    <a:lnTo>
                      <a:pt x="0" y="7620"/>
                    </a:lnTo>
                    <a:lnTo>
                      <a:pt x="60008" y="7620"/>
                    </a:lnTo>
                    <a:lnTo>
                      <a:pt x="67628" y="43815"/>
                    </a:lnTo>
                    <a:cubicBezTo>
                      <a:pt x="80963" y="15240"/>
                      <a:pt x="101918" y="0"/>
                      <a:pt x="130493" y="0"/>
                    </a:cubicBezTo>
                    <a:cubicBezTo>
                      <a:pt x="140970" y="0"/>
                      <a:pt x="150495" y="953"/>
                      <a:pt x="158115" y="2858"/>
                    </a:cubicBezTo>
                    <a:lnTo>
                      <a:pt x="158115" y="69533"/>
                    </a:lnTo>
                    <a:cubicBezTo>
                      <a:pt x="148590" y="66675"/>
                      <a:pt x="138113" y="64770"/>
                      <a:pt x="127635" y="64770"/>
                    </a:cubicBezTo>
                    <a:cubicBezTo>
                      <a:pt x="111443" y="64770"/>
                      <a:pt x="98108" y="72390"/>
                      <a:pt x="87630" y="88583"/>
                    </a:cubicBezTo>
                    <a:cubicBezTo>
                      <a:pt x="78105" y="102870"/>
                      <a:pt x="73343" y="122873"/>
                      <a:pt x="73343" y="146685"/>
                    </a:cubicBezTo>
                    <a:lnTo>
                      <a:pt x="73343" y="247650"/>
                    </a:ln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2489">
                  <a:latin typeface="CiscoSansTT Light" panose="020B0503020201020303" pitchFamily="34" charset="0"/>
                  <a:cs typeface="CiscoSansTT Light" panose="020B0503020201020303" pitchFamily="34" charset="0"/>
                </a:endParaRPr>
              </a:p>
            </p:txBody>
          </p:sp>
          <p:sp>
            <p:nvSpPr>
              <p:cNvPr id="20" name="Freeform: Shape 19">
                <a:extLst>
                  <a:ext uri="{FF2B5EF4-FFF2-40B4-BE49-F238E27FC236}">
                    <a16:creationId xmlns:a16="http://schemas.microsoft.com/office/drawing/2014/main" id="{80C91A13-B1E2-46AB-A230-643F57D492E5}"/>
                  </a:ext>
                </a:extLst>
              </p:cNvPr>
              <p:cNvSpPr/>
              <p:nvPr/>
            </p:nvSpPr>
            <p:spPr>
              <a:xfrm>
                <a:off x="6522090" y="3559915"/>
                <a:ext cx="219075" cy="323850"/>
              </a:xfrm>
              <a:custGeom>
                <a:avLst/>
                <a:gdLst>
                  <a:gd name="connsiteX0" fmla="*/ 210503 w 219075"/>
                  <a:gd name="connsiteY0" fmla="*/ 137160 h 323850"/>
                  <a:gd name="connsiteX1" fmla="*/ 210503 w 219075"/>
                  <a:gd name="connsiteY1" fmla="*/ 190500 h 323850"/>
                  <a:gd name="connsiteX2" fmla="*/ 77153 w 219075"/>
                  <a:gd name="connsiteY2" fmla="*/ 190500 h 323850"/>
                  <a:gd name="connsiteX3" fmla="*/ 77153 w 219075"/>
                  <a:gd name="connsiteY3" fmla="*/ 275272 h 323850"/>
                  <a:gd name="connsiteX4" fmla="*/ 223838 w 219075"/>
                  <a:gd name="connsiteY4" fmla="*/ 275272 h 323850"/>
                  <a:gd name="connsiteX5" fmla="*/ 223838 w 219075"/>
                  <a:gd name="connsiteY5" fmla="*/ 331470 h 323850"/>
                  <a:gd name="connsiteX6" fmla="*/ 0 w 219075"/>
                  <a:gd name="connsiteY6" fmla="*/ 331470 h 323850"/>
                  <a:gd name="connsiteX7" fmla="*/ 0 w 219075"/>
                  <a:gd name="connsiteY7" fmla="*/ 0 h 323850"/>
                  <a:gd name="connsiteX8" fmla="*/ 223838 w 219075"/>
                  <a:gd name="connsiteY8" fmla="*/ 0 h 323850"/>
                  <a:gd name="connsiteX9" fmla="*/ 223838 w 219075"/>
                  <a:gd name="connsiteY9" fmla="*/ 57150 h 323850"/>
                  <a:gd name="connsiteX10" fmla="*/ 77153 w 219075"/>
                  <a:gd name="connsiteY10" fmla="*/ 57150 h 323850"/>
                  <a:gd name="connsiteX11" fmla="*/ 77153 w 219075"/>
                  <a:gd name="connsiteY11" fmla="*/ 138113 h 323850"/>
                  <a:gd name="connsiteX12" fmla="*/ 210503 w 219075"/>
                  <a:gd name="connsiteY12" fmla="*/ 138113 h 3238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219075" h="323850">
                    <a:moveTo>
                      <a:pt x="210503" y="137160"/>
                    </a:moveTo>
                    <a:lnTo>
                      <a:pt x="210503" y="190500"/>
                    </a:lnTo>
                    <a:lnTo>
                      <a:pt x="77153" y="190500"/>
                    </a:lnTo>
                    <a:lnTo>
                      <a:pt x="77153" y="275272"/>
                    </a:lnTo>
                    <a:lnTo>
                      <a:pt x="223838" y="275272"/>
                    </a:lnTo>
                    <a:lnTo>
                      <a:pt x="223838" y="331470"/>
                    </a:lnTo>
                    <a:lnTo>
                      <a:pt x="0" y="331470"/>
                    </a:lnTo>
                    <a:lnTo>
                      <a:pt x="0" y="0"/>
                    </a:lnTo>
                    <a:lnTo>
                      <a:pt x="223838" y="0"/>
                    </a:lnTo>
                    <a:lnTo>
                      <a:pt x="223838" y="57150"/>
                    </a:lnTo>
                    <a:lnTo>
                      <a:pt x="77153" y="57150"/>
                    </a:lnTo>
                    <a:lnTo>
                      <a:pt x="77153" y="138113"/>
                    </a:lnTo>
                    <a:lnTo>
                      <a:pt x="210503" y="138113"/>
                    </a:ln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2489">
                  <a:latin typeface="CiscoSansTT Light" panose="020B0503020201020303" pitchFamily="34" charset="0"/>
                  <a:cs typeface="CiscoSansTT Light" panose="020B0503020201020303" pitchFamily="34" charset="0"/>
                </a:endParaRPr>
              </a:p>
            </p:txBody>
          </p:sp>
          <p:sp>
            <p:nvSpPr>
              <p:cNvPr id="21" name="Freeform: Shape 20">
                <a:extLst>
                  <a:ext uri="{FF2B5EF4-FFF2-40B4-BE49-F238E27FC236}">
                    <a16:creationId xmlns:a16="http://schemas.microsoft.com/office/drawing/2014/main" id="{2D1B10F0-040A-47F8-B34E-69FE25EF43B1}"/>
                  </a:ext>
                </a:extLst>
              </p:cNvPr>
              <p:cNvSpPr/>
              <p:nvPr/>
            </p:nvSpPr>
            <p:spPr>
              <a:xfrm>
                <a:off x="6768787" y="3651355"/>
                <a:ext cx="257175" cy="238125"/>
              </a:xfrm>
              <a:custGeom>
                <a:avLst/>
                <a:gdLst>
                  <a:gd name="connsiteX0" fmla="*/ 246697 w 257175"/>
                  <a:gd name="connsiteY0" fmla="*/ 0 h 238125"/>
                  <a:gd name="connsiteX1" fmla="*/ 167640 w 257175"/>
                  <a:gd name="connsiteY1" fmla="*/ 113348 h 238125"/>
                  <a:gd name="connsiteX2" fmla="*/ 259080 w 257175"/>
                  <a:gd name="connsiteY2" fmla="*/ 240982 h 238125"/>
                  <a:gd name="connsiteX3" fmla="*/ 172403 w 257175"/>
                  <a:gd name="connsiteY3" fmla="*/ 240982 h 238125"/>
                  <a:gd name="connsiteX4" fmla="*/ 125730 w 257175"/>
                  <a:gd name="connsiteY4" fmla="*/ 166688 h 238125"/>
                  <a:gd name="connsiteX5" fmla="*/ 76200 w 257175"/>
                  <a:gd name="connsiteY5" fmla="*/ 240982 h 238125"/>
                  <a:gd name="connsiteX6" fmla="*/ 0 w 257175"/>
                  <a:gd name="connsiteY6" fmla="*/ 240982 h 238125"/>
                  <a:gd name="connsiteX7" fmla="*/ 89535 w 257175"/>
                  <a:gd name="connsiteY7" fmla="*/ 114300 h 238125"/>
                  <a:gd name="connsiteX8" fmla="*/ 4763 w 257175"/>
                  <a:gd name="connsiteY8" fmla="*/ 952 h 238125"/>
                  <a:gd name="connsiteX9" fmla="*/ 88583 w 257175"/>
                  <a:gd name="connsiteY9" fmla="*/ 952 h 238125"/>
                  <a:gd name="connsiteX10" fmla="*/ 129540 w 257175"/>
                  <a:gd name="connsiteY10" fmla="*/ 62865 h 238125"/>
                  <a:gd name="connsiteX11" fmla="*/ 171450 w 257175"/>
                  <a:gd name="connsiteY11" fmla="*/ 0 h 238125"/>
                  <a:gd name="connsiteX12" fmla="*/ 246697 w 257175"/>
                  <a:gd name="connsiteY12" fmla="*/ 0 h 2381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257175" h="238125">
                    <a:moveTo>
                      <a:pt x="246697" y="0"/>
                    </a:moveTo>
                    <a:lnTo>
                      <a:pt x="167640" y="113348"/>
                    </a:lnTo>
                    <a:lnTo>
                      <a:pt x="259080" y="240982"/>
                    </a:lnTo>
                    <a:lnTo>
                      <a:pt x="172403" y="240982"/>
                    </a:lnTo>
                    <a:lnTo>
                      <a:pt x="125730" y="166688"/>
                    </a:lnTo>
                    <a:lnTo>
                      <a:pt x="76200" y="240982"/>
                    </a:lnTo>
                    <a:lnTo>
                      <a:pt x="0" y="240982"/>
                    </a:lnTo>
                    <a:lnTo>
                      <a:pt x="89535" y="114300"/>
                    </a:lnTo>
                    <a:lnTo>
                      <a:pt x="4763" y="952"/>
                    </a:lnTo>
                    <a:lnTo>
                      <a:pt x="88583" y="952"/>
                    </a:lnTo>
                    <a:lnTo>
                      <a:pt x="129540" y="62865"/>
                    </a:lnTo>
                    <a:lnTo>
                      <a:pt x="171450" y="0"/>
                    </a:lnTo>
                    <a:lnTo>
                      <a:pt x="246697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2489">
                  <a:latin typeface="CiscoSansTT Light" panose="020B0503020201020303" pitchFamily="34" charset="0"/>
                  <a:cs typeface="CiscoSansTT Light" panose="020B0503020201020303" pitchFamily="34" charset="0"/>
                </a:endParaRPr>
              </a:p>
            </p:txBody>
          </p:sp>
          <p:sp>
            <p:nvSpPr>
              <p:cNvPr id="22" name="Freeform: Shape 21">
                <a:extLst>
                  <a:ext uri="{FF2B5EF4-FFF2-40B4-BE49-F238E27FC236}">
                    <a16:creationId xmlns:a16="http://schemas.microsoft.com/office/drawing/2014/main" id="{89AB0E61-3929-4193-9DEA-833BB0837D27}"/>
                  </a:ext>
                </a:extLst>
              </p:cNvPr>
              <p:cNvSpPr/>
              <p:nvPr/>
            </p:nvSpPr>
            <p:spPr>
              <a:xfrm>
                <a:off x="7052632" y="3644688"/>
                <a:ext cx="247650" cy="323850"/>
              </a:xfrm>
              <a:custGeom>
                <a:avLst/>
                <a:gdLst>
                  <a:gd name="connsiteX0" fmla="*/ 138113 w 247650"/>
                  <a:gd name="connsiteY0" fmla="*/ 253365 h 323850"/>
                  <a:gd name="connsiteX1" fmla="*/ 72390 w 247650"/>
                  <a:gd name="connsiteY1" fmla="*/ 225743 h 323850"/>
                  <a:gd name="connsiteX2" fmla="*/ 72390 w 247650"/>
                  <a:gd name="connsiteY2" fmla="*/ 329565 h 323850"/>
                  <a:gd name="connsiteX3" fmla="*/ 0 w 247650"/>
                  <a:gd name="connsiteY3" fmla="*/ 329565 h 323850"/>
                  <a:gd name="connsiteX4" fmla="*/ 0 w 247650"/>
                  <a:gd name="connsiteY4" fmla="*/ 6668 h 323850"/>
                  <a:gd name="connsiteX5" fmla="*/ 54292 w 247650"/>
                  <a:gd name="connsiteY5" fmla="*/ 6668 h 323850"/>
                  <a:gd name="connsiteX6" fmla="*/ 68580 w 247650"/>
                  <a:gd name="connsiteY6" fmla="*/ 33338 h 323850"/>
                  <a:gd name="connsiteX7" fmla="*/ 144780 w 247650"/>
                  <a:gd name="connsiteY7" fmla="*/ 0 h 323850"/>
                  <a:gd name="connsiteX8" fmla="*/ 225742 w 247650"/>
                  <a:gd name="connsiteY8" fmla="*/ 36195 h 323850"/>
                  <a:gd name="connsiteX9" fmla="*/ 251460 w 247650"/>
                  <a:gd name="connsiteY9" fmla="*/ 123825 h 323850"/>
                  <a:gd name="connsiteX10" fmla="*/ 214313 w 247650"/>
                  <a:gd name="connsiteY10" fmla="*/ 224790 h 323850"/>
                  <a:gd name="connsiteX11" fmla="*/ 138113 w 247650"/>
                  <a:gd name="connsiteY11" fmla="*/ 253365 h 323850"/>
                  <a:gd name="connsiteX12" fmla="*/ 179070 w 247650"/>
                  <a:gd name="connsiteY12" fmla="*/ 124778 h 323850"/>
                  <a:gd name="connsiteX13" fmla="*/ 125730 w 247650"/>
                  <a:gd name="connsiteY13" fmla="*/ 52387 h 323850"/>
                  <a:gd name="connsiteX14" fmla="*/ 83820 w 247650"/>
                  <a:gd name="connsiteY14" fmla="*/ 72390 h 323850"/>
                  <a:gd name="connsiteX15" fmla="*/ 69532 w 247650"/>
                  <a:gd name="connsiteY15" fmla="*/ 123825 h 323850"/>
                  <a:gd name="connsiteX16" fmla="*/ 122872 w 247650"/>
                  <a:gd name="connsiteY16" fmla="*/ 200978 h 323850"/>
                  <a:gd name="connsiteX17" fmla="*/ 164782 w 247650"/>
                  <a:gd name="connsiteY17" fmla="*/ 180022 h 323850"/>
                  <a:gd name="connsiteX18" fmla="*/ 179070 w 247650"/>
                  <a:gd name="connsiteY18" fmla="*/ 124778 h 3238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247650" h="323850">
                    <a:moveTo>
                      <a:pt x="138113" y="253365"/>
                    </a:moveTo>
                    <a:cubicBezTo>
                      <a:pt x="112395" y="253365"/>
                      <a:pt x="89535" y="243840"/>
                      <a:pt x="72390" y="225743"/>
                    </a:cubicBezTo>
                    <a:lnTo>
                      <a:pt x="72390" y="329565"/>
                    </a:lnTo>
                    <a:lnTo>
                      <a:pt x="0" y="329565"/>
                    </a:lnTo>
                    <a:lnTo>
                      <a:pt x="0" y="6668"/>
                    </a:lnTo>
                    <a:lnTo>
                      <a:pt x="54292" y="6668"/>
                    </a:lnTo>
                    <a:lnTo>
                      <a:pt x="68580" y="33338"/>
                    </a:lnTo>
                    <a:cubicBezTo>
                      <a:pt x="87630" y="10477"/>
                      <a:pt x="113347" y="0"/>
                      <a:pt x="144780" y="0"/>
                    </a:cubicBezTo>
                    <a:cubicBezTo>
                      <a:pt x="180022" y="0"/>
                      <a:pt x="206692" y="12382"/>
                      <a:pt x="225742" y="36195"/>
                    </a:cubicBezTo>
                    <a:cubicBezTo>
                      <a:pt x="242888" y="58103"/>
                      <a:pt x="251460" y="86678"/>
                      <a:pt x="251460" y="123825"/>
                    </a:cubicBezTo>
                    <a:cubicBezTo>
                      <a:pt x="251460" y="166687"/>
                      <a:pt x="239077" y="200025"/>
                      <a:pt x="214313" y="224790"/>
                    </a:cubicBezTo>
                    <a:cubicBezTo>
                      <a:pt x="194310" y="243840"/>
                      <a:pt x="169545" y="253365"/>
                      <a:pt x="138113" y="253365"/>
                    </a:cubicBezTo>
                    <a:close/>
                    <a:moveTo>
                      <a:pt x="179070" y="124778"/>
                    </a:moveTo>
                    <a:cubicBezTo>
                      <a:pt x="179070" y="76200"/>
                      <a:pt x="160972" y="52387"/>
                      <a:pt x="125730" y="52387"/>
                    </a:cubicBezTo>
                    <a:cubicBezTo>
                      <a:pt x="107632" y="52387"/>
                      <a:pt x="93345" y="59055"/>
                      <a:pt x="83820" y="72390"/>
                    </a:cubicBezTo>
                    <a:cubicBezTo>
                      <a:pt x="74295" y="84772"/>
                      <a:pt x="69532" y="101918"/>
                      <a:pt x="69532" y="123825"/>
                    </a:cubicBezTo>
                    <a:cubicBezTo>
                      <a:pt x="69532" y="175260"/>
                      <a:pt x="87630" y="200978"/>
                      <a:pt x="122872" y="200978"/>
                    </a:cubicBezTo>
                    <a:cubicBezTo>
                      <a:pt x="140970" y="200978"/>
                      <a:pt x="155257" y="194310"/>
                      <a:pt x="164782" y="180022"/>
                    </a:cubicBezTo>
                    <a:cubicBezTo>
                      <a:pt x="175260" y="166687"/>
                      <a:pt x="179070" y="148590"/>
                      <a:pt x="179070" y="124778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2489">
                  <a:latin typeface="CiscoSansTT Light" panose="020B0503020201020303" pitchFamily="34" charset="0"/>
                  <a:cs typeface="CiscoSansTT Light" panose="020B0503020201020303" pitchFamily="34" charset="0"/>
                </a:endParaRPr>
              </a:p>
            </p:txBody>
          </p:sp>
          <p:sp>
            <p:nvSpPr>
              <p:cNvPr id="23" name="Freeform: Shape 22">
                <a:extLst>
                  <a:ext uri="{FF2B5EF4-FFF2-40B4-BE49-F238E27FC236}">
                    <a16:creationId xmlns:a16="http://schemas.microsoft.com/office/drawing/2014/main" id="{2E4DD595-C4FA-44EC-8D49-177AF0C87545}"/>
                  </a:ext>
                </a:extLst>
              </p:cNvPr>
              <p:cNvSpPr/>
              <p:nvPr/>
            </p:nvSpPr>
            <p:spPr>
              <a:xfrm>
                <a:off x="7332667" y="3645640"/>
                <a:ext cx="238125" cy="247650"/>
              </a:xfrm>
              <a:custGeom>
                <a:avLst/>
                <a:gdLst>
                  <a:gd name="connsiteX0" fmla="*/ 170497 w 238125"/>
                  <a:gd name="connsiteY0" fmla="*/ 176213 h 247650"/>
                  <a:gd name="connsiteX1" fmla="*/ 243840 w 238125"/>
                  <a:gd name="connsiteY1" fmla="*/ 176213 h 247650"/>
                  <a:gd name="connsiteX2" fmla="*/ 203835 w 238125"/>
                  <a:gd name="connsiteY2" fmla="*/ 234315 h 247650"/>
                  <a:gd name="connsiteX3" fmla="*/ 125730 w 238125"/>
                  <a:gd name="connsiteY3" fmla="*/ 253365 h 247650"/>
                  <a:gd name="connsiteX4" fmla="*/ 30480 w 238125"/>
                  <a:gd name="connsiteY4" fmla="*/ 215265 h 247650"/>
                  <a:gd name="connsiteX5" fmla="*/ 0 w 238125"/>
                  <a:gd name="connsiteY5" fmla="*/ 126682 h 247650"/>
                  <a:gd name="connsiteX6" fmla="*/ 38100 w 238125"/>
                  <a:gd name="connsiteY6" fmla="*/ 28575 h 247650"/>
                  <a:gd name="connsiteX7" fmla="*/ 123825 w 238125"/>
                  <a:gd name="connsiteY7" fmla="*/ 0 h 247650"/>
                  <a:gd name="connsiteX8" fmla="*/ 218122 w 238125"/>
                  <a:gd name="connsiteY8" fmla="*/ 40957 h 247650"/>
                  <a:gd name="connsiteX9" fmla="*/ 247650 w 238125"/>
                  <a:gd name="connsiteY9" fmla="*/ 144780 h 247650"/>
                  <a:gd name="connsiteX10" fmla="*/ 72390 w 238125"/>
                  <a:gd name="connsiteY10" fmla="*/ 144780 h 247650"/>
                  <a:gd name="connsiteX11" fmla="*/ 129540 w 238125"/>
                  <a:gd name="connsiteY11" fmla="*/ 203835 h 247650"/>
                  <a:gd name="connsiteX12" fmla="*/ 157163 w 238125"/>
                  <a:gd name="connsiteY12" fmla="*/ 197168 h 247650"/>
                  <a:gd name="connsiteX13" fmla="*/ 170497 w 238125"/>
                  <a:gd name="connsiteY13" fmla="*/ 176213 h 247650"/>
                  <a:gd name="connsiteX14" fmla="*/ 121920 w 238125"/>
                  <a:gd name="connsiteY14" fmla="*/ 44768 h 247650"/>
                  <a:gd name="connsiteX15" fmla="*/ 72390 w 238125"/>
                  <a:gd name="connsiteY15" fmla="*/ 101918 h 247650"/>
                  <a:gd name="connsiteX16" fmla="*/ 173355 w 238125"/>
                  <a:gd name="connsiteY16" fmla="*/ 101918 h 247650"/>
                  <a:gd name="connsiteX17" fmla="*/ 121920 w 238125"/>
                  <a:gd name="connsiteY17" fmla="*/ 44768 h 2476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238125" h="247650">
                    <a:moveTo>
                      <a:pt x="170497" y="176213"/>
                    </a:moveTo>
                    <a:lnTo>
                      <a:pt x="243840" y="176213"/>
                    </a:lnTo>
                    <a:cubicBezTo>
                      <a:pt x="238125" y="200978"/>
                      <a:pt x="224790" y="220980"/>
                      <a:pt x="203835" y="234315"/>
                    </a:cubicBezTo>
                    <a:cubicBezTo>
                      <a:pt x="183832" y="246697"/>
                      <a:pt x="157163" y="253365"/>
                      <a:pt x="125730" y="253365"/>
                    </a:cubicBezTo>
                    <a:cubicBezTo>
                      <a:pt x="84772" y="253365"/>
                      <a:pt x="53340" y="240983"/>
                      <a:pt x="30480" y="215265"/>
                    </a:cubicBezTo>
                    <a:cubicBezTo>
                      <a:pt x="9525" y="192405"/>
                      <a:pt x="0" y="162878"/>
                      <a:pt x="0" y="126682"/>
                    </a:cubicBezTo>
                    <a:cubicBezTo>
                      <a:pt x="0" y="83820"/>
                      <a:pt x="12382" y="50482"/>
                      <a:pt x="38100" y="28575"/>
                    </a:cubicBezTo>
                    <a:cubicBezTo>
                      <a:pt x="60007" y="9525"/>
                      <a:pt x="88582" y="0"/>
                      <a:pt x="123825" y="0"/>
                    </a:cubicBezTo>
                    <a:cubicBezTo>
                      <a:pt x="165735" y="0"/>
                      <a:pt x="197167" y="13335"/>
                      <a:pt x="218122" y="40957"/>
                    </a:cubicBezTo>
                    <a:cubicBezTo>
                      <a:pt x="237172" y="65722"/>
                      <a:pt x="247650" y="100013"/>
                      <a:pt x="247650" y="144780"/>
                    </a:cubicBezTo>
                    <a:lnTo>
                      <a:pt x="72390" y="144780"/>
                    </a:lnTo>
                    <a:cubicBezTo>
                      <a:pt x="77153" y="183833"/>
                      <a:pt x="96203" y="203835"/>
                      <a:pt x="129540" y="203835"/>
                    </a:cubicBezTo>
                    <a:cubicBezTo>
                      <a:pt x="140017" y="203835"/>
                      <a:pt x="149542" y="201930"/>
                      <a:pt x="157163" y="197168"/>
                    </a:cubicBezTo>
                    <a:cubicBezTo>
                      <a:pt x="164782" y="192405"/>
                      <a:pt x="168592" y="184785"/>
                      <a:pt x="170497" y="176213"/>
                    </a:cubicBezTo>
                    <a:close/>
                    <a:moveTo>
                      <a:pt x="121920" y="44768"/>
                    </a:moveTo>
                    <a:cubicBezTo>
                      <a:pt x="92392" y="44768"/>
                      <a:pt x="76200" y="63818"/>
                      <a:pt x="72390" y="101918"/>
                    </a:cubicBezTo>
                    <a:lnTo>
                      <a:pt x="173355" y="101918"/>
                    </a:lnTo>
                    <a:cubicBezTo>
                      <a:pt x="171450" y="63818"/>
                      <a:pt x="154305" y="44768"/>
                      <a:pt x="121920" y="44768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2489">
                  <a:latin typeface="CiscoSansTT Light" panose="020B0503020201020303" pitchFamily="34" charset="0"/>
                  <a:cs typeface="CiscoSansTT Light" panose="020B0503020201020303" pitchFamily="34" charset="0"/>
                </a:endParaRPr>
              </a:p>
            </p:txBody>
          </p:sp>
          <p:sp>
            <p:nvSpPr>
              <p:cNvPr id="24" name="Freeform: Shape 23">
                <a:extLst>
                  <a:ext uri="{FF2B5EF4-FFF2-40B4-BE49-F238E27FC236}">
                    <a16:creationId xmlns:a16="http://schemas.microsoft.com/office/drawing/2014/main" id="{44F3F178-9A7F-42B2-A659-A9EFAFEEB18E}"/>
                  </a:ext>
                </a:extLst>
              </p:cNvPr>
              <p:cNvSpPr/>
              <p:nvPr/>
            </p:nvSpPr>
            <p:spPr>
              <a:xfrm>
                <a:off x="7614607" y="3643735"/>
                <a:ext cx="152400" cy="247650"/>
              </a:xfrm>
              <a:custGeom>
                <a:avLst/>
                <a:gdLst>
                  <a:gd name="connsiteX0" fmla="*/ 72390 w 152400"/>
                  <a:gd name="connsiteY0" fmla="*/ 247650 h 247650"/>
                  <a:gd name="connsiteX1" fmla="*/ 0 w 152400"/>
                  <a:gd name="connsiteY1" fmla="*/ 247650 h 247650"/>
                  <a:gd name="connsiteX2" fmla="*/ 0 w 152400"/>
                  <a:gd name="connsiteY2" fmla="*/ 7620 h 247650"/>
                  <a:gd name="connsiteX3" fmla="*/ 60007 w 152400"/>
                  <a:gd name="connsiteY3" fmla="*/ 7620 h 247650"/>
                  <a:gd name="connsiteX4" fmla="*/ 67627 w 152400"/>
                  <a:gd name="connsiteY4" fmla="*/ 43815 h 247650"/>
                  <a:gd name="connsiteX5" fmla="*/ 130493 w 152400"/>
                  <a:gd name="connsiteY5" fmla="*/ 0 h 247650"/>
                  <a:gd name="connsiteX6" fmla="*/ 158115 w 152400"/>
                  <a:gd name="connsiteY6" fmla="*/ 2858 h 247650"/>
                  <a:gd name="connsiteX7" fmla="*/ 158115 w 152400"/>
                  <a:gd name="connsiteY7" fmla="*/ 69533 h 247650"/>
                  <a:gd name="connsiteX8" fmla="*/ 127635 w 152400"/>
                  <a:gd name="connsiteY8" fmla="*/ 64770 h 247650"/>
                  <a:gd name="connsiteX9" fmla="*/ 87630 w 152400"/>
                  <a:gd name="connsiteY9" fmla="*/ 88583 h 247650"/>
                  <a:gd name="connsiteX10" fmla="*/ 73343 w 152400"/>
                  <a:gd name="connsiteY10" fmla="*/ 146685 h 247650"/>
                  <a:gd name="connsiteX11" fmla="*/ 73343 w 152400"/>
                  <a:gd name="connsiteY11" fmla="*/ 247650 h 2476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152400" h="247650">
                    <a:moveTo>
                      <a:pt x="72390" y="247650"/>
                    </a:moveTo>
                    <a:lnTo>
                      <a:pt x="0" y="247650"/>
                    </a:lnTo>
                    <a:lnTo>
                      <a:pt x="0" y="7620"/>
                    </a:lnTo>
                    <a:lnTo>
                      <a:pt x="60007" y="7620"/>
                    </a:lnTo>
                    <a:lnTo>
                      <a:pt x="67627" y="43815"/>
                    </a:lnTo>
                    <a:cubicBezTo>
                      <a:pt x="80963" y="15240"/>
                      <a:pt x="101918" y="0"/>
                      <a:pt x="130493" y="0"/>
                    </a:cubicBezTo>
                    <a:cubicBezTo>
                      <a:pt x="140970" y="0"/>
                      <a:pt x="150495" y="953"/>
                      <a:pt x="158115" y="2858"/>
                    </a:cubicBezTo>
                    <a:lnTo>
                      <a:pt x="158115" y="69533"/>
                    </a:lnTo>
                    <a:cubicBezTo>
                      <a:pt x="148590" y="66675"/>
                      <a:pt x="138113" y="64770"/>
                      <a:pt x="127635" y="64770"/>
                    </a:cubicBezTo>
                    <a:cubicBezTo>
                      <a:pt x="111443" y="64770"/>
                      <a:pt x="98107" y="72390"/>
                      <a:pt x="87630" y="88583"/>
                    </a:cubicBezTo>
                    <a:cubicBezTo>
                      <a:pt x="78105" y="102870"/>
                      <a:pt x="73343" y="122873"/>
                      <a:pt x="73343" y="146685"/>
                    </a:cubicBezTo>
                    <a:lnTo>
                      <a:pt x="73343" y="247650"/>
                    </a:ln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2489">
                  <a:latin typeface="CiscoSansTT Light" panose="020B0503020201020303" pitchFamily="34" charset="0"/>
                  <a:cs typeface="CiscoSansTT Light" panose="020B0503020201020303" pitchFamily="34" charset="0"/>
                </a:endParaRPr>
              </a:p>
            </p:txBody>
          </p:sp>
          <p:sp>
            <p:nvSpPr>
              <p:cNvPr id="25" name="Freeform: Shape 24">
                <a:extLst>
                  <a:ext uri="{FF2B5EF4-FFF2-40B4-BE49-F238E27FC236}">
                    <a16:creationId xmlns:a16="http://schemas.microsoft.com/office/drawing/2014/main" id="{C6DEB7E9-6706-4C5F-B271-C7423D03763C}"/>
                  </a:ext>
                </a:extLst>
              </p:cNvPr>
              <p:cNvSpPr/>
              <p:nvPr/>
            </p:nvSpPr>
            <p:spPr>
              <a:xfrm>
                <a:off x="7793677" y="3559915"/>
                <a:ext cx="76200" cy="323850"/>
              </a:xfrm>
              <a:custGeom>
                <a:avLst/>
                <a:gdLst>
                  <a:gd name="connsiteX0" fmla="*/ 78105 w 76200"/>
                  <a:gd name="connsiteY0" fmla="*/ 60960 h 323850"/>
                  <a:gd name="connsiteX1" fmla="*/ 0 w 76200"/>
                  <a:gd name="connsiteY1" fmla="*/ 60960 h 323850"/>
                  <a:gd name="connsiteX2" fmla="*/ 0 w 76200"/>
                  <a:gd name="connsiteY2" fmla="*/ 0 h 323850"/>
                  <a:gd name="connsiteX3" fmla="*/ 77152 w 76200"/>
                  <a:gd name="connsiteY3" fmla="*/ 0 h 323850"/>
                  <a:gd name="connsiteX4" fmla="*/ 77152 w 76200"/>
                  <a:gd name="connsiteY4" fmla="*/ 60960 h 323850"/>
                  <a:gd name="connsiteX5" fmla="*/ 75248 w 76200"/>
                  <a:gd name="connsiteY5" fmla="*/ 331470 h 323850"/>
                  <a:gd name="connsiteX6" fmla="*/ 2857 w 76200"/>
                  <a:gd name="connsiteY6" fmla="*/ 331470 h 323850"/>
                  <a:gd name="connsiteX7" fmla="*/ 2857 w 76200"/>
                  <a:gd name="connsiteY7" fmla="*/ 91440 h 323850"/>
                  <a:gd name="connsiteX8" fmla="*/ 75248 w 76200"/>
                  <a:gd name="connsiteY8" fmla="*/ 91440 h 323850"/>
                  <a:gd name="connsiteX9" fmla="*/ 75248 w 76200"/>
                  <a:gd name="connsiteY9" fmla="*/ 331470 h 3238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76200" h="323850">
                    <a:moveTo>
                      <a:pt x="78105" y="60960"/>
                    </a:moveTo>
                    <a:lnTo>
                      <a:pt x="0" y="60960"/>
                    </a:lnTo>
                    <a:lnTo>
                      <a:pt x="0" y="0"/>
                    </a:lnTo>
                    <a:lnTo>
                      <a:pt x="77152" y="0"/>
                    </a:lnTo>
                    <a:lnTo>
                      <a:pt x="77152" y="60960"/>
                    </a:lnTo>
                    <a:close/>
                    <a:moveTo>
                      <a:pt x="75248" y="331470"/>
                    </a:moveTo>
                    <a:lnTo>
                      <a:pt x="2857" y="331470"/>
                    </a:lnTo>
                    <a:lnTo>
                      <a:pt x="2857" y="91440"/>
                    </a:lnTo>
                    <a:lnTo>
                      <a:pt x="75248" y="91440"/>
                    </a:lnTo>
                    <a:lnTo>
                      <a:pt x="75248" y="331470"/>
                    </a:ln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2489">
                  <a:latin typeface="CiscoSansTT Light" panose="020B0503020201020303" pitchFamily="34" charset="0"/>
                  <a:cs typeface="CiscoSansTT Light" panose="020B0503020201020303" pitchFamily="34" charset="0"/>
                </a:endParaRPr>
              </a:p>
            </p:txBody>
          </p:sp>
          <p:sp>
            <p:nvSpPr>
              <p:cNvPr id="26" name="Freeform: Shape 25">
                <a:extLst>
                  <a:ext uri="{FF2B5EF4-FFF2-40B4-BE49-F238E27FC236}">
                    <a16:creationId xmlns:a16="http://schemas.microsoft.com/office/drawing/2014/main" id="{95A062F9-FA01-4CE8-90EC-8589B31E96CE}"/>
                  </a:ext>
                </a:extLst>
              </p:cNvPr>
              <p:cNvSpPr/>
              <p:nvPr/>
            </p:nvSpPr>
            <p:spPr>
              <a:xfrm>
                <a:off x="7907025" y="3645640"/>
                <a:ext cx="247650" cy="247650"/>
              </a:xfrm>
              <a:custGeom>
                <a:avLst/>
                <a:gdLst>
                  <a:gd name="connsiteX0" fmla="*/ 170497 w 247650"/>
                  <a:gd name="connsiteY0" fmla="*/ 176213 h 247650"/>
                  <a:gd name="connsiteX1" fmla="*/ 243840 w 247650"/>
                  <a:gd name="connsiteY1" fmla="*/ 176213 h 247650"/>
                  <a:gd name="connsiteX2" fmla="*/ 203835 w 247650"/>
                  <a:gd name="connsiteY2" fmla="*/ 234315 h 247650"/>
                  <a:gd name="connsiteX3" fmla="*/ 125730 w 247650"/>
                  <a:gd name="connsiteY3" fmla="*/ 253365 h 247650"/>
                  <a:gd name="connsiteX4" fmla="*/ 30480 w 247650"/>
                  <a:gd name="connsiteY4" fmla="*/ 215265 h 247650"/>
                  <a:gd name="connsiteX5" fmla="*/ 0 w 247650"/>
                  <a:gd name="connsiteY5" fmla="*/ 126682 h 247650"/>
                  <a:gd name="connsiteX6" fmla="*/ 38100 w 247650"/>
                  <a:gd name="connsiteY6" fmla="*/ 28575 h 247650"/>
                  <a:gd name="connsiteX7" fmla="*/ 123825 w 247650"/>
                  <a:gd name="connsiteY7" fmla="*/ 0 h 247650"/>
                  <a:gd name="connsiteX8" fmla="*/ 218122 w 247650"/>
                  <a:gd name="connsiteY8" fmla="*/ 40957 h 247650"/>
                  <a:gd name="connsiteX9" fmla="*/ 247650 w 247650"/>
                  <a:gd name="connsiteY9" fmla="*/ 144780 h 247650"/>
                  <a:gd name="connsiteX10" fmla="*/ 73342 w 247650"/>
                  <a:gd name="connsiteY10" fmla="*/ 144780 h 247650"/>
                  <a:gd name="connsiteX11" fmla="*/ 130492 w 247650"/>
                  <a:gd name="connsiteY11" fmla="*/ 203835 h 247650"/>
                  <a:gd name="connsiteX12" fmla="*/ 158115 w 247650"/>
                  <a:gd name="connsiteY12" fmla="*/ 197168 h 247650"/>
                  <a:gd name="connsiteX13" fmla="*/ 170497 w 247650"/>
                  <a:gd name="connsiteY13" fmla="*/ 176213 h 247650"/>
                  <a:gd name="connsiteX14" fmla="*/ 120967 w 247650"/>
                  <a:gd name="connsiteY14" fmla="*/ 44768 h 247650"/>
                  <a:gd name="connsiteX15" fmla="*/ 71438 w 247650"/>
                  <a:gd name="connsiteY15" fmla="*/ 101918 h 247650"/>
                  <a:gd name="connsiteX16" fmla="*/ 172402 w 247650"/>
                  <a:gd name="connsiteY16" fmla="*/ 101918 h 247650"/>
                  <a:gd name="connsiteX17" fmla="*/ 120967 w 247650"/>
                  <a:gd name="connsiteY17" fmla="*/ 44768 h 2476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247650" h="247650">
                    <a:moveTo>
                      <a:pt x="170497" y="176213"/>
                    </a:moveTo>
                    <a:lnTo>
                      <a:pt x="243840" y="176213"/>
                    </a:lnTo>
                    <a:cubicBezTo>
                      <a:pt x="238125" y="200978"/>
                      <a:pt x="223838" y="220980"/>
                      <a:pt x="203835" y="234315"/>
                    </a:cubicBezTo>
                    <a:cubicBezTo>
                      <a:pt x="183832" y="246697"/>
                      <a:pt x="157163" y="253365"/>
                      <a:pt x="125730" y="253365"/>
                    </a:cubicBezTo>
                    <a:cubicBezTo>
                      <a:pt x="84772" y="253365"/>
                      <a:pt x="53340" y="240983"/>
                      <a:pt x="30480" y="215265"/>
                    </a:cubicBezTo>
                    <a:cubicBezTo>
                      <a:pt x="9525" y="192405"/>
                      <a:pt x="0" y="162878"/>
                      <a:pt x="0" y="126682"/>
                    </a:cubicBezTo>
                    <a:cubicBezTo>
                      <a:pt x="0" y="83820"/>
                      <a:pt x="12382" y="50482"/>
                      <a:pt x="38100" y="28575"/>
                    </a:cubicBezTo>
                    <a:cubicBezTo>
                      <a:pt x="60007" y="9525"/>
                      <a:pt x="88582" y="0"/>
                      <a:pt x="123825" y="0"/>
                    </a:cubicBezTo>
                    <a:cubicBezTo>
                      <a:pt x="165735" y="0"/>
                      <a:pt x="197167" y="13335"/>
                      <a:pt x="218122" y="40957"/>
                    </a:cubicBezTo>
                    <a:cubicBezTo>
                      <a:pt x="237172" y="65722"/>
                      <a:pt x="247650" y="100013"/>
                      <a:pt x="247650" y="144780"/>
                    </a:cubicBezTo>
                    <a:lnTo>
                      <a:pt x="73342" y="144780"/>
                    </a:lnTo>
                    <a:cubicBezTo>
                      <a:pt x="78105" y="183833"/>
                      <a:pt x="97155" y="203835"/>
                      <a:pt x="130492" y="203835"/>
                    </a:cubicBezTo>
                    <a:cubicBezTo>
                      <a:pt x="140970" y="203835"/>
                      <a:pt x="150495" y="201930"/>
                      <a:pt x="158115" y="197168"/>
                    </a:cubicBezTo>
                    <a:cubicBezTo>
                      <a:pt x="165735" y="192405"/>
                      <a:pt x="167640" y="184785"/>
                      <a:pt x="170497" y="176213"/>
                    </a:cubicBezTo>
                    <a:close/>
                    <a:moveTo>
                      <a:pt x="120967" y="44768"/>
                    </a:moveTo>
                    <a:cubicBezTo>
                      <a:pt x="91440" y="44768"/>
                      <a:pt x="75247" y="63818"/>
                      <a:pt x="71438" y="101918"/>
                    </a:cubicBezTo>
                    <a:lnTo>
                      <a:pt x="172402" y="101918"/>
                    </a:lnTo>
                    <a:cubicBezTo>
                      <a:pt x="170497" y="63818"/>
                      <a:pt x="153352" y="44768"/>
                      <a:pt x="120967" y="44768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2489">
                  <a:latin typeface="CiscoSansTT Light" panose="020B0503020201020303" pitchFamily="34" charset="0"/>
                  <a:cs typeface="CiscoSansTT Light" panose="020B0503020201020303" pitchFamily="34" charset="0"/>
                </a:endParaRPr>
              </a:p>
            </p:txBody>
          </p:sp>
          <p:sp>
            <p:nvSpPr>
              <p:cNvPr id="27" name="Freeform: Shape 26">
                <a:extLst>
                  <a:ext uri="{FF2B5EF4-FFF2-40B4-BE49-F238E27FC236}">
                    <a16:creationId xmlns:a16="http://schemas.microsoft.com/office/drawing/2014/main" id="{657CA19F-91C2-4AD4-A596-6465D36C1560}"/>
                  </a:ext>
                </a:extLst>
              </p:cNvPr>
              <p:cNvSpPr/>
              <p:nvPr/>
            </p:nvSpPr>
            <p:spPr>
              <a:xfrm>
                <a:off x="8188965" y="3644688"/>
                <a:ext cx="228600" cy="238125"/>
              </a:xfrm>
              <a:custGeom>
                <a:avLst/>
                <a:gdLst>
                  <a:gd name="connsiteX0" fmla="*/ 72390 w 228600"/>
                  <a:gd name="connsiteY0" fmla="*/ 246697 h 238125"/>
                  <a:gd name="connsiteX1" fmla="*/ 0 w 228600"/>
                  <a:gd name="connsiteY1" fmla="*/ 246697 h 238125"/>
                  <a:gd name="connsiteX2" fmla="*/ 0 w 228600"/>
                  <a:gd name="connsiteY2" fmla="*/ 6668 h 238125"/>
                  <a:gd name="connsiteX3" fmla="*/ 59055 w 228600"/>
                  <a:gd name="connsiteY3" fmla="*/ 6668 h 238125"/>
                  <a:gd name="connsiteX4" fmla="*/ 65723 w 228600"/>
                  <a:gd name="connsiteY4" fmla="*/ 33338 h 238125"/>
                  <a:gd name="connsiteX5" fmla="*/ 139065 w 228600"/>
                  <a:gd name="connsiteY5" fmla="*/ 0 h 238125"/>
                  <a:gd name="connsiteX6" fmla="*/ 207645 w 228600"/>
                  <a:gd name="connsiteY6" fmla="*/ 27622 h 238125"/>
                  <a:gd name="connsiteX7" fmla="*/ 228600 w 228600"/>
                  <a:gd name="connsiteY7" fmla="*/ 92393 h 238125"/>
                  <a:gd name="connsiteX8" fmla="*/ 228600 w 228600"/>
                  <a:gd name="connsiteY8" fmla="*/ 247650 h 238125"/>
                  <a:gd name="connsiteX9" fmla="*/ 157163 w 228600"/>
                  <a:gd name="connsiteY9" fmla="*/ 247650 h 238125"/>
                  <a:gd name="connsiteX10" fmla="*/ 157163 w 228600"/>
                  <a:gd name="connsiteY10" fmla="*/ 95250 h 238125"/>
                  <a:gd name="connsiteX11" fmla="*/ 120015 w 228600"/>
                  <a:gd name="connsiteY11" fmla="*/ 51435 h 238125"/>
                  <a:gd name="connsiteX12" fmla="*/ 83820 w 228600"/>
                  <a:gd name="connsiteY12" fmla="*/ 67628 h 238125"/>
                  <a:gd name="connsiteX13" fmla="*/ 71438 w 228600"/>
                  <a:gd name="connsiteY13" fmla="*/ 104775 h 238125"/>
                  <a:gd name="connsiteX14" fmla="*/ 71438 w 228600"/>
                  <a:gd name="connsiteY14" fmla="*/ 246697 h 2381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228600" h="238125">
                    <a:moveTo>
                      <a:pt x="72390" y="246697"/>
                    </a:moveTo>
                    <a:lnTo>
                      <a:pt x="0" y="246697"/>
                    </a:lnTo>
                    <a:lnTo>
                      <a:pt x="0" y="6668"/>
                    </a:lnTo>
                    <a:lnTo>
                      <a:pt x="59055" y="6668"/>
                    </a:lnTo>
                    <a:lnTo>
                      <a:pt x="65723" y="33338"/>
                    </a:lnTo>
                    <a:cubicBezTo>
                      <a:pt x="82868" y="11430"/>
                      <a:pt x="107632" y="0"/>
                      <a:pt x="139065" y="0"/>
                    </a:cubicBezTo>
                    <a:cubicBezTo>
                      <a:pt x="168593" y="0"/>
                      <a:pt x="191452" y="9525"/>
                      <a:pt x="207645" y="27622"/>
                    </a:cubicBezTo>
                    <a:cubicBezTo>
                      <a:pt x="221932" y="43815"/>
                      <a:pt x="228600" y="64770"/>
                      <a:pt x="228600" y="92393"/>
                    </a:cubicBezTo>
                    <a:lnTo>
                      <a:pt x="228600" y="247650"/>
                    </a:lnTo>
                    <a:lnTo>
                      <a:pt x="157163" y="247650"/>
                    </a:lnTo>
                    <a:lnTo>
                      <a:pt x="157163" y="95250"/>
                    </a:lnTo>
                    <a:cubicBezTo>
                      <a:pt x="157163" y="65722"/>
                      <a:pt x="144780" y="51435"/>
                      <a:pt x="120015" y="51435"/>
                    </a:cubicBezTo>
                    <a:cubicBezTo>
                      <a:pt x="104775" y="51435"/>
                      <a:pt x="93345" y="57150"/>
                      <a:pt x="83820" y="67628"/>
                    </a:cubicBezTo>
                    <a:cubicBezTo>
                      <a:pt x="76200" y="77153"/>
                      <a:pt x="71438" y="89535"/>
                      <a:pt x="71438" y="104775"/>
                    </a:cubicBezTo>
                    <a:lnTo>
                      <a:pt x="71438" y="246697"/>
                    </a:ln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2489">
                  <a:latin typeface="CiscoSansTT Light" panose="020B0503020201020303" pitchFamily="34" charset="0"/>
                  <a:cs typeface="CiscoSansTT Light" panose="020B0503020201020303" pitchFamily="34" charset="0"/>
                </a:endParaRPr>
              </a:p>
            </p:txBody>
          </p:sp>
          <p:sp>
            <p:nvSpPr>
              <p:cNvPr id="28" name="Freeform: Shape 27">
                <a:extLst>
                  <a:ext uri="{FF2B5EF4-FFF2-40B4-BE49-F238E27FC236}">
                    <a16:creationId xmlns:a16="http://schemas.microsoft.com/office/drawing/2014/main" id="{1DB4FF96-DDBB-4849-B539-FD06C513DCCD}"/>
                  </a:ext>
                </a:extLst>
              </p:cNvPr>
              <p:cNvSpPr/>
              <p:nvPr/>
            </p:nvSpPr>
            <p:spPr>
              <a:xfrm>
                <a:off x="8453759" y="3644688"/>
                <a:ext cx="238125" cy="247650"/>
              </a:xfrm>
              <a:custGeom>
                <a:avLst/>
                <a:gdLst>
                  <a:gd name="connsiteX0" fmla="*/ 166688 w 238125"/>
                  <a:gd name="connsiteY0" fmla="*/ 166687 h 247650"/>
                  <a:gd name="connsiteX1" fmla="*/ 241935 w 238125"/>
                  <a:gd name="connsiteY1" fmla="*/ 166687 h 247650"/>
                  <a:gd name="connsiteX2" fmla="*/ 200025 w 238125"/>
                  <a:gd name="connsiteY2" fmla="*/ 231458 h 247650"/>
                  <a:gd name="connsiteX3" fmla="*/ 121920 w 238125"/>
                  <a:gd name="connsiteY3" fmla="*/ 253365 h 247650"/>
                  <a:gd name="connsiteX4" fmla="*/ 27623 w 238125"/>
                  <a:gd name="connsiteY4" fmla="*/ 216218 h 247650"/>
                  <a:gd name="connsiteX5" fmla="*/ 0 w 238125"/>
                  <a:gd name="connsiteY5" fmla="*/ 128587 h 247650"/>
                  <a:gd name="connsiteX6" fmla="*/ 38100 w 238125"/>
                  <a:gd name="connsiteY6" fmla="*/ 29527 h 247650"/>
                  <a:gd name="connsiteX7" fmla="*/ 123825 w 238125"/>
                  <a:gd name="connsiteY7" fmla="*/ 0 h 247650"/>
                  <a:gd name="connsiteX8" fmla="*/ 207645 w 238125"/>
                  <a:gd name="connsiteY8" fmla="*/ 25718 h 247650"/>
                  <a:gd name="connsiteX9" fmla="*/ 242888 w 238125"/>
                  <a:gd name="connsiteY9" fmla="*/ 80962 h 247650"/>
                  <a:gd name="connsiteX10" fmla="*/ 167640 w 238125"/>
                  <a:gd name="connsiteY10" fmla="*/ 80962 h 247650"/>
                  <a:gd name="connsiteX11" fmla="*/ 152400 w 238125"/>
                  <a:gd name="connsiteY11" fmla="*/ 58103 h 247650"/>
                  <a:gd name="connsiteX12" fmla="*/ 126682 w 238125"/>
                  <a:gd name="connsiteY12" fmla="*/ 49530 h 247650"/>
                  <a:gd name="connsiteX13" fmla="*/ 76200 w 238125"/>
                  <a:gd name="connsiteY13" fmla="*/ 131445 h 247650"/>
                  <a:gd name="connsiteX14" fmla="*/ 91440 w 238125"/>
                  <a:gd name="connsiteY14" fmla="*/ 190500 h 247650"/>
                  <a:gd name="connsiteX15" fmla="*/ 123825 w 238125"/>
                  <a:gd name="connsiteY15" fmla="*/ 205740 h 247650"/>
                  <a:gd name="connsiteX16" fmla="*/ 166688 w 238125"/>
                  <a:gd name="connsiteY16" fmla="*/ 166687 h 2476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238125" h="247650">
                    <a:moveTo>
                      <a:pt x="166688" y="166687"/>
                    </a:moveTo>
                    <a:lnTo>
                      <a:pt x="241935" y="166687"/>
                    </a:lnTo>
                    <a:cubicBezTo>
                      <a:pt x="235268" y="195262"/>
                      <a:pt x="221932" y="216218"/>
                      <a:pt x="200025" y="231458"/>
                    </a:cubicBezTo>
                    <a:cubicBezTo>
                      <a:pt x="180023" y="245745"/>
                      <a:pt x="153353" y="253365"/>
                      <a:pt x="121920" y="253365"/>
                    </a:cubicBezTo>
                    <a:cubicBezTo>
                      <a:pt x="80010" y="253365"/>
                      <a:pt x="48578" y="240983"/>
                      <a:pt x="27623" y="216218"/>
                    </a:cubicBezTo>
                    <a:cubicBezTo>
                      <a:pt x="9525" y="195262"/>
                      <a:pt x="0" y="165735"/>
                      <a:pt x="0" y="128587"/>
                    </a:cubicBezTo>
                    <a:cubicBezTo>
                      <a:pt x="0" y="85725"/>
                      <a:pt x="12382" y="52387"/>
                      <a:pt x="38100" y="29527"/>
                    </a:cubicBezTo>
                    <a:cubicBezTo>
                      <a:pt x="60007" y="9525"/>
                      <a:pt x="87630" y="0"/>
                      <a:pt x="123825" y="0"/>
                    </a:cubicBezTo>
                    <a:cubicBezTo>
                      <a:pt x="157163" y="0"/>
                      <a:pt x="184785" y="8572"/>
                      <a:pt x="207645" y="25718"/>
                    </a:cubicBezTo>
                    <a:cubicBezTo>
                      <a:pt x="226695" y="40005"/>
                      <a:pt x="238125" y="59055"/>
                      <a:pt x="242888" y="80962"/>
                    </a:cubicBezTo>
                    <a:lnTo>
                      <a:pt x="167640" y="80962"/>
                    </a:lnTo>
                    <a:cubicBezTo>
                      <a:pt x="164782" y="71437"/>
                      <a:pt x="160020" y="63818"/>
                      <a:pt x="152400" y="58103"/>
                    </a:cubicBezTo>
                    <a:cubicBezTo>
                      <a:pt x="144780" y="52387"/>
                      <a:pt x="136207" y="49530"/>
                      <a:pt x="126682" y="49530"/>
                    </a:cubicBezTo>
                    <a:cubicBezTo>
                      <a:pt x="92393" y="49530"/>
                      <a:pt x="76200" y="77153"/>
                      <a:pt x="76200" y="131445"/>
                    </a:cubicBezTo>
                    <a:cubicBezTo>
                      <a:pt x="76200" y="157162"/>
                      <a:pt x="80963" y="177165"/>
                      <a:pt x="91440" y="190500"/>
                    </a:cubicBezTo>
                    <a:cubicBezTo>
                      <a:pt x="100013" y="200978"/>
                      <a:pt x="110490" y="205740"/>
                      <a:pt x="123825" y="205740"/>
                    </a:cubicBezTo>
                    <a:cubicBezTo>
                      <a:pt x="144780" y="204787"/>
                      <a:pt x="159068" y="192405"/>
                      <a:pt x="166688" y="166687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2489">
                  <a:latin typeface="CiscoSansTT Light" panose="020B0503020201020303" pitchFamily="34" charset="0"/>
                  <a:cs typeface="CiscoSansTT Light" panose="020B0503020201020303" pitchFamily="34" charset="0"/>
                </a:endParaRPr>
              </a:p>
            </p:txBody>
          </p:sp>
          <p:sp>
            <p:nvSpPr>
              <p:cNvPr id="29" name="Freeform: Shape 28">
                <a:extLst>
                  <a:ext uri="{FF2B5EF4-FFF2-40B4-BE49-F238E27FC236}">
                    <a16:creationId xmlns:a16="http://schemas.microsoft.com/office/drawing/2014/main" id="{8B1EC5E7-7FFA-4DF0-BD79-7A18F4EC7C8A}"/>
                  </a:ext>
                </a:extLst>
              </p:cNvPr>
              <p:cNvSpPr/>
              <p:nvPr/>
            </p:nvSpPr>
            <p:spPr>
              <a:xfrm>
                <a:off x="8721412" y="3645640"/>
                <a:ext cx="238125" cy="247650"/>
              </a:xfrm>
              <a:custGeom>
                <a:avLst/>
                <a:gdLst>
                  <a:gd name="connsiteX0" fmla="*/ 170497 w 238125"/>
                  <a:gd name="connsiteY0" fmla="*/ 176213 h 247650"/>
                  <a:gd name="connsiteX1" fmla="*/ 243840 w 238125"/>
                  <a:gd name="connsiteY1" fmla="*/ 176213 h 247650"/>
                  <a:gd name="connsiteX2" fmla="*/ 203835 w 238125"/>
                  <a:gd name="connsiteY2" fmla="*/ 234315 h 247650"/>
                  <a:gd name="connsiteX3" fmla="*/ 125730 w 238125"/>
                  <a:gd name="connsiteY3" fmla="*/ 253365 h 247650"/>
                  <a:gd name="connsiteX4" fmla="*/ 30480 w 238125"/>
                  <a:gd name="connsiteY4" fmla="*/ 215265 h 247650"/>
                  <a:gd name="connsiteX5" fmla="*/ 0 w 238125"/>
                  <a:gd name="connsiteY5" fmla="*/ 126682 h 247650"/>
                  <a:gd name="connsiteX6" fmla="*/ 38100 w 238125"/>
                  <a:gd name="connsiteY6" fmla="*/ 28575 h 247650"/>
                  <a:gd name="connsiteX7" fmla="*/ 123825 w 238125"/>
                  <a:gd name="connsiteY7" fmla="*/ 0 h 247650"/>
                  <a:gd name="connsiteX8" fmla="*/ 218122 w 238125"/>
                  <a:gd name="connsiteY8" fmla="*/ 40957 h 247650"/>
                  <a:gd name="connsiteX9" fmla="*/ 246697 w 238125"/>
                  <a:gd name="connsiteY9" fmla="*/ 144780 h 247650"/>
                  <a:gd name="connsiteX10" fmla="*/ 72390 w 238125"/>
                  <a:gd name="connsiteY10" fmla="*/ 144780 h 247650"/>
                  <a:gd name="connsiteX11" fmla="*/ 129540 w 238125"/>
                  <a:gd name="connsiteY11" fmla="*/ 203835 h 247650"/>
                  <a:gd name="connsiteX12" fmla="*/ 157163 w 238125"/>
                  <a:gd name="connsiteY12" fmla="*/ 197168 h 247650"/>
                  <a:gd name="connsiteX13" fmla="*/ 170497 w 238125"/>
                  <a:gd name="connsiteY13" fmla="*/ 176213 h 247650"/>
                  <a:gd name="connsiteX14" fmla="*/ 121920 w 238125"/>
                  <a:gd name="connsiteY14" fmla="*/ 44768 h 247650"/>
                  <a:gd name="connsiteX15" fmla="*/ 72390 w 238125"/>
                  <a:gd name="connsiteY15" fmla="*/ 101918 h 247650"/>
                  <a:gd name="connsiteX16" fmla="*/ 173355 w 238125"/>
                  <a:gd name="connsiteY16" fmla="*/ 101918 h 247650"/>
                  <a:gd name="connsiteX17" fmla="*/ 121920 w 238125"/>
                  <a:gd name="connsiteY17" fmla="*/ 44768 h 2476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238125" h="247650">
                    <a:moveTo>
                      <a:pt x="170497" y="176213"/>
                    </a:moveTo>
                    <a:lnTo>
                      <a:pt x="243840" y="176213"/>
                    </a:lnTo>
                    <a:cubicBezTo>
                      <a:pt x="238125" y="200978"/>
                      <a:pt x="223838" y="220980"/>
                      <a:pt x="203835" y="234315"/>
                    </a:cubicBezTo>
                    <a:cubicBezTo>
                      <a:pt x="183832" y="246697"/>
                      <a:pt x="157163" y="253365"/>
                      <a:pt x="125730" y="253365"/>
                    </a:cubicBezTo>
                    <a:cubicBezTo>
                      <a:pt x="84772" y="253365"/>
                      <a:pt x="53340" y="240983"/>
                      <a:pt x="30480" y="215265"/>
                    </a:cubicBezTo>
                    <a:cubicBezTo>
                      <a:pt x="9525" y="192405"/>
                      <a:pt x="0" y="162878"/>
                      <a:pt x="0" y="126682"/>
                    </a:cubicBezTo>
                    <a:cubicBezTo>
                      <a:pt x="0" y="83820"/>
                      <a:pt x="12382" y="50482"/>
                      <a:pt x="38100" y="28575"/>
                    </a:cubicBezTo>
                    <a:cubicBezTo>
                      <a:pt x="60007" y="9525"/>
                      <a:pt x="88582" y="0"/>
                      <a:pt x="123825" y="0"/>
                    </a:cubicBezTo>
                    <a:cubicBezTo>
                      <a:pt x="165735" y="0"/>
                      <a:pt x="197167" y="13335"/>
                      <a:pt x="218122" y="40957"/>
                    </a:cubicBezTo>
                    <a:cubicBezTo>
                      <a:pt x="237172" y="65722"/>
                      <a:pt x="246697" y="100013"/>
                      <a:pt x="246697" y="144780"/>
                    </a:cubicBezTo>
                    <a:lnTo>
                      <a:pt x="72390" y="144780"/>
                    </a:lnTo>
                    <a:cubicBezTo>
                      <a:pt x="77152" y="183833"/>
                      <a:pt x="96202" y="203835"/>
                      <a:pt x="129540" y="203835"/>
                    </a:cubicBezTo>
                    <a:cubicBezTo>
                      <a:pt x="140017" y="203835"/>
                      <a:pt x="149542" y="201930"/>
                      <a:pt x="157163" y="197168"/>
                    </a:cubicBezTo>
                    <a:cubicBezTo>
                      <a:pt x="163830" y="191453"/>
                      <a:pt x="168592" y="184785"/>
                      <a:pt x="170497" y="176213"/>
                    </a:cubicBezTo>
                    <a:close/>
                    <a:moveTo>
                      <a:pt x="121920" y="44768"/>
                    </a:moveTo>
                    <a:cubicBezTo>
                      <a:pt x="92392" y="44768"/>
                      <a:pt x="76200" y="63818"/>
                      <a:pt x="72390" y="101918"/>
                    </a:cubicBezTo>
                    <a:lnTo>
                      <a:pt x="173355" y="101918"/>
                    </a:lnTo>
                    <a:cubicBezTo>
                      <a:pt x="171450" y="63818"/>
                      <a:pt x="154305" y="44768"/>
                      <a:pt x="121920" y="44768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2489">
                  <a:latin typeface="CiscoSansTT Light" panose="020B0503020201020303" pitchFamily="34" charset="0"/>
                  <a:cs typeface="CiscoSansTT Light" panose="020B0503020201020303" pitchFamily="34" charset="0"/>
                </a:endParaRPr>
              </a:p>
            </p:txBody>
          </p:sp>
        </p:grpSp>
        <p:pic>
          <p:nvPicPr>
            <p:cNvPr id="6" name="Picture 5">
              <a:extLst>
                <a:ext uri="{FF2B5EF4-FFF2-40B4-BE49-F238E27FC236}">
                  <a16:creationId xmlns:a16="http://schemas.microsoft.com/office/drawing/2014/main" id="{3D48E1E3-5340-4D4A-B34B-F197FEF4CBC0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/>
            <a:stretch>
              <a:fillRect/>
            </a:stretch>
          </p:blipFill>
          <p:spPr>
            <a:xfrm>
              <a:off x="2641883" y="2331434"/>
              <a:ext cx="742128" cy="426578"/>
            </a:xfrm>
            <a:custGeom>
              <a:avLst/>
              <a:gdLst>
                <a:gd name="connsiteX0" fmla="*/ 0 w 1209675"/>
                <a:gd name="connsiteY0" fmla="*/ 0 h 695325"/>
                <a:gd name="connsiteX1" fmla="*/ 1213866 w 1209675"/>
                <a:gd name="connsiteY1" fmla="*/ 0 h 695325"/>
                <a:gd name="connsiteX2" fmla="*/ 1213866 w 1209675"/>
                <a:gd name="connsiteY2" fmla="*/ 699516 h 695325"/>
                <a:gd name="connsiteX3" fmla="*/ 0 w 1209675"/>
                <a:gd name="connsiteY3" fmla="*/ 699516 h 6953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09675" h="695325">
                  <a:moveTo>
                    <a:pt x="0" y="0"/>
                  </a:moveTo>
                  <a:lnTo>
                    <a:pt x="1213866" y="0"/>
                  </a:lnTo>
                  <a:lnTo>
                    <a:pt x="1213866" y="699516"/>
                  </a:lnTo>
                  <a:lnTo>
                    <a:pt x="0" y="699516"/>
                  </a:lnTo>
                  <a:close/>
                </a:path>
              </a:pathLst>
            </a:custGeom>
            <a:ln/>
          </p:spPr>
        </p:pic>
      </p:grpSp>
    </p:spTree>
    <p:extLst>
      <p:ext uri="{BB962C8B-B14F-4D97-AF65-F5344CB8AC3E}">
        <p14:creationId xmlns:p14="http://schemas.microsoft.com/office/powerpoint/2010/main" val="110216268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Closing Slide" preserve="1">
  <p:cSld name="1_Closing Slide">
    <p:bg>
      <p:bgRef idx="1001">
        <a:schemeClr val="bg2"/>
      </p:bgRef>
    </p:bg>
    <p:spTree>
      <p:nvGrpSpPr>
        <p:cNvPr id="1" name="Shape 17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6BF3AF67-12D7-4D88-BCCE-10648527FAC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185334" y="2912022"/>
            <a:ext cx="1821333" cy="1046908"/>
          </a:xfrm>
          <a:custGeom>
            <a:avLst/>
            <a:gdLst>
              <a:gd name="connsiteX0" fmla="*/ 0 w 1366000"/>
              <a:gd name="connsiteY0" fmla="*/ 0 h 785181"/>
              <a:gd name="connsiteX1" fmla="*/ 1370733 w 1366000"/>
              <a:gd name="connsiteY1" fmla="*/ 0 h 785181"/>
              <a:gd name="connsiteX2" fmla="*/ 1370733 w 1366000"/>
              <a:gd name="connsiteY2" fmla="*/ 789914 h 785181"/>
              <a:gd name="connsiteX3" fmla="*/ 0 w 1366000"/>
              <a:gd name="connsiteY3" fmla="*/ 789914 h 7851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366000" h="785181">
                <a:moveTo>
                  <a:pt x="0" y="0"/>
                </a:moveTo>
                <a:lnTo>
                  <a:pt x="1370733" y="0"/>
                </a:lnTo>
                <a:lnTo>
                  <a:pt x="1370733" y="789914"/>
                </a:lnTo>
                <a:lnTo>
                  <a:pt x="0" y="789914"/>
                </a:lnTo>
                <a:close/>
              </a:path>
            </a:pathLst>
          </a:custGeom>
          <a:ln/>
        </p:spPr>
      </p:pic>
    </p:spTree>
    <p:extLst>
      <p:ext uri="{BB962C8B-B14F-4D97-AF65-F5344CB8AC3E}">
        <p14:creationId xmlns:p14="http://schemas.microsoft.com/office/powerpoint/2010/main" val="271172297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218182" y="3365397"/>
            <a:ext cx="5973820" cy="3492603"/>
          </a:xfrm>
          <a:prstGeom prst="rect">
            <a:avLst/>
          </a:prstGeom>
        </p:spPr>
      </p:pic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25996" y="5142317"/>
            <a:ext cx="5669720" cy="384175"/>
          </a:xfrm>
          <a:prstGeom prst="rect">
            <a:avLst/>
          </a:prstGeom>
        </p:spPr>
        <p:txBody>
          <a:bodyPr lIns="91420" tIns="45710" rIns="91420" bIns="45710" anchor="b" anchorCtr="0">
            <a:noAutofit/>
          </a:bodyPr>
          <a:lstStyle>
            <a:lvl1pPr marL="0" indent="0" algn="l">
              <a:buNone/>
              <a:defRPr sz="2400" b="0" i="0">
                <a:solidFill>
                  <a:schemeClr val="tx2"/>
                </a:solidFill>
                <a:latin typeface="+mn-lt"/>
                <a:cs typeface="CiscoSansTT ExtraLight"/>
              </a:defRPr>
            </a:lvl1pPr>
            <a:lvl2pPr marL="45711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2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3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49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61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74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86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99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/>
              <a:t>Speaker Name</a:t>
            </a:r>
            <a:endParaRPr lang="en-US"/>
          </a:p>
        </p:txBody>
      </p:sp>
      <p:sp>
        <p:nvSpPr>
          <p:cNvPr id="17" name="Text Placeholder 38"/>
          <p:cNvSpPr>
            <a:spLocks noGrp="1"/>
          </p:cNvSpPr>
          <p:nvPr>
            <p:ph type="body" sz="quarter" idx="11" hasCustomPrompt="1"/>
          </p:nvPr>
        </p:nvSpPr>
        <p:spPr>
          <a:xfrm>
            <a:off x="625996" y="5430227"/>
            <a:ext cx="5669720" cy="384175"/>
          </a:xfrm>
          <a:prstGeom prst="rect">
            <a:avLst/>
          </a:prstGeom>
        </p:spPr>
        <p:txBody>
          <a:bodyPr lIns="91420" tIns="45710" rIns="91420" bIns="45710"/>
          <a:lstStyle>
            <a:lvl1pPr marL="0" indent="0" algn="l">
              <a:buFontTx/>
              <a:buNone/>
              <a:defRPr lang="en-US" sz="2400" b="0" i="0" kern="1200" dirty="0" smtClean="0">
                <a:solidFill>
                  <a:schemeClr val="tx2"/>
                </a:solidFill>
                <a:latin typeface="+mn-lt"/>
                <a:ea typeface="+mn-ea"/>
                <a:cs typeface="CiscoSansTT ExtraLight"/>
              </a:defRPr>
            </a:lvl1pPr>
            <a:lvl2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GB"/>
              <a:t>Speaker Title</a:t>
            </a:r>
          </a:p>
        </p:txBody>
      </p:sp>
      <p:sp>
        <p:nvSpPr>
          <p:cNvPr id="18" name="Text Placeholder 40"/>
          <p:cNvSpPr>
            <a:spLocks noGrp="1"/>
          </p:cNvSpPr>
          <p:nvPr>
            <p:ph type="body" sz="quarter" idx="12" hasCustomPrompt="1"/>
          </p:nvPr>
        </p:nvSpPr>
        <p:spPr>
          <a:xfrm>
            <a:off x="625996" y="5798351"/>
            <a:ext cx="5669720" cy="384175"/>
          </a:xfrm>
          <a:prstGeom prst="rect">
            <a:avLst/>
          </a:prstGeom>
        </p:spPr>
        <p:txBody>
          <a:bodyPr lIns="91420" tIns="45710" rIns="91420" bIns="45710"/>
          <a:lstStyle>
            <a:lvl1pPr marL="0" indent="0" algn="l">
              <a:buFontTx/>
              <a:buNone/>
              <a:defRPr lang="en-US" sz="2400" b="0" i="0" kern="1200" dirty="0" smtClean="0">
                <a:solidFill>
                  <a:schemeClr val="tx2"/>
                </a:solidFill>
                <a:latin typeface="+mn-lt"/>
                <a:ea typeface="+mn-ea"/>
                <a:cs typeface="CiscoSansTT ExtraLight"/>
              </a:defRPr>
            </a:lvl1pPr>
            <a:lvl2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GB"/>
              <a:t>Date</a:t>
            </a:r>
          </a:p>
        </p:txBody>
      </p:sp>
      <p:sp>
        <p:nvSpPr>
          <p:cNvPr id="19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617724" y="4058206"/>
            <a:ext cx="5673960" cy="398668"/>
          </a:xfrm>
          <a:prstGeom prst="rect">
            <a:avLst/>
          </a:prstGeom>
        </p:spPr>
        <p:txBody>
          <a:bodyPr lIns="91420" tIns="45710" rIns="91420" bIns="45710"/>
          <a:lstStyle>
            <a:lvl1pPr marL="0" indent="0">
              <a:buFont typeface="Arial" panose="020B0604020202020204" pitchFamily="34" charset="0"/>
              <a:buNone/>
              <a:defRPr sz="2933" b="0" i="0" baseline="0">
                <a:solidFill>
                  <a:schemeClr val="tx2"/>
                </a:solidFill>
                <a:latin typeface="+mj-lt"/>
                <a:cs typeface="CiscoSansTT ExtraLight"/>
              </a:defRPr>
            </a:lvl1pPr>
            <a:lvl2pPr marL="406355" indent="0">
              <a:buNone/>
              <a:defRPr/>
            </a:lvl2pPr>
            <a:lvl3pPr marL="569840" indent="0">
              <a:buNone/>
              <a:defRPr/>
            </a:lvl3pPr>
            <a:lvl4pPr marL="688891" indent="0">
              <a:buNone/>
              <a:defRPr/>
            </a:lvl4pPr>
            <a:lvl5pPr marL="801588" indent="0">
              <a:buNone/>
              <a:defRPr/>
            </a:lvl5pPr>
          </a:lstStyle>
          <a:p>
            <a:pPr lvl="0"/>
            <a:r>
              <a:rPr lang="en-GB"/>
              <a:t>Subtitle Goes Here</a:t>
            </a:r>
          </a:p>
        </p:txBody>
      </p:sp>
      <p:sp>
        <p:nvSpPr>
          <p:cNvPr id="20" name="Title 1"/>
          <p:cNvSpPr>
            <a:spLocks noGrp="1"/>
          </p:cNvSpPr>
          <p:nvPr>
            <p:ph type="ctrTitle" hasCustomPrompt="1"/>
          </p:nvPr>
        </p:nvSpPr>
        <p:spPr>
          <a:xfrm>
            <a:off x="567687" y="3296223"/>
            <a:ext cx="5699605" cy="859640"/>
          </a:xfrm>
          <a:prstGeom prst="rect">
            <a:avLst/>
          </a:prstGeom>
        </p:spPr>
        <p:txBody>
          <a:bodyPr anchor="b"/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5333" b="0" i="0" spc="0" baseline="0">
                <a:solidFill>
                  <a:schemeClr val="tx2"/>
                </a:solidFill>
                <a:latin typeface="+mj-lt"/>
                <a:cs typeface="CiscoSansTT ExtraLight"/>
              </a:defRPr>
            </a:lvl1pPr>
          </a:lstStyle>
          <a:p>
            <a:r>
              <a:rPr lang="en-GB"/>
              <a:t>Presentation Title Goes Here</a:t>
            </a:r>
            <a:endParaRPr lang="en-US"/>
          </a:p>
        </p:txBody>
      </p:sp>
      <p:sp>
        <p:nvSpPr>
          <p:cNvPr id="6" name="Freeform 6"/>
          <p:cNvSpPr>
            <a:spLocks noChangeAspect="1" noEditPoints="1"/>
          </p:cNvSpPr>
          <p:nvPr userDrawn="1"/>
        </p:nvSpPr>
        <p:spPr bwMode="auto">
          <a:xfrm>
            <a:off x="625995" y="521746"/>
            <a:ext cx="1060704" cy="563500"/>
          </a:xfrm>
          <a:custGeom>
            <a:avLst/>
            <a:gdLst>
              <a:gd name="T0" fmla="*/ 2671 w 3456"/>
              <a:gd name="T1" fmla="*/ 1521 h 1834"/>
              <a:gd name="T2" fmla="*/ 2857 w 3456"/>
              <a:gd name="T3" fmla="*/ 1677 h 1834"/>
              <a:gd name="T4" fmla="*/ 2975 w 3456"/>
              <a:gd name="T5" fmla="*/ 1465 h 1834"/>
              <a:gd name="T6" fmla="*/ 1129 w 3456"/>
              <a:gd name="T7" fmla="*/ 1823 h 1834"/>
              <a:gd name="T8" fmla="*/ 3082 w 3456"/>
              <a:gd name="T9" fmla="*/ 1330 h 1834"/>
              <a:gd name="T10" fmla="*/ 3082 w 3456"/>
              <a:gd name="T11" fmla="*/ 1712 h 1834"/>
              <a:gd name="T12" fmla="*/ 2700 w 3456"/>
              <a:gd name="T13" fmla="*/ 1809 h 1834"/>
              <a:gd name="T14" fmla="*/ 2513 w 3456"/>
              <a:gd name="T15" fmla="*/ 1479 h 1834"/>
              <a:gd name="T16" fmla="*/ 2783 w 3456"/>
              <a:gd name="T17" fmla="*/ 1211 h 1834"/>
              <a:gd name="T18" fmla="*/ 2351 w 3456"/>
              <a:gd name="T19" fmla="*/ 1392 h 1834"/>
              <a:gd name="T20" fmla="*/ 2136 w 3456"/>
              <a:gd name="T21" fmla="*/ 1381 h 1834"/>
              <a:gd name="T22" fmla="*/ 2093 w 3456"/>
              <a:gd name="T23" fmla="*/ 1625 h 1834"/>
              <a:gd name="T24" fmla="*/ 2335 w 3456"/>
              <a:gd name="T25" fmla="*/ 1658 h 1834"/>
              <a:gd name="T26" fmla="*/ 2174 w 3456"/>
              <a:gd name="T27" fmla="*/ 1832 h 1834"/>
              <a:gd name="T28" fmla="*/ 1903 w 3456"/>
              <a:gd name="T29" fmla="*/ 1605 h 1834"/>
              <a:gd name="T30" fmla="*/ 2047 w 3456"/>
              <a:gd name="T31" fmla="*/ 1249 h 1834"/>
              <a:gd name="T32" fmla="*/ 748 w 3456"/>
              <a:gd name="T33" fmla="*/ 1223 h 1834"/>
              <a:gd name="T34" fmla="*/ 642 w 3456"/>
              <a:gd name="T35" fmla="*/ 1359 h 1834"/>
              <a:gd name="T36" fmla="*/ 479 w 3456"/>
              <a:gd name="T37" fmla="*/ 1550 h 1834"/>
              <a:gd name="T38" fmla="*/ 697 w 3456"/>
              <a:gd name="T39" fmla="*/ 1676 h 1834"/>
              <a:gd name="T40" fmla="*/ 692 w 3456"/>
              <a:gd name="T41" fmla="*/ 1830 h 1834"/>
              <a:gd name="T42" fmla="*/ 370 w 3456"/>
              <a:gd name="T43" fmla="*/ 1710 h 1834"/>
              <a:gd name="T44" fmla="*/ 375 w 3456"/>
              <a:gd name="T45" fmla="*/ 1326 h 1834"/>
              <a:gd name="T46" fmla="*/ 1610 w 3456"/>
              <a:gd name="T47" fmla="*/ 1211 h 1834"/>
              <a:gd name="T48" fmla="*/ 1679 w 3456"/>
              <a:gd name="T49" fmla="*/ 1350 h 1834"/>
              <a:gd name="T50" fmla="*/ 1494 w 3456"/>
              <a:gd name="T51" fmla="*/ 1373 h 1834"/>
              <a:gd name="T52" fmla="*/ 1634 w 3456"/>
              <a:gd name="T53" fmla="*/ 1470 h 1834"/>
              <a:gd name="T54" fmla="*/ 1737 w 3456"/>
              <a:gd name="T55" fmla="*/ 1694 h 1834"/>
              <a:gd name="T56" fmla="*/ 1524 w 3456"/>
              <a:gd name="T57" fmla="*/ 1833 h 1834"/>
              <a:gd name="T58" fmla="*/ 1334 w 3456"/>
              <a:gd name="T59" fmla="*/ 1678 h 1834"/>
              <a:gd name="T60" fmla="*/ 1552 w 3456"/>
              <a:gd name="T61" fmla="*/ 1690 h 1834"/>
              <a:gd name="T62" fmla="*/ 1520 w 3456"/>
              <a:gd name="T63" fmla="*/ 1584 h 1834"/>
              <a:gd name="T64" fmla="*/ 1350 w 3456"/>
              <a:gd name="T65" fmla="*/ 1473 h 1834"/>
              <a:gd name="T66" fmla="*/ 1446 w 3456"/>
              <a:gd name="T67" fmla="*/ 1227 h 1834"/>
              <a:gd name="T68" fmla="*/ 3456 w 3456"/>
              <a:gd name="T69" fmla="*/ 569 h 1834"/>
              <a:gd name="T70" fmla="*/ 3328 w 3456"/>
              <a:gd name="T71" fmla="*/ 780 h 1834"/>
              <a:gd name="T72" fmla="*/ 3381 w 3456"/>
              <a:gd name="T73" fmla="*/ 493 h 1834"/>
              <a:gd name="T74" fmla="*/ 1793 w 3456"/>
              <a:gd name="T75" fmla="*/ 766 h 1834"/>
              <a:gd name="T76" fmla="*/ 1653 w 3456"/>
              <a:gd name="T77" fmla="*/ 727 h 1834"/>
              <a:gd name="T78" fmla="*/ 113 w 3456"/>
              <a:gd name="T79" fmla="*/ 503 h 1834"/>
              <a:gd name="T80" fmla="*/ 95 w 3456"/>
              <a:gd name="T81" fmla="*/ 801 h 1834"/>
              <a:gd name="T82" fmla="*/ 10 w 3456"/>
              <a:gd name="T83" fmla="*/ 531 h 1834"/>
              <a:gd name="T84" fmla="*/ 3040 w 3456"/>
              <a:gd name="T85" fmla="*/ 340 h 1834"/>
              <a:gd name="T86" fmla="*/ 2929 w 3456"/>
              <a:gd name="T87" fmla="*/ 793 h 1834"/>
              <a:gd name="T88" fmla="*/ 2947 w 3456"/>
              <a:gd name="T89" fmla="*/ 287 h 1834"/>
              <a:gd name="T90" fmla="*/ 2214 w 3456"/>
              <a:gd name="T91" fmla="*/ 748 h 1834"/>
              <a:gd name="T92" fmla="*/ 2069 w 3456"/>
              <a:gd name="T93" fmla="*/ 748 h 1834"/>
              <a:gd name="T94" fmla="*/ 1335 w 3456"/>
              <a:gd name="T95" fmla="*/ 287 h 1834"/>
              <a:gd name="T96" fmla="*/ 1353 w 3456"/>
              <a:gd name="T97" fmla="*/ 793 h 1834"/>
              <a:gd name="T98" fmla="*/ 1242 w 3456"/>
              <a:gd name="T99" fmla="*/ 340 h 1834"/>
              <a:gd name="T100" fmla="*/ 553 w 3456"/>
              <a:gd name="T101" fmla="*/ 322 h 1834"/>
              <a:gd name="T102" fmla="*/ 468 w 3456"/>
              <a:gd name="T103" fmla="*/ 801 h 1834"/>
              <a:gd name="T104" fmla="*/ 450 w 3456"/>
              <a:gd name="T105" fmla="*/ 295 h 1834"/>
              <a:gd name="T106" fmla="*/ 2630 w 3456"/>
              <a:gd name="T107" fmla="*/ 879 h 1834"/>
              <a:gd name="T108" fmla="*/ 2490 w 3456"/>
              <a:gd name="T109" fmla="*/ 917 h 1834"/>
              <a:gd name="T110" fmla="*/ 902 w 3456"/>
              <a:gd name="T111" fmla="*/ 0 h 1834"/>
              <a:gd name="T112" fmla="*/ 955 w 3456"/>
              <a:gd name="T113" fmla="*/ 931 h 1834"/>
              <a:gd name="T114" fmla="*/ 826 w 3456"/>
              <a:gd name="T115" fmla="*/ 75 h 183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3456" h="1834">
                <a:moveTo>
                  <a:pt x="2828" y="1362"/>
                </a:moveTo>
                <a:lnTo>
                  <a:pt x="2798" y="1364"/>
                </a:lnTo>
                <a:lnTo>
                  <a:pt x="2771" y="1371"/>
                </a:lnTo>
                <a:lnTo>
                  <a:pt x="2747" y="1384"/>
                </a:lnTo>
                <a:lnTo>
                  <a:pt x="2725" y="1400"/>
                </a:lnTo>
                <a:lnTo>
                  <a:pt x="2706" y="1419"/>
                </a:lnTo>
                <a:lnTo>
                  <a:pt x="2691" y="1441"/>
                </a:lnTo>
                <a:lnTo>
                  <a:pt x="2680" y="1465"/>
                </a:lnTo>
                <a:lnTo>
                  <a:pt x="2674" y="1492"/>
                </a:lnTo>
                <a:lnTo>
                  <a:pt x="2671" y="1521"/>
                </a:lnTo>
                <a:lnTo>
                  <a:pt x="2674" y="1549"/>
                </a:lnTo>
                <a:lnTo>
                  <a:pt x="2680" y="1577"/>
                </a:lnTo>
                <a:lnTo>
                  <a:pt x="2691" y="1601"/>
                </a:lnTo>
                <a:lnTo>
                  <a:pt x="2706" y="1623"/>
                </a:lnTo>
                <a:lnTo>
                  <a:pt x="2725" y="1642"/>
                </a:lnTo>
                <a:lnTo>
                  <a:pt x="2747" y="1658"/>
                </a:lnTo>
                <a:lnTo>
                  <a:pt x="2771" y="1669"/>
                </a:lnTo>
                <a:lnTo>
                  <a:pt x="2798" y="1677"/>
                </a:lnTo>
                <a:lnTo>
                  <a:pt x="2828" y="1680"/>
                </a:lnTo>
                <a:lnTo>
                  <a:pt x="2857" y="1677"/>
                </a:lnTo>
                <a:lnTo>
                  <a:pt x="2883" y="1669"/>
                </a:lnTo>
                <a:lnTo>
                  <a:pt x="2908" y="1658"/>
                </a:lnTo>
                <a:lnTo>
                  <a:pt x="2930" y="1642"/>
                </a:lnTo>
                <a:lnTo>
                  <a:pt x="2948" y="1623"/>
                </a:lnTo>
                <a:lnTo>
                  <a:pt x="2964" y="1601"/>
                </a:lnTo>
                <a:lnTo>
                  <a:pt x="2975" y="1577"/>
                </a:lnTo>
                <a:lnTo>
                  <a:pt x="2982" y="1549"/>
                </a:lnTo>
                <a:lnTo>
                  <a:pt x="2985" y="1521"/>
                </a:lnTo>
                <a:lnTo>
                  <a:pt x="2982" y="1492"/>
                </a:lnTo>
                <a:lnTo>
                  <a:pt x="2975" y="1465"/>
                </a:lnTo>
                <a:lnTo>
                  <a:pt x="2964" y="1441"/>
                </a:lnTo>
                <a:lnTo>
                  <a:pt x="2948" y="1419"/>
                </a:lnTo>
                <a:lnTo>
                  <a:pt x="2930" y="1400"/>
                </a:lnTo>
                <a:lnTo>
                  <a:pt x="2908" y="1384"/>
                </a:lnTo>
                <a:lnTo>
                  <a:pt x="2883" y="1371"/>
                </a:lnTo>
                <a:lnTo>
                  <a:pt x="2857" y="1364"/>
                </a:lnTo>
                <a:lnTo>
                  <a:pt x="2828" y="1362"/>
                </a:lnTo>
                <a:close/>
                <a:moveTo>
                  <a:pt x="977" y="1218"/>
                </a:moveTo>
                <a:lnTo>
                  <a:pt x="1129" y="1218"/>
                </a:lnTo>
                <a:lnTo>
                  <a:pt x="1129" y="1823"/>
                </a:lnTo>
                <a:lnTo>
                  <a:pt x="977" y="1823"/>
                </a:lnTo>
                <a:lnTo>
                  <a:pt x="977" y="1218"/>
                </a:lnTo>
                <a:close/>
                <a:moveTo>
                  <a:pt x="2828" y="1208"/>
                </a:moveTo>
                <a:lnTo>
                  <a:pt x="2873" y="1211"/>
                </a:lnTo>
                <a:lnTo>
                  <a:pt x="2916" y="1219"/>
                </a:lnTo>
                <a:lnTo>
                  <a:pt x="2955" y="1232"/>
                </a:lnTo>
                <a:lnTo>
                  <a:pt x="2992" y="1251"/>
                </a:lnTo>
                <a:lnTo>
                  <a:pt x="3026" y="1273"/>
                </a:lnTo>
                <a:lnTo>
                  <a:pt x="3056" y="1299"/>
                </a:lnTo>
                <a:lnTo>
                  <a:pt x="3082" y="1330"/>
                </a:lnTo>
                <a:lnTo>
                  <a:pt x="3104" y="1363"/>
                </a:lnTo>
                <a:lnTo>
                  <a:pt x="3121" y="1398"/>
                </a:lnTo>
                <a:lnTo>
                  <a:pt x="3134" y="1437"/>
                </a:lnTo>
                <a:lnTo>
                  <a:pt x="3142" y="1479"/>
                </a:lnTo>
                <a:lnTo>
                  <a:pt x="3145" y="1521"/>
                </a:lnTo>
                <a:lnTo>
                  <a:pt x="3142" y="1563"/>
                </a:lnTo>
                <a:lnTo>
                  <a:pt x="3134" y="1604"/>
                </a:lnTo>
                <a:lnTo>
                  <a:pt x="3121" y="1642"/>
                </a:lnTo>
                <a:lnTo>
                  <a:pt x="3104" y="1679"/>
                </a:lnTo>
                <a:lnTo>
                  <a:pt x="3082" y="1712"/>
                </a:lnTo>
                <a:lnTo>
                  <a:pt x="3056" y="1742"/>
                </a:lnTo>
                <a:lnTo>
                  <a:pt x="3026" y="1769"/>
                </a:lnTo>
                <a:lnTo>
                  <a:pt x="2992" y="1791"/>
                </a:lnTo>
                <a:lnTo>
                  <a:pt x="2955" y="1809"/>
                </a:lnTo>
                <a:lnTo>
                  <a:pt x="2916" y="1822"/>
                </a:lnTo>
                <a:lnTo>
                  <a:pt x="2873" y="1831"/>
                </a:lnTo>
                <a:lnTo>
                  <a:pt x="2828" y="1834"/>
                </a:lnTo>
                <a:lnTo>
                  <a:pt x="2783" y="1831"/>
                </a:lnTo>
                <a:lnTo>
                  <a:pt x="2740" y="1822"/>
                </a:lnTo>
                <a:lnTo>
                  <a:pt x="2700" y="1809"/>
                </a:lnTo>
                <a:lnTo>
                  <a:pt x="2663" y="1791"/>
                </a:lnTo>
                <a:lnTo>
                  <a:pt x="2630" y="1769"/>
                </a:lnTo>
                <a:lnTo>
                  <a:pt x="2599" y="1742"/>
                </a:lnTo>
                <a:lnTo>
                  <a:pt x="2573" y="1712"/>
                </a:lnTo>
                <a:lnTo>
                  <a:pt x="2551" y="1679"/>
                </a:lnTo>
                <a:lnTo>
                  <a:pt x="2534" y="1642"/>
                </a:lnTo>
                <a:lnTo>
                  <a:pt x="2521" y="1604"/>
                </a:lnTo>
                <a:lnTo>
                  <a:pt x="2513" y="1563"/>
                </a:lnTo>
                <a:lnTo>
                  <a:pt x="2510" y="1521"/>
                </a:lnTo>
                <a:lnTo>
                  <a:pt x="2513" y="1479"/>
                </a:lnTo>
                <a:lnTo>
                  <a:pt x="2521" y="1437"/>
                </a:lnTo>
                <a:lnTo>
                  <a:pt x="2534" y="1398"/>
                </a:lnTo>
                <a:lnTo>
                  <a:pt x="2551" y="1363"/>
                </a:lnTo>
                <a:lnTo>
                  <a:pt x="2573" y="1330"/>
                </a:lnTo>
                <a:lnTo>
                  <a:pt x="2599" y="1299"/>
                </a:lnTo>
                <a:lnTo>
                  <a:pt x="2630" y="1273"/>
                </a:lnTo>
                <a:lnTo>
                  <a:pt x="2663" y="1251"/>
                </a:lnTo>
                <a:lnTo>
                  <a:pt x="2700" y="1232"/>
                </a:lnTo>
                <a:lnTo>
                  <a:pt x="2740" y="1219"/>
                </a:lnTo>
                <a:lnTo>
                  <a:pt x="2783" y="1211"/>
                </a:lnTo>
                <a:lnTo>
                  <a:pt x="2828" y="1208"/>
                </a:lnTo>
                <a:close/>
                <a:moveTo>
                  <a:pt x="2213" y="1208"/>
                </a:moveTo>
                <a:lnTo>
                  <a:pt x="2242" y="1209"/>
                </a:lnTo>
                <a:lnTo>
                  <a:pt x="2268" y="1211"/>
                </a:lnTo>
                <a:lnTo>
                  <a:pt x="2292" y="1215"/>
                </a:lnTo>
                <a:lnTo>
                  <a:pt x="2312" y="1219"/>
                </a:lnTo>
                <a:lnTo>
                  <a:pt x="2329" y="1223"/>
                </a:lnTo>
                <a:lnTo>
                  <a:pt x="2343" y="1227"/>
                </a:lnTo>
                <a:lnTo>
                  <a:pt x="2351" y="1230"/>
                </a:lnTo>
                <a:lnTo>
                  <a:pt x="2351" y="1392"/>
                </a:lnTo>
                <a:lnTo>
                  <a:pt x="2346" y="1389"/>
                </a:lnTo>
                <a:lnTo>
                  <a:pt x="2335" y="1384"/>
                </a:lnTo>
                <a:lnTo>
                  <a:pt x="2321" y="1377"/>
                </a:lnTo>
                <a:lnTo>
                  <a:pt x="2302" y="1371"/>
                </a:lnTo>
                <a:lnTo>
                  <a:pt x="2279" y="1365"/>
                </a:lnTo>
                <a:lnTo>
                  <a:pt x="2253" y="1360"/>
                </a:lnTo>
                <a:lnTo>
                  <a:pt x="2223" y="1359"/>
                </a:lnTo>
                <a:lnTo>
                  <a:pt x="2192" y="1362"/>
                </a:lnTo>
                <a:lnTo>
                  <a:pt x="2163" y="1369"/>
                </a:lnTo>
                <a:lnTo>
                  <a:pt x="2136" y="1381"/>
                </a:lnTo>
                <a:lnTo>
                  <a:pt x="2113" y="1396"/>
                </a:lnTo>
                <a:lnTo>
                  <a:pt x="2095" y="1415"/>
                </a:lnTo>
                <a:lnTo>
                  <a:pt x="2079" y="1437"/>
                </a:lnTo>
                <a:lnTo>
                  <a:pt x="2067" y="1463"/>
                </a:lnTo>
                <a:lnTo>
                  <a:pt x="2060" y="1490"/>
                </a:lnTo>
                <a:lnTo>
                  <a:pt x="2058" y="1521"/>
                </a:lnTo>
                <a:lnTo>
                  <a:pt x="2060" y="1550"/>
                </a:lnTo>
                <a:lnTo>
                  <a:pt x="2066" y="1578"/>
                </a:lnTo>
                <a:lnTo>
                  <a:pt x="2078" y="1602"/>
                </a:lnTo>
                <a:lnTo>
                  <a:pt x="2093" y="1625"/>
                </a:lnTo>
                <a:lnTo>
                  <a:pt x="2112" y="1644"/>
                </a:lnTo>
                <a:lnTo>
                  <a:pt x="2135" y="1660"/>
                </a:lnTo>
                <a:lnTo>
                  <a:pt x="2162" y="1672"/>
                </a:lnTo>
                <a:lnTo>
                  <a:pt x="2191" y="1679"/>
                </a:lnTo>
                <a:lnTo>
                  <a:pt x="2223" y="1682"/>
                </a:lnTo>
                <a:lnTo>
                  <a:pt x="2253" y="1680"/>
                </a:lnTo>
                <a:lnTo>
                  <a:pt x="2279" y="1676"/>
                </a:lnTo>
                <a:lnTo>
                  <a:pt x="2301" y="1671"/>
                </a:lnTo>
                <a:lnTo>
                  <a:pt x="2321" y="1664"/>
                </a:lnTo>
                <a:lnTo>
                  <a:pt x="2335" y="1658"/>
                </a:lnTo>
                <a:lnTo>
                  <a:pt x="2346" y="1653"/>
                </a:lnTo>
                <a:lnTo>
                  <a:pt x="2351" y="1649"/>
                </a:lnTo>
                <a:lnTo>
                  <a:pt x="2351" y="1812"/>
                </a:lnTo>
                <a:lnTo>
                  <a:pt x="2339" y="1816"/>
                </a:lnTo>
                <a:lnTo>
                  <a:pt x="2322" y="1820"/>
                </a:lnTo>
                <a:lnTo>
                  <a:pt x="2300" y="1826"/>
                </a:lnTo>
                <a:lnTo>
                  <a:pt x="2275" y="1830"/>
                </a:lnTo>
                <a:lnTo>
                  <a:pt x="2245" y="1833"/>
                </a:lnTo>
                <a:lnTo>
                  <a:pt x="2213" y="1834"/>
                </a:lnTo>
                <a:lnTo>
                  <a:pt x="2174" y="1832"/>
                </a:lnTo>
                <a:lnTo>
                  <a:pt x="2136" y="1826"/>
                </a:lnTo>
                <a:lnTo>
                  <a:pt x="2100" y="1815"/>
                </a:lnTo>
                <a:lnTo>
                  <a:pt x="2065" y="1801"/>
                </a:lnTo>
                <a:lnTo>
                  <a:pt x="2033" y="1783"/>
                </a:lnTo>
                <a:lnTo>
                  <a:pt x="2002" y="1762"/>
                </a:lnTo>
                <a:lnTo>
                  <a:pt x="1975" y="1737"/>
                </a:lnTo>
                <a:lnTo>
                  <a:pt x="1952" y="1710"/>
                </a:lnTo>
                <a:lnTo>
                  <a:pt x="1931" y="1678"/>
                </a:lnTo>
                <a:lnTo>
                  <a:pt x="1915" y="1643"/>
                </a:lnTo>
                <a:lnTo>
                  <a:pt x="1903" y="1605"/>
                </a:lnTo>
                <a:lnTo>
                  <a:pt x="1896" y="1564"/>
                </a:lnTo>
                <a:lnTo>
                  <a:pt x="1892" y="1521"/>
                </a:lnTo>
                <a:lnTo>
                  <a:pt x="1896" y="1477"/>
                </a:lnTo>
                <a:lnTo>
                  <a:pt x="1904" y="1434"/>
                </a:lnTo>
                <a:lnTo>
                  <a:pt x="1917" y="1395"/>
                </a:lnTo>
                <a:lnTo>
                  <a:pt x="1934" y="1359"/>
                </a:lnTo>
                <a:lnTo>
                  <a:pt x="1957" y="1326"/>
                </a:lnTo>
                <a:lnTo>
                  <a:pt x="1984" y="1296"/>
                </a:lnTo>
                <a:lnTo>
                  <a:pt x="2014" y="1271"/>
                </a:lnTo>
                <a:lnTo>
                  <a:pt x="2047" y="1249"/>
                </a:lnTo>
                <a:lnTo>
                  <a:pt x="2085" y="1231"/>
                </a:lnTo>
                <a:lnTo>
                  <a:pt x="2125" y="1218"/>
                </a:lnTo>
                <a:lnTo>
                  <a:pt x="2168" y="1211"/>
                </a:lnTo>
                <a:lnTo>
                  <a:pt x="2213" y="1208"/>
                </a:lnTo>
                <a:close/>
                <a:moveTo>
                  <a:pt x="630" y="1208"/>
                </a:moveTo>
                <a:lnTo>
                  <a:pt x="660" y="1209"/>
                </a:lnTo>
                <a:lnTo>
                  <a:pt x="687" y="1211"/>
                </a:lnTo>
                <a:lnTo>
                  <a:pt x="711" y="1215"/>
                </a:lnTo>
                <a:lnTo>
                  <a:pt x="731" y="1219"/>
                </a:lnTo>
                <a:lnTo>
                  <a:pt x="748" y="1223"/>
                </a:lnTo>
                <a:lnTo>
                  <a:pt x="760" y="1227"/>
                </a:lnTo>
                <a:lnTo>
                  <a:pt x="769" y="1230"/>
                </a:lnTo>
                <a:lnTo>
                  <a:pt x="769" y="1392"/>
                </a:lnTo>
                <a:lnTo>
                  <a:pt x="763" y="1389"/>
                </a:lnTo>
                <a:lnTo>
                  <a:pt x="754" y="1384"/>
                </a:lnTo>
                <a:lnTo>
                  <a:pt x="739" y="1377"/>
                </a:lnTo>
                <a:lnTo>
                  <a:pt x="721" y="1371"/>
                </a:lnTo>
                <a:lnTo>
                  <a:pt x="697" y="1365"/>
                </a:lnTo>
                <a:lnTo>
                  <a:pt x="671" y="1360"/>
                </a:lnTo>
                <a:lnTo>
                  <a:pt x="642" y="1359"/>
                </a:lnTo>
                <a:lnTo>
                  <a:pt x="611" y="1362"/>
                </a:lnTo>
                <a:lnTo>
                  <a:pt x="581" y="1369"/>
                </a:lnTo>
                <a:lnTo>
                  <a:pt x="555" y="1381"/>
                </a:lnTo>
                <a:lnTo>
                  <a:pt x="532" y="1396"/>
                </a:lnTo>
                <a:lnTo>
                  <a:pt x="513" y="1415"/>
                </a:lnTo>
                <a:lnTo>
                  <a:pt x="497" y="1437"/>
                </a:lnTo>
                <a:lnTo>
                  <a:pt x="485" y="1463"/>
                </a:lnTo>
                <a:lnTo>
                  <a:pt x="479" y="1490"/>
                </a:lnTo>
                <a:lnTo>
                  <a:pt x="475" y="1521"/>
                </a:lnTo>
                <a:lnTo>
                  <a:pt x="479" y="1550"/>
                </a:lnTo>
                <a:lnTo>
                  <a:pt x="485" y="1578"/>
                </a:lnTo>
                <a:lnTo>
                  <a:pt x="496" y="1602"/>
                </a:lnTo>
                <a:lnTo>
                  <a:pt x="512" y="1625"/>
                </a:lnTo>
                <a:lnTo>
                  <a:pt x="531" y="1644"/>
                </a:lnTo>
                <a:lnTo>
                  <a:pt x="554" y="1660"/>
                </a:lnTo>
                <a:lnTo>
                  <a:pt x="580" y="1672"/>
                </a:lnTo>
                <a:lnTo>
                  <a:pt x="610" y="1679"/>
                </a:lnTo>
                <a:lnTo>
                  <a:pt x="642" y="1682"/>
                </a:lnTo>
                <a:lnTo>
                  <a:pt x="671" y="1680"/>
                </a:lnTo>
                <a:lnTo>
                  <a:pt x="697" y="1676"/>
                </a:lnTo>
                <a:lnTo>
                  <a:pt x="719" y="1671"/>
                </a:lnTo>
                <a:lnTo>
                  <a:pt x="738" y="1664"/>
                </a:lnTo>
                <a:lnTo>
                  <a:pt x="753" y="1658"/>
                </a:lnTo>
                <a:lnTo>
                  <a:pt x="763" y="1653"/>
                </a:lnTo>
                <a:lnTo>
                  <a:pt x="769" y="1649"/>
                </a:lnTo>
                <a:lnTo>
                  <a:pt x="769" y="1812"/>
                </a:lnTo>
                <a:lnTo>
                  <a:pt x="757" y="1816"/>
                </a:lnTo>
                <a:lnTo>
                  <a:pt x="740" y="1820"/>
                </a:lnTo>
                <a:lnTo>
                  <a:pt x="718" y="1826"/>
                </a:lnTo>
                <a:lnTo>
                  <a:pt x="692" y="1830"/>
                </a:lnTo>
                <a:lnTo>
                  <a:pt x="663" y="1833"/>
                </a:lnTo>
                <a:lnTo>
                  <a:pt x="630" y="1834"/>
                </a:lnTo>
                <a:lnTo>
                  <a:pt x="592" y="1832"/>
                </a:lnTo>
                <a:lnTo>
                  <a:pt x="554" y="1826"/>
                </a:lnTo>
                <a:lnTo>
                  <a:pt x="518" y="1815"/>
                </a:lnTo>
                <a:lnTo>
                  <a:pt x="484" y="1801"/>
                </a:lnTo>
                <a:lnTo>
                  <a:pt x="451" y="1783"/>
                </a:lnTo>
                <a:lnTo>
                  <a:pt x="421" y="1762"/>
                </a:lnTo>
                <a:lnTo>
                  <a:pt x="394" y="1737"/>
                </a:lnTo>
                <a:lnTo>
                  <a:pt x="370" y="1710"/>
                </a:lnTo>
                <a:lnTo>
                  <a:pt x="350" y="1678"/>
                </a:lnTo>
                <a:lnTo>
                  <a:pt x="333" y="1643"/>
                </a:lnTo>
                <a:lnTo>
                  <a:pt x="322" y="1605"/>
                </a:lnTo>
                <a:lnTo>
                  <a:pt x="314" y="1564"/>
                </a:lnTo>
                <a:lnTo>
                  <a:pt x="311" y="1521"/>
                </a:lnTo>
                <a:lnTo>
                  <a:pt x="314" y="1477"/>
                </a:lnTo>
                <a:lnTo>
                  <a:pt x="323" y="1434"/>
                </a:lnTo>
                <a:lnTo>
                  <a:pt x="335" y="1395"/>
                </a:lnTo>
                <a:lnTo>
                  <a:pt x="353" y="1359"/>
                </a:lnTo>
                <a:lnTo>
                  <a:pt x="375" y="1326"/>
                </a:lnTo>
                <a:lnTo>
                  <a:pt x="402" y="1296"/>
                </a:lnTo>
                <a:lnTo>
                  <a:pt x="433" y="1271"/>
                </a:lnTo>
                <a:lnTo>
                  <a:pt x="466" y="1249"/>
                </a:lnTo>
                <a:lnTo>
                  <a:pt x="503" y="1231"/>
                </a:lnTo>
                <a:lnTo>
                  <a:pt x="544" y="1218"/>
                </a:lnTo>
                <a:lnTo>
                  <a:pt x="585" y="1211"/>
                </a:lnTo>
                <a:lnTo>
                  <a:pt x="630" y="1208"/>
                </a:lnTo>
                <a:close/>
                <a:moveTo>
                  <a:pt x="1556" y="1208"/>
                </a:moveTo>
                <a:lnTo>
                  <a:pt x="1583" y="1209"/>
                </a:lnTo>
                <a:lnTo>
                  <a:pt x="1610" y="1211"/>
                </a:lnTo>
                <a:lnTo>
                  <a:pt x="1634" y="1213"/>
                </a:lnTo>
                <a:lnTo>
                  <a:pt x="1656" y="1217"/>
                </a:lnTo>
                <a:lnTo>
                  <a:pt x="1675" y="1220"/>
                </a:lnTo>
                <a:lnTo>
                  <a:pt x="1689" y="1223"/>
                </a:lnTo>
                <a:lnTo>
                  <a:pt x="1699" y="1226"/>
                </a:lnTo>
                <a:lnTo>
                  <a:pt x="1704" y="1227"/>
                </a:lnTo>
                <a:lnTo>
                  <a:pt x="1704" y="1356"/>
                </a:lnTo>
                <a:lnTo>
                  <a:pt x="1700" y="1355"/>
                </a:lnTo>
                <a:lnTo>
                  <a:pt x="1691" y="1353"/>
                </a:lnTo>
                <a:lnTo>
                  <a:pt x="1679" y="1350"/>
                </a:lnTo>
                <a:lnTo>
                  <a:pt x="1663" y="1347"/>
                </a:lnTo>
                <a:lnTo>
                  <a:pt x="1645" y="1343"/>
                </a:lnTo>
                <a:lnTo>
                  <a:pt x="1625" y="1340"/>
                </a:lnTo>
                <a:lnTo>
                  <a:pt x="1605" y="1338"/>
                </a:lnTo>
                <a:lnTo>
                  <a:pt x="1586" y="1337"/>
                </a:lnTo>
                <a:lnTo>
                  <a:pt x="1557" y="1339"/>
                </a:lnTo>
                <a:lnTo>
                  <a:pt x="1534" y="1344"/>
                </a:lnTo>
                <a:lnTo>
                  <a:pt x="1515" y="1351"/>
                </a:lnTo>
                <a:lnTo>
                  <a:pt x="1502" y="1362"/>
                </a:lnTo>
                <a:lnTo>
                  <a:pt x="1494" y="1373"/>
                </a:lnTo>
                <a:lnTo>
                  <a:pt x="1491" y="1387"/>
                </a:lnTo>
                <a:lnTo>
                  <a:pt x="1494" y="1402"/>
                </a:lnTo>
                <a:lnTo>
                  <a:pt x="1501" y="1413"/>
                </a:lnTo>
                <a:lnTo>
                  <a:pt x="1511" y="1423"/>
                </a:lnTo>
                <a:lnTo>
                  <a:pt x="1523" y="1430"/>
                </a:lnTo>
                <a:lnTo>
                  <a:pt x="1536" y="1436"/>
                </a:lnTo>
                <a:lnTo>
                  <a:pt x="1549" y="1441"/>
                </a:lnTo>
                <a:lnTo>
                  <a:pt x="1560" y="1445"/>
                </a:lnTo>
                <a:lnTo>
                  <a:pt x="1602" y="1458"/>
                </a:lnTo>
                <a:lnTo>
                  <a:pt x="1634" y="1470"/>
                </a:lnTo>
                <a:lnTo>
                  <a:pt x="1661" y="1484"/>
                </a:lnTo>
                <a:lnTo>
                  <a:pt x="1684" y="1501"/>
                </a:lnTo>
                <a:lnTo>
                  <a:pt x="1703" y="1519"/>
                </a:lnTo>
                <a:lnTo>
                  <a:pt x="1719" y="1539"/>
                </a:lnTo>
                <a:lnTo>
                  <a:pt x="1731" y="1560"/>
                </a:lnTo>
                <a:lnTo>
                  <a:pt x="1740" y="1583"/>
                </a:lnTo>
                <a:lnTo>
                  <a:pt x="1745" y="1606"/>
                </a:lnTo>
                <a:lnTo>
                  <a:pt x="1746" y="1630"/>
                </a:lnTo>
                <a:lnTo>
                  <a:pt x="1744" y="1664"/>
                </a:lnTo>
                <a:lnTo>
                  <a:pt x="1737" y="1694"/>
                </a:lnTo>
                <a:lnTo>
                  <a:pt x="1727" y="1720"/>
                </a:lnTo>
                <a:lnTo>
                  <a:pt x="1712" y="1744"/>
                </a:lnTo>
                <a:lnTo>
                  <a:pt x="1696" y="1764"/>
                </a:lnTo>
                <a:lnTo>
                  <a:pt x="1676" y="1781"/>
                </a:lnTo>
                <a:lnTo>
                  <a:pt x="1654" y="1796"/>
                </a:lnTo>
                <a:lnTo>
                  <a:pt x="1630" y="1809"/>
                </a:lnTo>
                <a:lnTo>
                  <a:pt x="1604" y="1818"/>
                </a:lnTo>
                <a:lnTo>
                  <a:pt x="1578" y="1826"/>
                </a:lnTo>
                <a:lnTo>
                  <a:pt x="1551" y="1830"/>
                </a:lnTo>
                <a:lnTo>
                  <a:pt x="1524" y="1833"/>
                </a:lnTo>
                <a:lnTo>
                  <a:pt x="1498" y="1834"/>
                </a:lnTo>
                <a:lnTo>
                  <a:pt x="1467" y="1833"/>
                </a:lnTo>
                <a:lnTo>
                  <a:pt x="1439" y="1832"/>
                </a:lnTo>
                <a:lnTo>
                  <a:pt x="1412" y="1829"/>
                </a:lnTo>
                <a:lnTo>
                  <a:pt x="1388" y="1827"/>
                </a:lnTo>
                <a:lnTo>
                  <a:pt x="1368" y="1823"/>
                </a:lnTo>
                <a:lnTo>
                  <a:pt x="1351" y="1820"/>
                </a:lnTo>
                <a:lnTo>
                  <a:pt x="1339" y="1818"/>
                </a:lnTo>
                <a:lnTo>
                  <a:pt x="1334" y="1817"/>
                </a:lnTo>
                <a:lnTo>
                  <a:pt x="1334" y="1678"/>
                </a:lnTo>
                <a:lnTo>
                  <a:pt x="1343" y="1680"/>
                </a:lnTo>
                <a:lnTo>
                  <a:pt x="1356" y="1684"/>
                </a:lnTo>
                <a:lnTo>
                  <a:pt x="1375" y="1688"/>
                </a:lnTo>
                <a:lnTo>
                  <a:pt x="1397" y="1693"/>
                </a:lnTo>
                <a:lnTo>
                  <a:pt x="1422" y="1697"/>
                </a:lnTo>
                <a:lnTo>
                  <a:pt x="1448" y="1700"/>
                </a:lnTo>
                <a:lnTo>
                  <a:pt x="1477" y="1701"/>
                </a:lnTo>
                <a:lnTo>
                  <a:pt x="1507" y="1699"/>
                </a:lnTo>
                <a:lnTo>
                  <a:pt x="1531" y="1696"/>
                </a:lnTo>
                <a:lnTo>
                  <a:pt x="1552" y="1690"/>
                </a:lnTo>
                <a:lnTo>
                  <a:pt x="1568" y="1681"/>
                </a:lnTo>
                <a:lnTo>
                  <a:pt x="1578" y="1671"/>
                </a:lnTo>
                <a:lnTo>
                  <a:pt x="1585" y="1658"/>
                </a:lnTo>
                <a:lnTo>
                  <a:pt x="1587" y="1644"/>
                </a:lnTo>
                <a:lnTo>
                  <a:pt x="1585" y="1629"/>
                </a:lnTo>
                <a:lnTo>
                  <a:pt x="1578" y="1618"/>
                </a:lnTo>
                <a:lnTo>
                  <a:pt x="1567" y="1607"/>
                </a:lnTo>
                <a:lnTo>
                  <a:pt x="1553" y="1598"/>
                </a:lnTo>
                <a:lnTo>
                  <a:pt x="1537" y="1590"/>
                </a:lnTo>
                <a:lnTo>
                  <a:pt x="1520" y="1584"/>
                </a:lnTo>
                <a:lnTo>
                  <a:pt x="1509" y="1581"/>
                </a:lnTo>
                <a:lnTo>
                  <a:pt x="1498" y="1577"/>
                </a:lnTo>
                <a:lnTo>
                  <a:pt x="1487" y="1574"/>
                </a:lnTo>
                <a:lnTo>
                  <a:pt x="1462" y="1565"/>
                </a:lnTo>
                <a:lnTo>
                  <a:pt x="1439" y="1555"/>
                </a:lnTo>
                <a:lnTo>
                  <a:pt x="1416" y="1542"/>
                </a:lnTo>
                <a:lnTo>
                  <a:pt x="1396" y="1528"/>
                </a:lnTo>
                <a:lnTo>
                  <a:pt x="1378" y="1512"/>
                </a:lnTo>
                <a:lnTo>
                  <a:pt x="1363" y="1494"/>
                </a:lnTo>
                <a:lnTo>
                  <a:pt x="1350" y="1473"/>
                </a:lnTo>
                <a:lnTo>
                  <a:pt x="1341" y="1451"/>
                </a:lnTo>
                <a:lnTo>
                  <a:pt x="1334" y="1425"/>
                </a:lnTo>
                <a:lnTo>
                  <a:pt x="1332" y="1396"/>
                </a:lnTo>
                <a:lnTo>
                  <a:pt x="1334" y="1364"/>
                </a:lnTo>
                <a:lnTo>
                  <a:pt x="1342" y="1333"/>
                </a:lnTo>
                <a:lnTo>
                  <a:pt x="1354" y="1306"/>
                </a:lnTo>
                <a:lnTo>
                  <a:pt x="1371" y="1281"/>
                </a:lnTo>
                <a:lnTo>
                  <a:pt x="1392" y="1259"/>
                </a:lnTo>
                <a:lnTo>
                  <a:pt x="1417" y="1241"/>
                </a:lnTo>
                <a:lnTo>
                  <a:pt x="1446" y="1227"/>
                </a:lnTo>
                <a:lnTo>
                  <a:pt x="1479" y="1216"/>
                </a:lnTo>
                <a:lnTo>
                  <a:pt x="1515" y="1210"/>
                </a:lnTo>
                <a:lnTo>
                  <a:pt x="1556" y="1208"/>
                </a:lnTo>
                <a:close/>
                <a:moveTo>
                  <a:pt x="3381" y="493"/>
                </a:moveTo>
                <a:lnTo>
                  <a:pt x="3400" y="496"/>
                </a:lnTo>
                <a:lnTo>
                  <a:pt x="3418" y="503"/>
                </a:lnTo>
                <a:lnTo>
                  <a:pt x="3434" y="515"/>
                </a:lnTo>
                <a:lnTo>
                  <a:pt x="3446" y="531"/>
                </a:lnTo>
                <a:lnTo>
                  <a:pt x="3453" y="548"/>
                </a:lnTo>
                <a:lnTo>
                  <a:pt x="3456" y="569"/>
                </a:lnTo>
                <a:lnTo>
                  <a:pt x="3456" y="727"/>
                </a:lnTo>
                <a:lnTo>
                  <a:pt x="3453" y="748"/>
                </a:lnTo>
                <a:lnTo>
                  <a:pt x="3446" y="766"/>
                </a:lnTo>
                <a:lnTo>
                  <a:pt x="3434" y="780"/>
                </a:lnTo>
                <a:lnTo>
                  <a:pt x="3418" y="793"/>
                </a:lnTo>
                <a:lnTo>
                  <a:pt x="3400" y="801"/>
                </a:lnTo>
                <a:lnTo>
                  <a:pt x="3381" y="803"/>
                </a:lnTo>
                <a:lnTo>
                  <a:pt x="3361" y="801"/>
                </a:lnTo>
                <a:lnTo>
                  <a:pt x="3343" y="793"/>
                </a:lnTo>
                <a:lnTo>
                  <a:pt x="3328" y="780"/>
                </a:lnTo>
                <a:lnTo>
                  <a:pt x="3316" y="766"/>
                </a:lnTo>
                <a:lnTo>
                  <a:pt x="3308" y="748"/>
                </a:lnTo>
                <a:lnTo>
                  <a:pt x="3306" y="727"/>
                </a:lnTo>
                <a:lnTo>
                  <a:pt x="3306" y="569"/>
                </a:lnTo>
                <a:lnTo>
                  <a:pt x="3308" y="548"/>
                </a:lnTo>
                <a:lnTo>
                  <a:pt x="3316" y="531"/>
                </a:lnTo>
                <a:lnTo>
                  <a:pt x="3328" y="515"/>
                </a:lnTo>
                <a:lnTo>
                  <a:pt x="3343" y="503"/>
                </a:lnTo>
                <a:lnTo>
                  <a:pt x="3361" y="496"/>
                </a:lnTo>
                <a:lnTo>
                  <a:pt x="3381" y="493"/>
                </a:lnTo>
                <a:close/>
                <a:moveTo>
                  <a:pt x="1728" y="493"/>
                </a:moveTo>
                <a:lnTo>
                  <a:pt x="1748" y="496"/>
                </a:lnTo>
                <a:lnTo>
                  <a:pt x="1766" y="503"/>
                </a:lnTo>
                <a:lnTo>
                  <a:pt x="1781" y="515"/>
                </a:lnTo>
                <a:lnTo>
                  <a:pt x="1793" y="531"/>
                </a:lnTo>
                <a:lnTo>
                  <a:pt x="1800" y="548"/>
                </a:lnTo>
                <a:lnTo>
                  <a:pt x="1803" y="569"/>
                </a:lnTo>
                <a:lnTo>
                  <a:pt x="1803" y="727"/>
                </a:lnTo>
                <a:lnTo>
                  <a:pt x="1800" y="748"/>
                </a:lnTo>
                <a:lnTo>
                  <a:pt x="1793" y="766"/>
                </a:lnTo>
                <a:lnTo>
                  <a:pt x="1781" y="780"/>
                </a:lnTo>
                <a:lnTo>
                  <a:pt x="1766" y="793"/>
                </a:lnTo>
                <a:lnTo>
                  <a:pt x="1748" y="801"/>
                </a:lnTo>
                <a:lnTo>
                  <a:pt x="1728" y="803"/>
                </a:lnTo>
                <a:lnTo>
                  <a:pt x="1708" y="801"/>
                </a:lnTo>
                <a:lnTo>
                  <a:pt x="1690" y="793"/>
                </a:lnTo>
                <a:lnTo>
                  <a:pt x="1675" y="780"/>
                </a:lnTo>
                <a:lnTo>
                  <a:pt x="1663" y="766"/>
                </a:lnTo>
                <a:lnTo>
                  <a:pt x="1656" y="748"/>
                </a:lnTo>
                <a:lnTo>
                  <a:pt x="1653" y="727"/>
                </a:lnTo>
                <a:lnTo>
                  <a:pt x="1653" y="569"/>
                </a:lnTo>
                <a:lnTo>
                  <a:pt x="1656" y="548"/>
                </a:lnTo>
                <a:lnTo>
                  <a:pt x="1663" y="531"/>
                </a:lnTo>
                <a:lnTo>
                  <a:pt x="1675" y="515"/>
                </a:lnTo>
                <a:lnTo>
                  <a:pt x="1690" y="503"/>
                </a:lnTo>
                <a:lnTo>
                  <a:pt x="1708" y="496"/>
                </a:lnTo>
                <a:lnTo>
                  <a:pt x="1728" y="493"/>
                </a:lnTo>
                <a:close/>
                <a:moveTo>
                  <a:pt x="75" y="493"/>
                </a:moveTo>
                <a:lnTo>
                  <a:pt x="95" y="496"/>
                </a:lnTo>
                <a:lnTo>
                  <a:pt x="113" y="503"/>
                </a:lnTo>
                <a:lnTo>
                  <a:pt x="129" y="515"/>
                </a:lnTo>
                <a:lnTo>
                  <a:pt x="140" y="531"/>
                </a:lnTo>
                <a:lnTo>
                  <a:pt x="148" y="548"/>
                </a:lnTo>
                <a:lnTo>
                  <a:pt x="151" y="569"/>
                </a:lnTo>
                <a:lnTo>
                  <a:pt x="151" y="727"/>
                </a:lnTo>
                <a:lnTo>
                  <a:pt x="148" y="748"/>
                </a:lnTo>
                <a:lnTo>
                  <a:pt x="140" y="766"/>
                </a:lnTo>
                <a:lnTo>
                  <a:pt x="129" y="780"/>
                </a:lnTo>
                <a:lnTo>
                  <a:pt x="113" y="793"/>
                </a:lnTo>
                <a:lnTo>
                  <a:pt x="95" y="801"/>
                </a:lnTo>
                <a:lnTo>
                  <a:pt x="75" y="803"/>
                </a:lnTo>
                <a:lnTo>
                  <a:pt x="56" y="801"/>
                </a:lnTo>
                <a:lnTo>
                  <a:pt x="38" y="793"/>
                </a:lnTo>
                <a:lnTo>
                  <a:pt x="22" y="780"/>
                </a:lnTo>
                <a:lnTo>
                  <a:pt x="10" y="766"/>
                </a:lnTo>
                <a:lnTo>
                  <a:pt x="3" y="748"/>
                </a:lnTo>
                <a:lnTo>
                  <a:pt x="0" y="727"/>
                </a:lnTo>
                <a:lnTo>
                  <a:pt x="0" y="569"/>
                </a:lnTo>
                <a:lnTo>
                  <a:pt x="3" y="548"/>
                </a:lnTo>
                <a:lnTo>
                  <a:pt x="10" y="531"/>
                </a:lnTo>
                <a:lnTo>
                  <a:pt x="22" y="515"/>
                </a:lnTo>
                <a:lnTo>
                  <a:pt x="38" y="503"/>
                </a:lnTo>
                <a:lnTo>
                  <a:pt x="56" y="496"/>
                </a:lnTo>
                <a:lnTo>
                  <a:pt x="75" y="493"/>
                </a:lnTo>
                <a:close/>
                <a:moveTo>
                  <a:pt x="2968" y="285"/>
                </a:moveTo>
                <a:lnTo>
                  <a:pt x="2988" y="287"/>
                </a:lnTo>
                <a:lnTo>
                  <a:pt x="3006" y="295"/>
                </a:lnTo>
                <a:lnTo>
                  <a:pt x="3021" y="307"/>
                </a:lnTo>
                <a:lnTo>
                  <a:pt x="3033" y="322"/>
                </a:lnTo>
                <a:lnTo>
                  <a:pt x="3040" y="340"/>
                </a:lnTo>
                <a:lnTo>
                  <a:pt x="3043" y="360"/>
                </a:lnTo>
                <a:lnTo>
                  <a:pt x="3043" y="727"/>
                </a:lnTo>
                <a:lnTo>
                  <a:pt x="3040" y="748"/>
                </a:lnTo>
                <a:lnTo>
                  <a:pt x="3033" y="766"/>
                </a:lnTo>
                <a:lnTo>
                  <a:pt x="3021" y="780"/>
                </a:lnTo>
                <a:lnTo>
                  <a:pt x="3006" y="793"/>
                </a:lnTo>
                <a:lnTo>
                  <a:pt x="2988" y="801"/>
                </a:lnTo>
                <a:lnTo>
                  <a:pt x="2968" y="803"/>
                </a:lnTo>
                <a:lnTo>
                  <a:pt x="2947" y="801"/>
                </a:lnTo>
                <a:lnTo>
                  <a:pt x="2929" y="793"/>
                </a:lnTo>
                <a:lnTo>
                  <a:pt x="2915" y="780"/>
                </a:lnTo>
                <a:lnTo>
                  <a:pt x="2903" y="766"/>
                </a:lnTo>
                <a:lnTo>
                  <a:pt x="2895" y="748"/>
                </a:lnTo>
                <a:lnTo>
                  <a:pt x="2893" y="727"/>
                </a:lnTo>
                <a:lnTo>
                  <a:pt x="2893" y="360"/>
                </a:lnTo>
                <a:lnTo>
                  <a:pt x="2895" y="340"/>
                </a:lnTo>
                <a:lnTo>
                  <a:pt x="2903" y="322"/>
                </a:lnTo>
                <a:lnTo>
                  <a:pt x="2915" y="307"/>
                </a:lnTo>
                <a:lnTo>
                  <a:pt x="2929" y="295"/>
                </a:lnTo>
                <a:lnTo>
                  <a:pt x="2947" y="287"/>
                </a:lnTo>
                <a:lnTo>
                  <a:pt x="2968" y="285"/>
                </a:lnTo>
                <a:close/>
                <a:moveTo>
                  <a:pt x="2142" y="285"/>
                </a:moveTo>
                <a:lnTo>
                  <a:pt x="2162" y="287"/>
                </a:lnTo>
                <a:lnTo>
                  <a:pt x="2179" y="295"/>
                </a:lnTo>
                <a:lnTo>
                  <a:pt x="2194" y="307"/>
                </a:lnTo>
                <a:lnTo>
                  <a:pt x="2207" y="322"/>
                </a:lnTo>
                <a:lnTo>
                  <a:pt x="2214" y="340"/>
                </a:lnTo>
                <a:lnTo>
                  <a:pt x="2216" y="360"/>
                </a:lnTo>
                <a:lnTo>
                  <a:pt x="2216" y="727"/>
                </a:lnTo>
                <a:lnTo>
                  <a:pt x="2214" y="748"/>
                </a:lnTo>
                <a:lnTo>
                  <a:pt x="2207" y="766"/>
                </a:lnTo>
                <a:lnTo>
                  <a:pt x="2194" y="780"/>
                </a:lnTo>
                <a:lnTo>
                  <a:pt x="2179" y="793"/>
                </a:lnTo>
                <a:lnTo>
                  <a:pt x="2162" y="801"/>
                </a:lnTo>
                <a:lnTo>
                  <a:pt x="2142" y="803"/>
                </a:lnTo>
                <a:lnTo>
                  <a:pt x="2122" y="801"/>
                </a:lnTo>
                <a:lnTo>
                  <a:pt x="2104" y="793"/>
                </a:lnTo>
                <a:lnTo>
                  <a:pt x="2088" y="780"/>
                </a:lnTo>
                <a:lnTo>
                  <a:pt x="2077" y="766"/>
                </a:lnTo>
                <a:lnTo>
                  <a:pt x="2069" y="748"/>
                </a:lnTo>
                <a:lnTo>
                  <a:pt x="2066" y="727"/>
                </a:lnTo>
                <a:lnTo>
                  <a:pt x="2066" y="360"/>
                </a:lnTo>
                <a:lnTo>
                  <a:pt x="2069" y="340"/>
                </a:lnTo>
                <a:lnTo>
                  <a:pt x="2077" y="322"/>
                </a:lnTo>
                <a:lnTo>
                  <a:pt x="2088" y="307"/>
                </a:lnTo>
                <a:lnTo>
                  <a:pt x="2104" y="295"/>
                </a:lnTo>
                <a:lnTo>
                  <a:pt x="2122" y="287"/>
                </a:lnTo>
                <a:lnTo>
                  <a:pt x="2142" y="285"/>
                </a:lnTo>
                <a:close/>
                <a:moveTo>
                  <a:pt x="1315" y="285"/>
                </a:moveTo>
                <a:lnTo>
                  <a:pt x="1335" y="287"/>
                </a:lnTo>
                <a:lnTo>
                  <a:pt x="1353" y="295"/>
                </a:lnTo>
                <a:lnTo>
                  <a:pt x="1368" y="307"/>
                </a:lnTo>
                <a:lnTo>
                  <a:pt x="1380" y="322"/>
                </a:lnTo>
                <a:lnTo>
                  <a:pt x="1388" y="340"/>
                </a:lnTo>
                <a:lnTo>
                  <a:pt x="1390" y="360"/>
                </a:lnTo>
                <a:lnTo>
                  <a:pt x="1390" y="727"/>
                </a:lnTo>
                <a:lnTo>
                  <a:pt x="1388" y="748"/>
                </a:lnTo>
                <a:lnTo>
                  <a:pt x="1380" y="766"/>
                </a:lnTo>
                <a:lnTo>
                  <a:pt x="1368" y="780"/>
                </a:lnTo>
                <a:lnTo>
                  <a:pt x="1353" y="793"/>
                </a:lnTo>
                <a:lnTo>
                  <a:pt x="1335" y="801"/>
                </a:lnTo>
                <a:lnTo>
                  <a:pt x="1315" y="803"/>
                </a:lnTo>
                <a:lnTo>
                  <a:pt x="1295" y="801"/>
                </a:lnTo>
                <a:lnTo>
                  <a:pt x="1277" y="793"/>
                </a:lnTo>
                <a:lnTo>
                  <a:pt x="1262" y="780"/>
                </a:lnTo>
                <a:lnTo>
                  <a:pt x="1250" y="766"/>
                </a:lnTo>
                <a:lnTo>
                  <a:pt x="1242" y="748"/>
                </a:lnTo>
                <a:lnTo>
                  <a:pt x="1240" y="727"/>
                </a:lnTo>
                <a:lnTo>
                  <a:pt x="1240" y="360"/>
                </a:lnTo>
                <a:lnTo>
                  <a:pt x="1242" y="340"/>
                </a:lnTo>
                <a:lnTo>
                  <a:pt x="1250" y="322"/>
                </a:lnTo>
                <a:lnTo>
                  <a:pt x="1262" y="307"/>
                </a:lnTo>
                <a:lnTo>
                  <a:pt x="1277" y="295"/>
                </a:lnTo>
                <a:lnTo>
                  <a:pt x="1295" y="287"/>
                </a:lnTo>
                <a:lnTo>
                  <a:pt x="1315" y="285"/>
                </a:lnTo>
                <a:close/>
                <a:moveTo>
                  <a:pt x="488" y="285"/>
                </a:moveTo>
                <a:lnTo>
                  <a:pt x="508" y="287"/>
                </a:lnTo>
                <a:lnTo>
                  <a:pt x="527" y="295"/>
                </a:lnTo>
                <a:lnTo>
                  <a:pt x="541" y="307"/>
                </a:lnTo>
                <a:lnTo>
                  <a:pt x="553" y="322"/>
                </a:lnTo>
                <a:lnTo>
                  <a:pt x="561" y="340"/>
                </a:lnTo>
                <a:lnTo>
                  <a:pt x="563" y="360"/>
                </a:lnTo>
                <a:lnTo>
                  <a:pt x="563" y="727"/>
                </a:lnTo>
                <a:lnTo>
                  <a:pt x="561" y="748"/>
                </a:lnTo>
                <a:lnTo>
                  <a:pt x="553" y="766"/>
                </a:lnTo>
                <a:lnTo>
                  <a:pt x="541" y="780"/>
                </a:lnTo>
                <a:lnTo>
                  <a:pt x="527" y="793"/>
                </a:lnTo>
                <a:lnTo>
                  <a:pt x="508" y="801"/>
                </a:lnTo>
                <a:lnTo>
                  <a:pt x="488" y="803"/>
                </a:lnTo>
                <a:lnTo>
                  <a:pt x="468" y="801"/>
                </a:lnTo>
                <a:lnTo>
                  <a:pt x="450" y="793"/>
                </a:lnTo>
                <a:lnTo>
                  <a:pt x="436" y="780"/>
                </a:lnTo>
                <a:lnTo>
                  <a:pt x="423" y="766"/>
                </a:lnTo>
                <a:lnTo>
                  <a:pt x="416" y="748"/>
                </a:lnTo>
                <a:lnTo>
                  <a:pt x="414" y="727"/>
                </a:lnTo>
                <a:lnTo>
                  <a:pt x="414" y="360"/>
                </a:lnTo>
                <a:lnTo>
                  <a:pt x="416" y="340"/>
                </a:lnTo>
                <a:lnTo>
                  <a:pt x="423" y="322"/>
                </a:lnTo>
                <a:lnTo>
                  <a:pt x="436" y="307"/>
                </a:lnTo>
                <a:lnTo>
                  <a:pt x="450" y="295"/>
                </a:lnTo>
                <a:lnTo>
                  <a:pt x="468" y="287"/>
                </a:lnTo>
                <a:lnTo>
                  <a:pt x="488" y="285"/>
                </a:lnTo>
                <a:close/>
                <a:moveTo>
                  <a:pt x="2555" y="0"/>
                </a:moveTo>
                <a:lnTo>
                  <a:pt x="2575" y="2"/>
                </a:lnTo>
                <a:lnTo>
                  <a:pt x="2593" y="10"/>
                </a:lnTo>
                <a:lnTo>
                  <a:pt x="2608" y="22"/>
                </a:lnTo>
                <a:lnTo>
                  <a:pt x="2619" y="37"/>
                </a:lnTo>
                <a:lnTo>
                  <a:pt x="2628" y="55"/>
                </a:lnTo>
                <a:lnTo>
                  <a:pt x="2630" y="75"/>
                </a:lnTo>
                <a:lnTo>
                  <a:pt x="2630" y="879"/>
                </a:lnTo>
                <a:lnTo>
                  <a:pt x="2628" y="899"/>
                </a:lnTo>
                <a:lnTo>
                  <a:pt x="2619" y="917"/>
                </a:lnTo>
                <a:lnTo>
                  <a:pt x="2608" y="931"/>
                </a:lnTo>
                <a:lnTo>
                  <a:pt x="2593" y="944"/>
                </a:lnTo>
                <a:lnTo>
                  <a:pt x="2575" y="951"/>
                </a:lnTo>
                <a:lnTo>
                  <a:pt x="2555" y="953"/>
                </a:lnTo>
                <a:lnTo>
                  <a:pt x="2535" y="951"/>
                </a:lnTo>
                <a:lnTo>
                  <a:pt x="2517" y="944"/>
                </a:lnTo>
                <a:lnTo>
                  <a:pt x="2502" y="931"/>
                </a:lnTo>
                <a:lnTo>
                  <a:pt x="2490" y="917"/>
                </a:lnTo>
                <a:lnTo>
                  <a:pt x="2483" y="899"/>
                </a:lnTo>
                <a:lnTo>
                  <a:pt x="2480" y="879"/>
                </a:lnTo>
                <a:lnTo>
                  <a:pt x="2480" y="75"/>
                </a:lnTo>
                <a:lnTo>
                  <a:pt x="2483" y="55"/>
                </a:lnTo>
                <a:lnTo>
                  <a:pt x="2490" y="37"/>
                </a:lnTo>
                <a:lnTo>
                  <a:pt x="2502" y="22"/>
                </a:lnTo>
                <a:lnTo>
                  <a:pt x="2517" y="10"/>
                </a:lnTo>
                <a:lnTo>
                  <a:pt x="2535" y="2"/>
                </a:lnTo>
                <a:lnTo>
                  <a:pt x="2555" y="0"/>
                </a:lnTo>
                <a:close/>
                <a:moveTo>
                  <a:pt x="902" y="0"/>
                </a:moveTo>
                <a:lnTo>
                  <a:pt x="922" y="2"/>
                </a:lnTo>
                <a:lnTo>
                  <a:pt x="939" y="10"/>
                </a:lnTo>
                <a:lnTo>
                  <a:pt x="955" y="22"/>
                </a:lnTo>
                <a:lnTo>
                  <a:pt x="967" y="37"/>
                </a:lnTo>
                <a:lnTo>
                  <a:pt x="974" y="55"/>
                </a:lnTo>
                <a:lnTo>
                  <a:pt x="977" y="75"/>
                </a:lnTo>
                <a:lnTo>
                  <a:pt x="977" y="879"/>
                </a:lnTo>
                <a:lnTo>
                  <a:pt x="974" y="899"/>
                </a:lnTo>
                <a:lnTo>
                  <a:pt x="967" y="917"/>
                </a:lnTo>
                <a:lnTo>
                  <a:pt x="955" y="931"/>
                </a:lnTo>
                <a:lnTo>
                  <a:pt x="939" y="944"/>
                </a:lnTo>
                <a:lnTo>
                  <a:pt x="922" y="951"/>
                </a:lnTo>
                <a:lnTo>
                  <a:pt x="902" y="953"/>
                </a:lnTo>
                <a:lnTo>
                  <a:pt x="882" y="951"/>
                </a:lnTo>
                <a:lnTo>
                  <a:pt x="864" y="944"/>
                </a:lnTo>
                <a:lnTo>
                  <a:pt x="848" y="931"/>
                </a:lnTo>
                <a:lnTo>
                  <a:pt x="837" y="917"/>
                </a:lnTo>
                <a:lnTo>
                  <a:pt x="829" y="899"/>
                </a:lnTo>
                <a:lnTo>
                  <a:pt x="826" y="879"/>
                </a:lnTo>
                <a:lnTo>
                  <a:pt x="826" y="75"/>
                </a:lnTo>
                <a:lnTo>
                  <a:pt x="829" y="55"/>
                </a:lnTo>
                <a:lnTo>
                  <a:pt x="837" y="37"/>
                </a:lnTo>
                <a:lnTo>
                  <a:pt x="848" y="22"/>
                </a:lnTo>
                <a:lnTo>
                  <a:pt x="864" y="10"/>
                </a:lnTo>
                <a:lnTo>
                  <a:pt x="882" y="2"/>
                </a:lnTo>
                <a:lnTo>
                  <a:pt x="902" y="0"/>
                </a:lnTo>
                <a:close/>
              </a:path>
            </a:pathLst>
          </a:custGeom>
          <a:solidFill>
            <a:schemeClr val="tx2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en-US" sz="2400">
              <a:solidFill>
                <a:schemeClr val="bg1">
                  <a:lumMod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70147692"/>
      </p:ext>
    </p:extLst>
  </p:cSld>
  <p:clrMapOvr>
    <a:masterClrMapping/>
  </p:clrMapOvr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g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555236" y="1220545"/>
            <a:ext cx="6576817" cy="3426595"/>
          </a:xfrm>
          <a:prstGeom prst="rect">
            <a:avLst/>
          </a:prstGeom>
          <a:noFill/>
        </p:spPr>
        <p:txBody>
          <a:bodyPr anchor="b">
            <a:noAutofit/>
          </a:bodyPr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6133" b="0" i="0" spc="0" baseline="0">
                <a:solidFill>
                  <a:schemeClr val="bg2"/>
                </a:solidFill>
                <a:latin typeface="+mj-lt"/>
                <a:ea typeface="CiscoSansTT Thin" charset="0"/>
                <a:cs typeface="CiscoSansTT Thin" charset="0"/>
              </a:defRPr>
            </a:lvl1pPr>
          </a:lstStyle>
          <a:p>
            <a:r>
              <a:rPr lang="en-GB"/>
              <a:t>Section Title Goes Here</a:t>
            </a:r>
            <a:endParaRPr lang="en-US"/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218182" y="3365397"/>
            <a:ext cx="5973820" cy="34926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07645583"/>
      </p:ext>
    </p:extLst>
  </p:cSld>
  <p:clrMapOvr>
    <a:masterClrMapping/>
  </p:clrMapOvr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gue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555236" y="1220545"/>
            <a:ext cx="6576817" cy="3426595"/>
          </a:xfrm>
          <a:prstGeom prst="rect">
            <a:avLst/>
          </a:prstGeom>
          <a:noFill/>
        </p:spPr>
        <p:txBody>
          <a:bodyPr anchor="b">
            <a:noAutofit/>
          </a:bodyPr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6133" b="0" i="0" spc="0" baseline="0">
                <a:solidFill>
                  <a:schemeClr val="tx2"/>
                </a:solidFill>
                <a:latin typeface="+mj-lt"/>
                <a:ea typeface="CiscoSansTT Thin" charset="0"/>
                <a:cs typeface="CiscoSansTT Thin" charset="0"/>
              </a:defRPr>
            </a:lvl1pPr>
          </a:lstStyle>
          <a:p>
            <a:r>
              <a:rPr lang="en-GB"/>
              <a:t>Section Title Goes Here</a:t>
            </a:r>
            <a:endParaRPr lang="en-US"/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218182" y="3365397"/>
            <a:ext cx="5973820" cy="34926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02501255"/>
      </p:ext>
    </p:extLst>
  </p:cSld>
  <p:clrMapOvr>
    <a:masterClrMapping/>
  </p:clrMapOvr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Slide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>
              <a:solidFill>
                <a:schemeClr val="tx2"/>
              </a:solidFill>
            </a:endParaRPr>
          </a:p>
        </p:txBody>
      </p:sp>
      <p:sp>
        <p:nvSpPr>
          <p:cNvPr id="3" name="Text Placeholder 9"/>
          <p:cNvSpPr>
            <a:spLocks noGrp="1"/>
          </p:cNvSpPr>
          <p:nvPr>
            <p:ph type="body" sz="quarter" idx="11"/>
          </p:nvPr>
        </p:nvSpPr>
        <p:spPr>
          <a:xfrm>
            <a:off x="624417" y="5221411"/>
            <a:ext cx="10389144" cy="465808"/>
          </a:xfrm>
          <a:prstGeom prst="rect">
            <a:avLst/>
          </a:prstGeom>
        </p:spPr>
        <p:txBody>
          <a:bodyPr wrap="square" lIns="91420" tIns="45710" rIns="91420" bIns="45710" anchor="b" anchorCtr="0">
            <a:noAutofit/>
          </a:bodyPr>
          <a:lstStyle>
            <a:lvl1pPr marL="0" indent="0" algn="l" defTabSz="804727">
              <a:lnSpc>
                <a:spcPct val="100000"/>
              </a:lnSpc>
              <a:spcBef>
                <a:spcPct val="50000"/>
              </a:spcBef>
              <a:buNone/>
              <a:defRPr sz="2933" b="0" i="0">
                <a:solidFill>
                  <a:schemeClr val="bg2"/>
                </a:solidFill>
                <a:latin typeface="+mn-lt"/>
                <a:cs typeface="CiscoSans ExtraLight"/>
              </a:defRPr>
            </a:lvl1pPr>
            <a:lvl2pPr>
              <a:buFont typeface="Arial" pitchFamily="34" charset="0"/>
              <a:buNone/>
              <a:defRPr sz="1467"/>
            </a:lvl2pPr>
            <a:lvl3pPr>
              <a:buFont typeface="Arial" pitchFamily="34" charset="0"/>
              <a:buNone/>
              <a:defRPr sz="1467"/>
            </a:lvl3pPr>
            <a:lvl4pPr>
              <a:buFont typeface="Arial" pitchFamily="34" charset="0"/>
              <a:buNone/>
              <a:defRPr sz="1467"/>
            </a:lvl4pPr>
            <a:lvl5pPr>
              <a:buFont typeface="Arial" pitchFamily="34" charset="0"/>
              <a:buNone/>
              <a:defRPr sz="1467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Title 1"/>
          <p:cNvSpPr>
            <a:spLocks noGrp="1"/>
          </p:cNvSpPr>
          <p:nvPr>
            <p:ph type="ctrTitle"/>
          </p:nvPr>
        </p:nvSpPr>
        <p:spPr>
          <a:xfrm>
            <a:off x="383897" y="2054070"/>
            <a:ext cx="10629664" cy="3038449"/>
          </a:xfrm>
          <a:prstGeom prst="rect">
            <a:avLst/>
          </a:prstGeom>
        </p:spPr>
        <p:txBody>
          <a:bodyPr>
            <a:noAutofit/>
          </a:bodyPr>
          <a:lstStyle>
            <a:lvl1pPr marL="244789" indent="-533264" algn="l">
              <a:lnSpc>
                <a:spcPct val="90000"/>
              </a:lnSpc>
              <a:defRPr sz="5333" b="0" i="1" spc="0" baseline="0">
                <a:solidFill>
                  <a:schemeClr val="bg2"/>
                </a:solidFill>
                <a:latin typeface="+mj-lt"/>
                <a:cs typeface="CiscoSans Thin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372676691"/>
      </p:ext>
    </p:extLst>
  </p:cSld>
  <p:clrMapOvr>
    <a:masterClrMapping/>
  </p:clrMapOvr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Quote Slide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>
              <a:solidFill>
                <a:schemeClr val="tx2"/>
              </a:solidFill>
            </a:endParaRPr>
          </a:p>
        </p:txBody>
      </p:sp>
      <p:sp>
        <p:nvSpPr>
          <p:cNvPr id="3" name="Text Placeholder 9"/>
          <p:cNvSpPr>
            <a:spLocks noGrp="1"/>
          </p:cNvSpPr>
          <p:nvPr>
            <p:ph type="body" sz="quarter" idx="11"/>
          </p:nvPr>
        </p:nvSpPr>
        <p:spPr>
          <a:xfrm>
            <a:off x="624417" y="5221411"/>
            <a:ext cx="10389144" cy="465808"/>
          </a:xfrm>
          <a:prstGeom prst="rect">
            <a:avLst/>
          </a:prstGeom>
        </p:spPr>
        <p:txBody>
          <a:bodyPr wrap="square" lIns="91420" tIns="45710" rIns="91420" bIns="45710" anchor="b" anchorCtr="0">
            <a:noAutofit/>
          </a:bodyPr>
          <a:lstStyle>
            <a:lvl1pPr marL="0" indent="0" algn="l" defTabSz="804727">
              <a:lnSpc>
                <a:spcPct val="100000"/>
              </a:lnSpc>
              <a:spcBef>
                <a:spcPct val="50000"/>
              </a:spcBef>
              <a:buNone/>
              <a:defRPr sz="2933" b="0" i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>
              <a:buFont typeface="Arial" pitchFamily="34" charset="0"/>
              <a:buNone/>
              <a:defRPr sz="1467"/>
            </a:lvl2pPr>
            <a:lvl3pPr>
              <a:buFont typeface="Arial" pitchFamily="34" charset="0"/>
              <a:buNone/>
              <a:defRPr sz="1467"/>
            </a:lvl3pPr>
            <a:lvl4pPr>
              <a:buFont typeface="Arial" pitchFamily="34" charset="0"/>
              <a:buNone/>
              <a:defRPr sz="1467"/>
            </a:lvl4pPr>
            <a:lvl5pPr>
              <a:buFont typeface="Arial" pitchFamily="34" charset="0"/>
              <a:buNone/>
              <a:defRPr sz="1467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Title 1"/>
          <p:cNvSpPr>
            <a:spLocks noGrp="1"/>
          </p:cNvSpPr>
          <p:nvPr>
            <p:ph type="ctrTitle"/>
          </p:nvPr>
        </p:nvSpPr>
        <p:spPr>
          <a:xfrm>
            <a:off x="383897" y="2054070"/>
            <a:ext cx="10629664" cy="3038449"/>
          </a:xfrm>
          <a:prstGeom prst="rect">
            <a:avLst/>
          </a:prstGeom>
        </p:spPr>
        <p:txBody>
          <a:bodyPr>
            <a:noAutofit/>
          </a:bodyPr>
          <a:lstStyle>
            <a:lvl1pPr marL="244789" indent="-533264" algn="l">
              <a:lnSpc>
                <a:spcPct val="90000"/>
              </a:lnSpc>
              <a:defRPr sz="5333" b="0" i="1" spc="0" baseline="0">
                <a:solidFill>
                  <a:schemeClr val="tx2"/>
                </a:solidFill>
                <a:latin typeface="+mj-lt"/>
                <a:cs typeface="CiscoSans Thin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650410123"/>
      </p:ext>
    </p:extLst>
  </p:cSld>
  <p:clrMapOvr>
    <a:masterClrMapping/>
  </p:clrMapOvr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Full Bleed Photo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prstGeom prst="rect">
            <a:avLst/>
          </a:prstGeom>
        </p:spPr>
        <p:txBody>
          <a:bodyPr vert="horz" lIns="91420" tIns="45710" rIns="91420" bIns="45710"/>
          <a:lstStyle>
            <a:lvl1pPr marL="0" indent="0" algn="ctr">
              <a:buNone/>
              <a:defRPr sz="2933" baseline="0">
                <a:solidFill>
                  <a:schemeClr val="tx1"/>
                </a:solidFill>
                <a:latin typeface="+mj-lt"/>
                <a:cs typeface="CiscoSans ExtraLight"/>
              </a:defRPr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1"/>
          </p:nvPr>
        </p:nvSpPr>
        <p:spPr bwMode="auto">
          <a:xfrm>
            <a:off x="666752" y="5244403"/>
            <a:ext cx="10852149" cy="641714"/>
          </a:xfrm>
          <a:prstGeom prst="rect">
            <a:avLst/>
          </a:prstGeom>
          <a:noFill/>
        </p:spPr>
        <p:txBody>
          <a:bodyPr wrap="square" lIns="182880" tIns="91440" rIns="182880" bIns="91440" numCol="1" anchor="ctr" anchorCtr="0" compatLnSpc="1">
            <a:prstTxWarp prst="textNoShape">
              <a:avLst/>
            </a:prstTxWarp>
            <a:spAutoFit/>
          </a:bodyPr>
          <a:lstStyle>
            <a:lvl1pPr marL="0" indent="0" algn="ctr">
              <a:lnSpc>
                <a:spcPts val="3867"/>
              </a:lnSpc>
              <a:spcBef>
                <a:spcPts val="0"/>
              </a:spcBef>
              <a:buNone/>
              <a:defRPr sz="3200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94813417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F628C63-1E02-449F-8A5E-FA326608991D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8254585" y="2540000"/>
            <a:ext cx="3217745" cy="3141133"/>
          </a:xfr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Picture Placeholder 9">
            <a:extLst>
              <a:ext uri="{FF2B5EF4-FFF2-40B4-BE49-F238E27FC236}">
                <a16:creationId xmlns:a16="http://schemas.microsoft.com/office/drawing/2014/main" id="{9226CD76-62DA-4A5C-9D4C-5E233D954AD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6813964" y="5157338"/>
            <a:ext cx="1146096" cy="1146097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>
            <a:noAutofit/>
          </a:bodyPr>
          <a:lstStyle>
            <a:lvl1pPr>
              <a:defRPr>
                <a:noFill/>
              </a:defRPr>
            </a:lvl1pPr>
          </a:lstStyle>
          <a:p>
            <a:endParaRPr lang="en-US"/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D770774F-BDA5-44BF-87A9-ACAC27D30E7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937415" y="965200"/>
            <a:ext cx="1146096" cy="1146097"/>
          </a:xfrm>
          <a:prstGeom prst="rect">
            <a:avLst/>
          </a:prstGeom>
          <a:blipFill>
            <a:blip r:embed="rId3"/>
            <a:stretch>
              <a:fillRect/>
            </a:stretch>
          </a:blipFill>
        </p:spPr>
        <p:txBody>
          <a:bodyPr>
            <a:noAutofit/>
          </a:bodyPr>
          <a:lstStyle>
            <a:lvl1pPr>
              <a:defRPr>
                <a:noFill/>
              </a:defRPr>
            </a:lvl1pPr>
          </a:lstStyle>
          <a:p>
            <a:endParaRPr lang="en-US"/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2D989DD8-307B-4044-B0AD-5914C955D76D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359000" y="745001"/>
            <a:ext cx="3474000" cy="5403900"/>
          </a:xfrm>
          <a:prstGeom prst="roundRect">
            <a:avLst>
              <a:gd name="adj" fmla="val 50000"/>
            </a:avLst>
          </a:prstGeom>
          <a:solidFill>
            <a:srgbClr val="EDF1F6"/>
          </a:solidFill>
        </p:spPr>
        <p:txBody>
          <a:bodyPr>
            <a:noAutofit/>
          </a:bodyPr>
          <a:lstStyle/>
          <a:p>
            <a:endParaRPr lang="en-US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A9D61D35-8427-9949-9B05-2550B648C3E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254587" y="1612902"/>
            <a:ext cx="3217747" cy="457199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2133" b="0" i="0">
                <a:solidFill>
                  <a:schemeClr val="tx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defRPr>
            </a:lvl1pPr>
            <a:lvl2pPr>
              <a:defRPr sz="2133" b="0" i="0">
                <a:solidFill>
                  <a:schemeClr val="tx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defRPr>
            </a:lvl2pPr>
            <a:lvl3pPr>
              <a:defRPr sz="2133" b="0" i="0">
                <a:solidFill>
                  <a:schemeClr val="tx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defRPr>
            </a:lvl3pPr>
            <a:lvl4pPr>
              <a:defRPr sz="2133" b="0" i="0">
                <a:solidFill>
                  <a:schemeClr val="tx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defRPr>
            </a:lvl4pPr>
            <a:lvl5pPr>
              <a:defRPr sz="2133" b="0" i="0">
                <a:solidFill>
                  <a:schemeClr val="tx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defRPr>
            </a:lvl5pPr>
          </a:lstStyle>
          <a:p>
            <a:pPr lvl="0"/>
            <a:r>
              <a:rPr lang="en-GB"/>
              <a:t>Lorem ipsum </a:t>
            </a:r>
            <a:r>
              <a:rPr lang="en-GB" err="1"/>
              <a:t>dolor</a:t>
            </a:r>
            <a:r>
              <a:rPr lang="en-GB"/>
              <a:t> sit</a:t>
            </a:r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3159506-874E-41B2-AA58-92FF0184A76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1200" y="2070101"/>
            <a:ext cx="2904067" cy="2518833"/>
          </a:xfrm>
        </p:spPr>
        <p:txBody>
          <a:bodyPr>
            <a:noAutofit/>
          </a:bodyPr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328067087"/>
      </p:ext>
    </p:extLst>
  </p:cSld>
  <p:clrMapOvr>
    <a:masterClrMapping/>
  </p:clrMapOvr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alf Page Photo With Text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2" y="3"/>
            <a:ext cx="12401551" cy="3790949"/>
          </a:xfrm>
          <a:prstGeom prst="rect">
            <a:avLst/>
          </a:prstGeom>
          <a:solidFill>
            <a:schemeClr val="bg2"/>
          </a:solidFill>
        </p:spPr>
        <p:txBody>
          <a:bodyPr vert="horz" lIns="91420" tIns="45710" rIns="91420" bIns="45710"/>
          <a:lstStyle>
            <a:lvl1pPr marL="0" indent="0" algn="ctr">
              <a:buNone/>
              <a:defRPr sz="2933" baseline="0">
                <a:solidFill>
                  <a:schemeClr val="tx1"/>
                </a:solidFill>
                <a:latin typeface="+mj-lt"/>
                <a:cs typeface="CiscoSans ExtraLight"/>
              </a:defRPr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598381" y="4072691"/>
            <a:ext cx="11152315" cy="716158"/>
          </a:xfrm>
          <a:prstGeom prst="rect">
            <a:avLst/>
          </a:prstGeom>
        </p:spPr>
        <p:txBody>
          <a:bodyPr vert="horz" wrap="square">
            <a:spAutoFit/>
          </a:bodyPr>
          <a:lstStyle>
            <a:lvl1pPr marL="0" indent="0">
              <a:buNone/>
              <a:defRPr sz="4267" baseline="0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574781487"/>
      </p:ext>
    </p:extLst>
  </p:cSld>
  <p:clrMapOvr>
    <a:masterClrMapping/>
  </p:clrMapOvr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Full bleed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6464" cy="6858000"/>
          </a:xfrm>
          <a:prstGeom prst="rect">
            <a:avLst/>
          </a:prstGeom>
        </p:spPr>
        <p:txBody>
          <a:bodyPr vert="horz" lIns="91420" tIns="45710" rIns="91420" bIns="45710"/>
          <a:lstStyle>
            <a:lvl1pPr marL="0" indent="0" algn="ctr">
              <a:buNone/>
              <a:defRPr sz="2933" baseline="0">
                <a:solidFill>
                  <a:schemeClr val="tx1"/>
                </a:solidFill>
                <a:latin typeface="+mj-lt"/>
                <a:cs typeface="CiscoSans ExtraLight"/>
              </a:defRPr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796491621"/>
      </p:ext>
    </p:extLst>
  </p:cSld>
  <p:clrMapOvr>
    <a:masterClrMapping/>
  </p:clrMapOvr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Full bleed photo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1" y="0"/>
            <a:ext cx="12124267" cy="68580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67">
              <a:latin typeface="+mj-lt"/>
            </a:endParaRPr>
          </a:p>
        </p:txBody>
      </p:sp>
      <p:sp>
        <p:nvSpPr>
          <p:cNvPr id="5" name="Rectangle 4"/>
          <p:cNvSpPr>
            <a:spLocks noChangeArrowheads="1"/>
          </p:cNvSpPr>
          <p:nvPr userDrawn="1"/>
        </p:nvSpPr>
        <p:spPr bwMode="ltGray">
          <a:xfrm>
            <a:off x="636907" y="6322207"/>
            <a:ext cx="4622389" cy="206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115" tIns="41056" rIns="82115" bIns="41056" anchor="b">
            <a:spAutoFit/>
          </a:bodyPr>
          <a:lstStyle/>
          <a:p>
            <a:pPr algn="l" defTabSz="814285" rtl="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kern="1200" spc="27" baseline="0">
                <a:solidFill>
                  <a:schemeClr val="accent1">
                    <a:lumMod val="75000"/>
                  </a:schemeClr>
                </a:solidFill>
                <a:latin typeface="+mn-lt"/>
                <a:ea typeface="+mn-ea"/>
                <a:cs typeface="CiscoSans Thin"/>
              </a:rPr>
              <a:t>© 2020  Cisco and/or its affiliates. All rights reserved.   Cisco Confidential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410683" y="320843"/>
            <a:ext cx="11307184" cy="5688861"/>
          </a:xfrm>
          <a:prstGeom prst="rect">
            <a:avLst/>
          </a:prstGeom>
          <a:solidFill>
            <a:schemeClr val="bg2"/>
          </a:solidFill>
        </p:spPr>
        <p:txBody>
          <a:bodyPr vert="horz" lIns="91424" tIns="45712" rIns="91424" bIns="45712"/>
          <a:lstStyle>
            <a:lvl1pPr marL="0" indent="0" algn="ctr">
              <a:buNone/>
              <a:defRPr sz="2000" baseline="0">
                <a:solidFill>
                  <a:schemeClr val="tx1"/>
                </a:solidFill>
                <a:latin typeface="+mj-lt"/>
                <a:cs typeface="CiscoSans ExtraLight"/>
              </a:defRPr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1941603656"/>
      </p:ext>
    </p:extLst>
  </p:cSld>
  <p:clrMapOvr>
    <a:masterClrMapping/>
  </p:clrMapOvr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616401" y="1602317"/>
            <a:ext cx="11036459" cy="4519083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304784" indent="-228589">
              <a:lnSpc>
                <a:spcPct val="95000"/>
              </a:lnSpc>
              <a:spcBef>
                <a:spcPts val="1480"/>
              </a:spcBef>
              <a:buClr>
                <a:schemeClr val="tx1"/>
              </a:buClr>
              <a:buSzPct val="80000"/>
              <a:buFont typeface="Arial"/>
              <a:buChar char="•"/>
              <a:defRPr sz="2667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1pPr>
            <a:lvl2pPr marL="609570" indent="-220122">
              <a:lnSpc>
                <a:spcPct val="95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Arial"/>
              <a:buChar char="•"/>
              <a:defRPr sz="24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2pPr>
            <a:lvl3pPr marL="914354" indent="-146043">
              <a:buClr>
                <a:schemeClr val="tx1"/>
              </a:buClr>
              <a:buSzPct val="80000"/>
              <a:buFont typeface="Arial"/>
              <a:buChar char="•"/>
              <a:defRPr sz="2133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3pPr>
            <a:lvl4pPr marL="1214652" indent="-228542">
              <a:buClr>
                <a:schemeClr val="tx1"/>
              </a:buClr>
              <a:buSzPct val="80000"/>
              <a:buFont typeface="Arial"/>
              <a:buChar char="•"/>
              <a:defRPr sz="1867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4pPr>
            <a:lvl5pPr marL="1443195" indent="-224309"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5pPr>
          </a:lstStyle>
          <a:p>
            <a:pPr lvl="0"/>
            <a:r>
              <a:rPr lang="en-GB"/>
              <a:t>First level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6" name="Title Placeholder 5"/>
          <p:cNvSpPr>
            <a:spLocks noGrp="1"/>
          </p:cNvSpPr>
          <p:nvPr>
            <p:ph type="title"/>
          </p:nvPr>
        </p:nvSpPr>
        <p:spPr bwMode="auto">
          <a:xfrm>
            <a:off x="583688" y="455086"/>
            <a:ext cx="11127317" cy="9757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>
              <a:defRPr sz="3733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74313641"/>
      </p:ext>
    </p:extLst>
  </p:cSld>
  <p:clrMapOvr>
    <a:masterClrMapping/>
  </p:clrMapOvr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ullet_Heavy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711199" y="1607864"/>
            <a:ext cx="5181600" cy="4110792"/>
          </a:xfrm>
          <a:prstGeom prst="rect">
            <a:avLst/>
          </a:prstGeom>
        </p:spPr>
        <p:txBody>
          <a:bodyPr lIns="0" tIns="45710" rIns="0" bIns="45710">
            <a:noAutofit/>
          </a:bodyPr>
          <a:lstStyle>
            <a:lvl1pPr marL="232822" indent="-156625">
              <a:lnSpc>
                <a:spcPct val="95000"/>
              </a:lnSpc>
              <a:spcBef>
                <a:spcPts val="1480"/>
              </a:spcBef>
              <a:buClr>
                <a:schemeClr val="tx1"/>
              </a:buClr>
              <a:buSzPct val="60000"/>
              <a:buFont typeface="Arial"/>
              <a:buChar char="•"/>
              <a:defRPr sz="2667" b="0" i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 marL="385214" indent="-152392">
              <a:lnSpc>
                <a:spcPct val="95000"/>
              </a:lnSpc>
              <a:spcBef>
                <a:spcPts val="600"/>
              </a:spcBef>
              <a:buClr>
                <a:schemeClr val="tx1"/>
              </a:buClr>
              <a:buSzPct val="60000"/>
              <a:buFont typeface="Arial"/>
              <a:buChar char="•"/>
              <a:defRPr sz="2400" b="0" i="0">
                <a:solidFill>
                  <a:schemeClr val="tx1"/>
                </a:solidFill>
                <a:latin typeface="+mn-lt"/>
                <a:cs typeface="CiscoSans ExtraLight"/>
              </a:defRPr>
            </a:lvl2pPr>
            <a:lvl3pPr marL="537607" indent="-152392">
              <a:buClr>
                <a:schemeClr val="tx1"/>
              </a:buClr>
              <a:buSzPct val="60000"/>
              <a:buFont typeface="Arial"/>
              <a:buChar char="•"/>
              <a:defRPr sz="2133" b="0" i="0">
                <a:solidFill>
                  <a:schemeClr val="tx1"/>
                </a:solidFill>
                <a:latin typeface="+mn-lt"/>
                <a:cs typeface="CiscoSans ExtraLight"/>
              </a:defRPr>
            </a:lvl3pPr>
            <a:lvl4pPr marL="689999" indent="-152392">
              <a:buClr>
                <a:schemeClr val="tx1"/>
              </a:buClr>
              <a:buSzPct val="60000"/>
              <a:buFont typeface="Arial"/>
              <a:buChar char="•"/>
              <a:defRPr sz="1867" b="0" i="0">
                <a:solidFill>
                  <a:schemeClr val="tx1"/>
                </a:solidFill>
                <a:latin typeface="+mn-lt"/>
                <a:cs typeface="CiscoSans ExtraLight"/>
              </a:defRPr>
            </a:lvl4pPr>
            <a:lvl5pPr marL="842391" indent="-152392">
              <a:buClr>
                <a:schemeClr val="tx1"/>
              </a:buClr>
              <a:buSzPct val="60000"/>
              <a:buFont typeface="Arial"/>
              <a:buChar char="•"/>
              <a:defRPr sz="1600" b="0" i="0">
                <a:solidFill>
                  <a:schemeClr val="tx1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341155" y="1607864"/>
            <a:ext cx="5181600" cy="4110792"/>
          </a:xfrm>
          <a:prstGeom prst="rect">
            <a:avLst/>
          </a:prstGeom>
        </p:spPr>
        <p:txBody>
          <a:bodyPr lIns="0" tIns="45710" rIns="0" bIns="45710">
            <a:noAutofit/>
          </a:bodyPr>
          <a:lstStyle>
            <a:lvl1pPr marL="232822" indent="-156625">
              <a:lnSpc>
                <a:spcPct val="95000"/>
              </a:lnSpc>
              <a:spcBef>
                <a:spcPts val="1480"/>
              </a:spcBef>
              <a:buClr>
                <a:schemeClr val="tx1"/>
              </a:buClr>
              <a:buSzPct val="60000"/>
              <a:buFont typeface="Arial"/>
              <a:buChar char="•"/>
              <a:defRPr sz="2667" b="0" i="0" baseline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 marL="385214" indent="-152392">
              <a:lnSpc>
                <a:spcPct val="95000"/>
              </a:lnSpc>
              <a:spcBef>
                <a:spcPts val="600"/>
              </a:spcBef>
              <a:buClr>
                <a:schemeClr val="tx1"/>
              </a:buClr>
              <a:buSzPct val="60000"/>
              <a:buFont typeface="Arial"/>
              <a:buChar char="•"/>
              <a:defRPr sz="2400" b="0" i="0">
                <a:solidFill>
                  <a:schemeClr val="tx1"/>
                </a:solidFill>
                <a:latin typeface="+mn-lt"/>
                <a:cs typeface="CiscoSans ExtraLight"/>
              </a:defRPr>
            </a:lvl2pPr>
            <a:lvl3pPr marL="537607" indent="-152392">
              <a:buClr>
                <a:schemeClr val="tx1"/>
              </a:buClr>
              <a:buSzPct val="60000"/>
              <a:buFont typeface="Arial"/>
              <a:buChar char="•"/>
              <a:defRPr sz="2133" b="0" i="0">
                <a:solidFill>
                  <a:schemeClr val="tx1"/>
                </a:solidFill>
                <a:latin typeface="+mn-lt"/>
                <a:cs typeface="CiscoSans ExtraLight"/>
              </a:defRPr>
            </a:lvl3pPr>
            <a:lvl4pPr marL="689999" indent="-152392">
              <a:buClr>
                <a:schemeClr val="tx1"/>
              </a:buClr>
              <a:buSzPct val="60000"/>
              <a:buFont typeface="Arial"/>
              <a:buChar char="•"/>
              <a:defRPr sz="1867" b="0" i="0">
                <a:solidFill>
                  <a:schemeClr val="tx1"/>
                </a:solidFill>
                <a:latin typeface="+mn-lt"/>
                <a:cs typeface="CiscoSans ExtraLight"/>
              </a:defRPr>
            </a:lvl4pPr>
            <a:lvl5pPr marL="842391" indent="-152392">
              <a:buClr>
                <a:schemeClr val="tx1"/>
              </a:buClr>
              <a:buSzPct val="60000"/>
              <a:buFont typeface="Arial"/>
              <a:buChar char="•"/>
              <a:defRPr sz="1600" b="0" i="0">
                <a:solidFill>
                  <a:schemeClr val="tx1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itle Placeholder 5"/>
          <p:cNvSpPr>
            <a:spLocks noGrp="1"/>
          </p:cNvSpPr>
          <p:nvPr>
            <p:ph type="title"/>
          </p:nvPr>
        </p:nvSpPr>
        <p:spPr bwMode="auto">
          <a:xfrm>
            <a:off x="583688" y="455086"/>
            <a:ext cx="11127317" cy="9757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3733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09468957"/>
      </p:ext>
    </p:extLst>
  </p:cSld>
  <p:clrMapOvr>
    <a:masterClrMapping/>
  </p:clrMapOvr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583688" y="455086"/>
            <a:ext cx="11127317" cy="9757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>
              <a:defRPr sz="3733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227467154"/>
      </p:ext>
    </p:extLst>
  </p:cSld>
  <p:clrMapOvr>
    <a:masterClrMapping/>
  </p:clrMapOvr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099542536"/>
      </p:ext>
    </p:extLst>
  </p:cSld>
  <p:clrMapOvr>
    <a:masterClrMapping/>
  </p:clrMapOvr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able Placeholder 11"/>
          <p:cNvSpPr>
            <a:spLocks noGrp="1"/>
          </p:cNvSpPr>
          <p:nvPr>
            <p:ph type="tbl" sz="quarter" idx="12"/>
          </p:nvPr>
        </p:nvSpPr>
        <p:spPr>
          <a:xfrm>
            <a:off x="711200" y="1797052"/>
            <a:ext cx="10820400" cy="3544971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0" indent="0" algn="ctr">
              <a:buNone/>
              <a:defRPr sz="2667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noProof="0"/>
              <a:t>Click icon to add table</a:t>
            </a:r>
            <a:endParaRPr lang="en-GB" noProof="0"/>
          </a:p>
        </p:txBody>
      </p:sp>
      <p:sp>
        <p:nvSpPr>
          <p:cNvPr id="6" name="Text Placeholder 9"/>
          <p:cNvSpPr>
            <a:spLocks noGrp="1"/>
          </p:cNvSpPr>
          <p:nvPr>
            <p:ph type="body" sz="quarter" idx="11"/>
          </p:nvPr>
        </p:nvSpPr>
        <p:spPr>
          <a:xfrm>
            <a:off x="583691" y="5530962"/>
            <a:ext cx="9573749" cy="434977"/>
          </a:xfrm>
          <a:prstGeom prst="rect">
            <a:avLst/>
          </a:prstGeom>
        </p:spPr>
        <p:txBody>
          <a:bodyPr wrap="square" lIns="91420" tIns="45710" rIns="91420" bIns="45710" anchor="b" anchorCtr="0">
            <a:noAutofit/>
          </a:bodyPr>
          <a:lstStyle>
            <a:lvl1pPr algn="l" defTabSz="804727">
              <a:lnSpc>
                <a:spcPct val="100000"/>
              </a:lnSpc>
              <a:spcBef>
                <a:spcPct val="50000"/>
              </a:spcBef>
              <a:buNone/>
              <a:defRPr sz="1867" b="0" i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>
              <a:buFont typeface="Arial" pitchFamily="34" charset="0"/>
              <a:buNone/>
              <a:defRPr sz="1467"/>
            </a:lvl2pPr>
            <a:lvl3pPr>
              <a:buFont typeface="Arial" pitchFamily="34" charset="0"/>
              <a:buNone/>
              <a:defRPr sz="1467"/>
            </a:lvl3pPr>
            <a:lvl4pPr>
              <a:buFont typeface="Arial" pitchFamily="34" charset="0"/>
              <a:buNone/>
              <a:defRPr sz="1467"/>
            </a:lvl4pPr>
            <a:lvl5pPr>
              <a:buFont typeface="Arial" pitchFamily="34" charset="0"/>
              <a:buNone/>
              <a:defRPr sz="1467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Title Placeholder 5"/>
          <p:cNvSpPr>
            <a:spLocks noGrp="1"/>
          </p:cNvSpPr>
          <p:nvPr>
            <p:ph type="title"/>
          </p:nvPr>
        </p:nvSpPr>
        <p:spPr bwMode="auto">
          <a:xfrm>
            <a:off x="583688" y="455086"/>
            <a:ext cx="11127317" cy="9757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3733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37949058"/>
      </p:ext>
    </p:extLst>
  </p:cSld>
  <p:clrMapOvr>
    <a:masterClrMapping/>
  </p:clrMapOvr>
</p:sldLayout>
</file>

<file path=ppt/slideLayouts/slideLayout1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hart Placeholder 2"/>
          <p:cNvSpPr>
            <a:spLocks noGrp="1"/>
          </p:cNvSpPr>
          <p:nvPr>
            <p:ph type="chart" sz="quarter" idx="10"/>
          </p:nvPr>
        </p:nvSpPr>
        <p:spPr>
          <a:xfrm>
            <a:off x="711200" y="1602319"/>
            <a:ext cx="10820400" cy="3744383"/>
          </a:xfrm>
          <a:prstGeom prst="rect">
            <a:avLst/>
          </a:prstGeom>
        </p:spPr>
        <p:txBody>
          <a:bodyPr vert="horz" lIns="91420" tIns="45710" rIns="91420" bIns="45710">
            <a:noAutofit/>
          </a:bodyPr>
          <a:lstStyle>
            <a:lvl1pPr marL="0" indent="0" algn="ctr">
              <a:buNone/>
              <a:defRPr sz="2667" b="0" i="0">
                <a:solidFill>
                  <a:schemeClr val="tx1"/>
                </a:solidFill>
                <a:latin typeface="+mn-lt"/>
                <a:cs typeface="CiscoSans ExtraLight"/>
              </a:defRPr>
            </a:lvl1pPr>
          </a:lstStyle>
          <a:p>
            <a:pPr lvl="0"/>
            <a:r>
              <a:rPr lang="en-US" noProof="0"/>
              <a:t>Click icon to add chart</a:t>
            </a:r>
          </a:p>
        </p:txBody>
      </p:sp>
      <p:sp>
        <p:nvSpPr>
          <p:cNvPr id="7" name="Text Placeholder 9"/>
          <p:cNvSpPr>
            <a:spLocks noGrp="1"/>
          </p:cNvSpPr>
          <p:nvPr>
            <p:ph type="body" sz="quarter" idx="11"/>
          </p:nvPr>
        </p:nvSpPr>
        <p:spPr>
          <a:xfrm>
            <a:off x="583691" y="5530962"/>
            <a:ext cx="9573749" cy="434977"/>
          </a:xfrm>
          <a:prstGeom prst="rect">
            <a:avLst/>
          </a:prstGeom>
        </p:spPr>
        <p:txBody>
          <a:bodyPr wrap="square" lIns="91420" tIns="45710" rIns="91420" bIns="45710" anchor="b" anchorCtr="0">
            <a:noAutofit/>
          </a:bodyPr>
          <a:lstStyle>
            <a:lvl1pPr algn="l" defTabSz="804727">
              <a:lnSpc>
                <a:spcPct val="100000"/>
              </a:lnSpc>
              <a:spcBef>
                <a:spcPct val="50000"/>
              </a:spcBef>
              <a:buNone/>
              <a:defRPr sz="1867" b="0" i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>
              <a:buFont typeface="Arial" pitchFamily="34" charset="0"/>
              <a:buNone/>
              <a:defRPr sz="1467"/>
            </a:lvl2pPr>
            <a:lvl3pPr>
              <a:buFont typeface="Arial" pitchFamily="34" charset="0"/>
              <a:buNone/>
              <a:defRPr sz="1467"/>
            </a:lvl3pPr>
            <a:lvl4pPr>
              <a:buFont typeface="Arial" pitchFamily="34" charset="0"/>
              <a:buNone/>
              <a:defRPr sz="1467"/>
            </a:lvl4pPr>
            <a:lvl5pPr>
              <a:buFont typeface="Arial" pitchFamily="34" charset="0"/>
              <a:buNone/>
              <a:defRPr sz="1467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Title Placeholder 5"/>
          <p:cNvSpPr>
            <a:spLocks noGrp="1"/>
          </p:cNvSpPr>
          <p:nvPr>
            <p:ph type="title"/>
          </p:nvPr>
        </p:nvSpPr>
        <p:spPr bwMode="auto">
          <a:xfrm>
            <a:off x="583688" y="455086"/>
            <a:ext cx="11127317" cy="9757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51218208"/>
      </p:ext>
    </p:extLst>
  </p:cSld>
  <p:clrMapOvr>
    <a:masterClrMapping/>
  </p:clrMapOvr>
</p:sldLayout>
</file>

<file path=ppt/slideLayouts/slideLayout19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Multi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2"/>
          <p:cNvSpPr>
            <a:spLocks noGrp="1"/>
          </p:cNvSpPr>
          <p:nvPr>
            <p:ph idx="1"/>
          </p:nvPr>
        </p:nvSpPr>
        <p:spPr>
          <a:xfrm>
            <a:off x="632883" y="1797052"/>
            <a:ext cx="11040076" cy="4098595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380901" marR="0" indent="-380901" algn="ctr" defTabSz="609443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2667" b="0" i="0" baseline="0">
                <a:solidFill>
                  <a:schemeClr val="tx1"/>
                </a:solidFill>
                <a:latin typeface="+mn-lt"/>
                <a:cs typeface="CiscoSans ExtraLigh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Title Placeholder 5"/>
          <p:cNvSpPr>
            <a:spLocks noGrp="1"/>
          </p:cNvSpPr>
          <p:nvPr>
            <p:ph type="title"/>
          </p:nvPr>
        </p:nvSpPr>
        <p:spPr bwMode="auto">
          <a:xfrm>
            <a:off x="583688" y="455086"/>
            <a:ext cx="11127317" cy="9757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418865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450FCF8D-71D2-A04E-8294-27F85E6FFA3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19667" y="1612901"/>
            <a:ext cx="3977216" cy="410633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 b="0" i="0">
                <a:solidFill>
                  <a:schemeClr val="tx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>
              <a:buClr>
                <a:schemeClr val="lt1"/>
              </a:buClr>
              <a:buSzPts val="2200"/>
              <a:buFont typeface="Helvetica Neue"/>
              <a:buNone/>
            </a:pPr>
            <a:endParaRPr lang="en-US" sz="1600" b="0" i="0">
              <a:solidFill>
                <a:schemeClr val="tx1"/>
              </a:solidFill>
              <a:latin typeface="CiscoSansTT ExtraLight" panose="020B0303020201020303" pitchFamily="34" charset="0"/>
              <a:cs typeface="CiscoSansTT ExtraLight" panose="020B0303020201020303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77218BF3-52A6-9345-92A3-879E039166BF}"/>
              </a:ext>
            </a:extLst>
          </p:cNvPr>
          <p:cNvSpPr/>
          <p:nvPr userDrawn="1"/>
        </p:nvSpPr>
        <p:spPr>
          <a:xfrm>
            <a:off x="696767" y="6348761"/>
            <a:ext cx="3392013" cy="148683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89"/>
          </a:p>
        </p:txBody>
      </p:sp>
      <p:sp>
        <p:nvSpPr>
          <p:cNvPr id="8" name="Text Placeholder 9">
            <a:extLst>
              <a:ext uri="{FF2B5EF4-FFF2-40B4-BE49-F238E27FC236}">
                <a16:creationId xmlns:a16="http://schemas.microsoft.com/office/drawing/2014/main" id="{9A95AC2F-9EAD-CC4E-865A-376F9679AA5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19667" y="2070101"/>
            <a:ext cx="4799243" cy="1647441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4800" b="0" i="0">
                <a:solidFill>
                  <a:schemeClr val="tx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defRPr>
            </a:lvl1pPr>
          </a:lstStyle>
          <a:p>
            <a:pPr lvl="0"/>
            <a:r>
              <a:rPr lang="en-GB"/>
              <a:t>Click to add title</a:t>
            </a:r>
            <a:endParaRPr lang="en-US"/>
          </a:p>
        </p:txBody>
      </p:sp>
      <p:sp>
        <p:nvSpPr>
          <p:cNvPr id="23" name="Picture Placeholder 22">
            <a:extLst>
              <a:ext uri="{FF2B5EF4-FFF2-40B4-BE49-F238E27FC236}">
                <a16:creationId xmlns:a16="http://schemas.microsoft.com/office/drawing/2014/main" id="{4AF3F36D-8FA3-4219-A5CD-1DB9A679760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261100" y="0"/>
            <a:ext cx="5930899" cy="6858000"/>
          </a:xfrm>
          <a:custGeom>
            <a:avLst/>
            <a:gdLst>
              <a:gd name="connsiteX0" fmla="*/ 2571750 w 4448174"/>
              <a:gd name="connsiteY0" fmla="*/ 0 h 5143500"/>
              <a:gd name="connsiteX1" fmla="*/ 3925599 w 4448174"/>
              <a:gd name="connsiteY1" fmla="*/ 0 h 5143500"/>
              <a:gd name="connsiteX2" fmla="*/ 4146550 w 4448174"/>
              <a:gd name="connsiteY2" fmla="*/ 0 h 5143500"/>
              <a:gd name="connsiteX3" fmla="*/ 4448174 w 4448174"/>
              <a:gd name="connsiteY3" fmla="*/ 0 h 5143500"/>
              <a:gd name="connsiteX4" fmla="*/ 4448174 w 4448174"/>
              <a:gd name="connsiteY4" fmla="*/ 5143500 h 5143500"/>
              <a:gd name="connsiteX5" fmla="*/ 4146550 w 4448174"/>
              <a:gd name="connsiteY5" fmla="*/ 5143500 h 5143500"/>
              <a:gd name="connsiteX6" fmla="*/ 3925599 w 4448174"/>
              <a:gd name="connsiteY6" fmla="*/ 5143500 h 5143500"/>
              <a:gd name="connsiteX7" fmla="*/ 2571750 w 4448174"/>
              <a:gd name="connsiteY7" fmla="*/ 5143500 h 5143500"/>
              <a:gd name="connsiteX8" fmla="*/ 0 w 4448174"/>
              <a:gd name="connsiteY8" fmla="*/ 2571750 h 5143500"/>
              <a:gd name="connsiteX9" fmla="*/ 2571750 w 4448174"/>
              <a:gd name="connsiteY9" fmla="*/ 0 h 5143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4448174" h="5143500">
                <a:moveTo>
                  <a:pt x="2571750" y="0"/>
                </a:moveTo>
                <a:lnTo>
                  <a:pt x="3925599" y="0"/>
                </a:lnTo>
                <a:lnTo>
                  <a:pt x="4146550" y="0"/>
                </a:lnTo>
                <a:lnTo>
                  <a:pt x="4448174" y="0"/>
                </a:lnTo>
                <a:lnTo>
                  <a:pt x="4448174" y="5143500"/>
                </a:lnTo>
                <a:lnTo>
                  <a:pt x="4146550" y="5143500"/>
                </a:lnTo>
                <a:lnTo>
                  <a:pt x="3925599" y="5143500"/>
                </a:lnTo>
                <a:lnTo>
                  <a:pt x="2571750" y="5143500"/>
                </a:lnTo>
                <a:cubicBezTo>
                  <a:pt x="1151412" y="5143500"/>
                  <a:pt x="0" y="3992088"/>
                  <a:pt x="0" y="2571750"/>
                </a:cubicBezTo>
                <a:cubicBezTo>
                  <a:pt x="0" y="1151412"/>
                  <a:pt x="1151412" y="0"/>
                  <a:pt x="2571750" y="0"/>
                </a:cubicBezTo>
                <a:close/>
              </a:path>
            </a:pathLst>
          </a:custGeom>
          <a:solidFill>
            <a:srgbClr val="EDF1F6"/>
          </a:solidFill>
        </p:spPr>
        <p:txBody>
          <a:bodyPr wrap="square">
            <a:noAutofit/>
          </a:bodyPr>
          <a:lstStyle/>
          <a:p>
            <a:endParaRPr lang="en-US"/>
          </a:p>
        </p:txBody>
      </p:sp>
      <p:sp>
        <p:nvSpPr>
          <p:cNvPr id="21" name="Picture Placeholder 10">
            <a:extLst>
              <a:ext uri="{FF2B5EF4-FFF2-40B4-BE49-F238E27FC236}">
                <a16:creationId xmlns:a16="http://schemas.microsoft.com/office/drawing/2014/main" id="{9442949A-ED6E-4DA8-9A45-1668588B47B1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673003" y="5080000"/>
            <a:ext cx="1225163" cy="1225160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>
                <a:noFill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5579267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ext Placeholder 13">
            <a:extLst>
              <a:ext uri="{FF2B5EF4-FFF2-40B4-BE49-F238E27FC236}">
                <a16:creationId xmlns:a16="http://schemas.microsoft.com/office/drawing/2014/main" id="{F4D9ED7A-BB3E-2B4A-B3E6-67298077B32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20104" y="3429001"/>
            <a:ext cx="4105897" cy="361951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2133" b="0" i="0">
                <a:solidFill>
                  <a:schemeClr val="accent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defRPr>
            </a:lvl1pPr>
            <a:lvl2pPr>
              <a:defRPr sz="2133"/>
            </a:lvl2pPr>
            <a:lvl3pPr>
              <a:defRPr sz="2133"/>
            </a:lvl3pPr>
            <a:lvl4pPr>
              <a:defRPr sz="2133"/>
            </a:lvl4pPr>
            <a:lvl5pPr>
              <a:defRPr sz="2133"/>
            </a:lvl5pPr>
          </a:lstStyle>
          <a:p>
            <a:r>
              <a:rPr lang="en-US" sz="2133">
                <a:solidFill>
                  <a:schemeClr val="accent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  <a:sym typeface="Helvetica Neue Light"/>
              </a:rPr>
              <a:t>Lorem ipsum dolor sit </a:t>
            </a: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3FBA4D0F-D7D2-154C-9B95-4B225525BEF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19668" y="3924049"/>
            <a:ext cx="4114801" cy="1943351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467" b="0" i="0">
                <a:solidFill>
                  <a:schemeClr val="tx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defRPr>
            </a:lvl1pPr>
          </a:lstStyle>
          <a:p>
            <a:pPr lvl="0"/>
            <a:r>
              <a:rPr lang="en-GB"/>
              <a:t>Click to add text</a:t>
            </a:r>
            <a:endParaRPr lang="en-US"/>
          </a:p>
        </p:txBody>
      </p:sp>
      <p:sp>
        <p:nvSpPr>
          <p:cNvPr id="25" name="Text Placeholder 13">
            <a:extLst>
              <a:ext uri="{FF2B5EF4-FFF2-40B4-BE49-F238E27FC236}">
                <a16:creationId xmlns:a16="http://schemas.microsoft.com/office/drawing/2014/main" id="{54C8725D-7DE2-5B43-B761-3CEBF82BB8E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234660" y="1888067"/>
            <a:ext cx="3237237" cy="361951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2133" b="0" i="0">
                <a:solidFill>
                  <a:schemeClr val="accent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defRPr>
            </a:lvl1pPr>
            <a:lvl2pPr>
              <a:defRPr sz="2133"/>
            </a:lvl2pPr>
            <a:lvl3pPr>
              <a:defRPr sz="2133"/>
            </a:lvl3pPr>
            <a:lvl4pPr>
              <a:defRPr sz="2133"/>
            </a:lvl4pPr>
            <a:lvl5pPr>
              <a:defRPr sz="2133"/>
            </a:lvl5pPr>
          </a:lstStyle>
          <a:p>
            <a:r>
              <a:rPr lang="en-US" sz="2133">
                <a:solidFill>
                  <a:schemeClr val="accent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  <a:sym typeface="Helvetica Neue Light"/>
              </a:rPr>
              <a:t>Lorem ipsum dolor sit </a:t>
            </a:r>
          </a:p>
        </p:txBody>
      </p:sp>
      <p:sp>
        <p:nvSpPr>
          <p:cNvPr id="26" name="Text Placeholder 21">
            <a:extLst>
              <a:ext uri="{FF2B5EF4-FFF2-40B4-BE49-F238E27FC236}">
                <a16:creationId xmlns:a16="http://schemas.microsoft.com/office/drawing/2014/main" id="{845E5978-C0B6-8843-A6F8-4ECD19F3A62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234225" y="2335767"/>
            <a:ext cx="3237673" cy="1286933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467" b="0" i="0">
                <a:solidFill>
                  <a:schemeClr val="tx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defRPr>
            </a:lvl1pPr>
          </a:lstStyle>
          <a:p>
            <a:pPr lvl="0"/>
            <a:r>
              <a:rPr lang="en-GB"/>
              <a:t>Click to add text</a:t>
            </a:r>
            <a:endParaRPr lang="en-US"/>
          </a:p>
        </p:txBody>
      </p:sp>
      <p:sp>
        <p:nvSpPr>
          <p:cNvPr id="31" name="Text Placeholder 13">
            <a:extLst>
              <a:ext uri="{FF2B5EF4-FFF2-40B4-BE49-F238E27FC236}">
                <a16:creationId xmlns:a16="http://schemas.microsoft.com/office/drawing/2014/main" id="{9CE23E42-64D7-D545-AE56-C6DD0B58449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234660" y="4386767"/>
            <a:ext cx="3237237" cy="361951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2133" b="0" i="0">
                <a:solidFill>
                  <a:schemeClr val="accent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defRPr>
            </a:lvl1pPr>
            <a:lvl2pPr>
              <a:defRPr sz="2133"/>
            </a:lvl2pPr>
            <a:lvl3pPr>
              <a:defRPr sz="2133"/>
            </a:lvl3pPr>
            <a:lvl4pPr>
              <a:defRPr sz="2133"/>
            </a:lvl4pPr>
            <a:lvl5pPr>
              <a:defRPr sz="2133"/>
            </a:lvl5pPr>
          </a:lstStyle>
          <a:p>
            <a:r>
              <a:rPr lang="en-US" sz="2133">
                <a:solidFill>
                  <a:schemeClr val="accent5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  <a:sym typeface="Helvetica Neue Light"/>
              </a:rPr>
              <a:t>Lorem ipsum dolor sit </a:t>
            </a:r>
          </a:p>
        </p:txBody>
      </p:sp>
      <p:sp>
        <p:nvSpPr>
          <p:cNvPr id="32" name="Text Placeholder 21">
            <a:extLst>
              <a:ext uri="{FF2B5EF4-FFF2-40B4-BE49-F238E27FC236}">
                <a16:creationId xmlns:a16="http://schemas.microsoft.com/office/drawing/2014/main" id="{5F3F412E-0E0F-9348-8D36-BEFBF11BDB9E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234225" y="4834467"/>
            <a:ext cx="3237673" cy="1286933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467" b="0" i="0">
                <a:solidFill>
                  <a:schemeClr val="tx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defRPr>
            </a:lvl1pPr>
          </a:lstStyle>
          <a:p>
            <a:pPr lvl="0"/>
            <a:r>
              <a:rPr lang="en-GB"/>
              <a:t>Click to add text</a:t>
            </a:r>
            <a:endParaRPr lang="en-US"/>
          </a:p>
        </p:txBody>
      </p:sp>
      <p:sp>
        <p:nvSpPr>
          <p:cNvPr id="37" name="Text Placeholder 34">
            <a:extLst>
              <a:ext uri="{FF2B5EF4-FFF2-40B4-BE49-F238E27FC236}">
                <a16:creationId xmlns:a16="http://schemas.microsoft.com/office/drawing/2014/main" id="{C6AD9C39-3CA2-634F-9D66-4376102C23C4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568693" y="4591337"/>
            <a:ext cx="1131616" cy="7112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3200" b="0" i="0">
                <a:solidFill>
                  <a:schemeClr val="accent5"/>
                </a:solidFill>
                <a:latin typeface="CiscoSansTT Light" panose="020B0503020201020303" pitchFamily="34" charset="0"/>
                <a:cs typeface="CiscoSansTT Light" panose="020B0503020201020303" pitchFamily="34" charset="0"/>
              </a:defRPr>
            </a:lvl1pPr>
          </a:lstStyle>
          <a:p>
            <a:pPr lvl="0"/>
            <a:r>
              <a:rPr lang="en-GB"/>
              <a:t>XX%</a:t>
            </a:r>
            <a:endParaRPr lang="en-US"/>
          </a:p>
        </p:txBody>
      </p:sp>
      <p:sp>
        <p:nvSpPr>
          <p:cNvPr id="38" name="Text Placeholder 34">
            <a:extLst>
              <a:ext uri="{FF2B5EF4-FFF2-40B4-BE49-F238E27FC236}">
                <a16:creationId xmlns:a16="http://schemas.microsoft.com/office/drawing/2014/main" id="{6C93B04A-1E80-1C40-9B3E-5A436450F6C1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510575" y="2124021"/>
            <a:ext cx="1131616" cy="7112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3200" b="0" i="0">
                <a:solidFill>
                  <a:schemeClr val="accent1"/>
                </a:solidFill>
                <a:latin typeface="CiscoSansTT Light" panose="020B0503020201020303" pitchFamily="34" charset="0"/>
                <a:cs typeface="CiscoSansTT Light" panose="020B0503020201020303" pitchFamily="34" charset="0"/>
              </a:defRPr>
            </a:lvl1pPr>
          </a:lstStyle>
          <a:p>
            <a:pPr lvl="0"/>
            <a:r>
              <a:rPr lang="en-GB"/>
              <a:t>XX%</a:t>
            </a:r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A8D9963-BF99-4C17-86D4-9D7B037EED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1200" y="2070099"/>
            <a:ext cx="4114800" cy="1155700"/>
          </a:xfrm>
        </p:spPr>
        <p:txBody>
          <a:bodyPr>
            <a:noAutofit/>
          </a:bodyPr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957254284"/>
      </p:ext>
    </p:extLst>
  </p:cSld>
  <p:clrMapOvr>
    <a:masterClrMapping/>
  </p:clrMapOvr>
</p:sldLayout>
</file>

<file path=ppt/slideLayouts/slideLayout2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Half_Page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0" y="0"/>
            <a:ext cx="6106789" cy="68580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67">
              <a:solidFill>
                <a:schemeClr val="bg1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616401" y="2220244"/>
            <a:ext cx="4882699" cy="3901157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232822" indent="-156625">
              <a:lnSpc>
                <a:spcPct val="95000"/>
              </a:lnSpc>
              <a:spcBef>
                <a:spcPts val="1480"/>
              </a:spcBef>
              <a:buClr>
                <a:schemeClr val="tx2"/>
              </a:buClr>
              <a:buSzPct val="60000"/>
              <a:buFont typeface="Arial"/>
              <a:buChar char="•"/>
              <a:defRPr sz="2667" b="0" i="0">
                <a:solidFill>
                  <a:schemeClr val="bg1">
                    <a:lumMod val="75000"/>
                  </a:schemeClr>
                </a:solidFill>
                <a:latin typeface="+mn-lt"/>
                <a:ea typeface="CiscoSansTT Thin" charset="0"/>
                <a:cs typeface="CiscoSansTT Thin" charset="0"/>
              </a:defRPr>
            </a:lvl1pPr>
            <a:lvl2pPr marL="385214" indent="-152392">
              <a:lnSpc>
                <a:spcPct val="95000"/>
              </a:lnSpc>
              <a:spcBef>
                <a:spcPts val="600"/>
              </a:spcBef>
              <a:buClr>
                <a:schemeClr val="tx2"/>
              </a:buClr>
              <a:buSzPct val="60000"/>
              <a:buFont typeface="Arial"/>
              <a:buChar char="•"/>
              <a:defRPr sz="2400" b="0" i="0">
                <a:solidFill>
                  <a:schemeClr val="bg1">
                    <a:lumMod val="75000"/>
                  </a:schemeClr>
                </a:solidFill>
                <a:latin typeface="+mn-lt"/>
                <a:ea typeface="CiscoSansTT Thin" charset="0"/>
                <a:cs typeface="CiscoSansTT Thin" charset="0"/>
              </a:defRPr>
            </a:lvl2pPr>
            <a:lvl3pPr marL="537607" indent="-152392">
              <a:buClr>
                <a:schemeClr val="tx2"/>
              </a:buClr>
              <a:buSzPct val="60000"/>
              <a:buFont typeface="Arial"/>
              <a:buChar char="•"/>
              <a:defRPr sz="2133" b="0" i="0">
                <a:solidFill>
                  <a:schemeClr val="bg1">
                    <a:lumMod val="75000"/>
                  </a:schemeClr>
                </a:solidFill>
                <a:latin typeface="+mn-lt"/>
                <a:ea typeface="CiscoSansTT Thin" charset="0"/>
                <a:cs typeface="CiscoSansTT Thin" charset="0"/>
              </a:defRPr>
            </a:lvl3pPr>
            <a:lvl4pPr marL="689999" indent="-152392">
              <a:buClr>
                <a:schemeClr val="tx2"/>
              </a:buClr>
              <a:buSzPct val="60000"/>
              <a:buFont typeface="Arial"/>
              <a:buChar char="•"/>
              <a:defRPr sz="1867" b="0" i="0">
                <a:solidFill>
                  <a:schemeClr val="bg1">
                    <a:lumMod val="75000"/>
                  </a:schemeClr>
                </a:solidFill>
                <a:latin typeface="+mn-lt"/>
                <a:ea typeface="CiscoSansTT Thin" charset="0"/>
                <a:cs typeface="CiscoSansTT Thin" charset="0"/>
              </a:defRPr>
            </a:lvl4pPr>
            <a:lvl5pPr marL="842391" indent="-152392">
              <a:buClr>
                <a:schemeClr val="tx2"/>
              </a:buClr>
              <a:buSzPct val="60000"/>
              <a:buFont typeface="Arial"/>
              <a:buChar char="•"/>
              <a:defRPr sz="1600" b="0" i="0">
                <a:solidFill>
                  <a:schemeClr val="bg1">
                    <a:lumMod val="75000"/>
                  </a:schemeClr>
                </a:solidFill>
                <a:latin typeface="+mn-lt"/>
                <a:ea typeface="CiscoSansTT Thin" charset="0"/>
                <a:cs typeface="CiscoSansTT Thin" charset="0"/>
              </a:defRPr>
            </a:lvl5pPr>
          </a:lstStyle>
          <a:p>
            <a:pPr lvl="0"/>
            <a:r>
              <a:rPr lang="en-GB"/>
              <a:t>First level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6" name="Title Placeholder 5"/>
          <p:cNvSpPr>
            <a:spLocks noGrp="1"/>
          </p:cNvSpPr>
          <p:nvPr>
            <p:ph type="title"/>
          </p:nvPr>
        </p:nvSpPr>
        <p:spPr bwMode="auto">
          <a:xfrm>
            <a:off x="583690" y="455086"/>
            <a:ext cx="4915412" cy="9757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>
              <a:defRPr sz="4267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GB"/>
              <a:t>Click to edit Master title style</a:t>
            </a:r>
          </a:p>
        </p:txBody>
      </p:sp>
      <p:sp>
        <p:nvSpPr>
          <p:cNvPr id="8" name="Rectangle 4"/>
          <p:cNvSpPr>
            <a:spLocks noChangeArrowheads="1"/>
          </p:cNvSpPr>
          <p:nvPr userDrawn="1"/>
        </p:nvSpPr>
        <p:spPr bwMode="ltGray">
          <a:xfrm>
            <a:off x="636905" y="6322207"/>
            <a:ext cx="4757856" cy="206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115" tIns="41056" rIns="82115" bIns="41056" anchor="b">
            <a:spAutoFit/>
          </a:bodyPr>
          <a:lstStyle/>
          <a:p>
            <a:pPr algn="l" defTabSz="814285" rtl="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kern="1200" spc="27" baseline="0">
                <a:solidFill>
                  <a:schemeClr val="accent1">
                    <a:lumMod val="75000"/>
                  </a:schemeClr>
                </a:solidFill>
                <a:latin typeface="+mn-lt"/>
                <a:ea typeface="+mn-ea"/>
                <a:cs typeface="CiscoSans Thin"/>
              </a:rPr>
              <a:t>© 2020  Cisco and/or its affiliates. All rights reserved.  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42242837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88">
          <p15:clr>
            <a:srgbClr val="FBAE40"/>
          </p15:clr>
        </p15:guide>
        <p15:guide id="3" pos="2598">
          <p15:clr>
            <a:srgbClr val="FBAE40"/>
          </p15:clr>
        </p15:guide>
      </p15:sldGuideLst>
    </p:ext>
  </p:extLst>
</p:sldLayout>
</file>

<file path=ppt/slideLayouts/slideLayout2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Half_Page_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6106789" cy="68580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67">
              <a:latin typeface="+mj-lt"/>
            </a:endParaRPr>
          </a:p>
        </p:txBody>
      </p:sp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558802" y="2209800"/>
            <a:ext cx="5103284" cy="2438400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 algn="l" defTabSz="912239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lang="en-GB" sz="4267" kern="1200" dirty="0">
                <a:solidFill>
                  <a:schemeClr val="bg1">
                    <a:lumMod val="75000"/>
                  </a:schemeClr>
                </a:solidFill>
                <a:latin typeface="+mj-lt"/>
                <a:ea typeface="ＭＳ Ｐゴシック" charset="0"/>
                <a:cs typeface="Tipo de letra del sistema Fina" charset="0"/>
              </a:defRPr>
            </a:lvl1pPr>
          </a:lstStyle>
          <a:p>
            <a:pPr lvl="0"/>
            <a:r>
              <a:rPr lang="en-GB"/>
              <a:t>Click to edit Master title sty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6796619" y="709083"/>
            <a:ext cx="4734983" cy="5412316"/>
          </a:xfrm>
          <a:prstGeom prst="rect">
            <a:avLst/>
          </a:prstGeom>
        </p:spPr>
        <p:txBody>
          <a:bodyPr lIns="0" rIns="0" anchor="ctr" anchorCtr="0"/>
          <a:lstStyle>
            <a:lvl1pPr marL="226473" indent="-226473">
              <a:lnSpc>
                <a:spcPct val="100000"/>
              </a:lnSpc>
              <a:buClr>
                <a:schemeClr val="tx1"/>
              </a:buClr>
              <a:buSzPct val="60000"/>
              <a:buFont typeface="Arial" panose="020B0604020202020204" pitchFamily="34" charset="0"/>
              <a:buChar char="•"/>
              <a:tabLst>
                <a:tab pos="304784" algn="l"/>
              </a:tabLst>
              <a:defRPr sz="3200"/>
            </a:lvl1pPr>
            <a:lvl2pPr marL="461411" indent="-228589">
              <a:lnSpc>
                <a:spcPct val="100000"/>
              </a:lnSpc>
              <a:buClr>
                <a:schemeClr val="tx1"/>
              </a:buClr>
              <a:buSzPct val="60000"/>
              <a:buFont typeface="Arial" panose="020B0604020202020204" pitchFamily="34" charset="0"/>
              <a:buChar char="•"/>
              <a:defRPr sz="3200"/>
            </a:lvl2pPr>
            <a:lvl3pPr marL="609570" indent="-156625">
              <a:lnSpc>
                <a:spcPct val="100000"/>
              </a:lnSpc>
              <a:buClr>
                <a:schemeClr val="tx1"/>
              </a:buClr>
              <a:buSzPct val="60000"/>
              <a:buFont typeface="Arial" panose="020B0604020202020204" pitchFamily="34" charset="0"/>
              <a:buChar char="•"/>
              <a:defRPr sz="2667"/>
            </a:lvl3pPr>
            <a:lvl4pPr marL="766196" indent="-156625">
              <a:lnSpc>
                <a:spcPct val="100000"/>
              </a:lnSpc>
              <a:buClr>
                <a:schemeClr val="tx1"/>
              </a:buClr>
              <a:buSzPct val="60000"/>
              <a:buFont typeface="Arial" panose="020B0604020202020204" pitchFamily="34" charset="0"/>
              <a:buChar char="•"/>
              <a:tabLst/>
              <a:defRPr sz="2400"/>
            </a:lvl4pPr>
            <a:lvl5pPr marL="992669" indent="-150276">
              <a:lnSpc>
                <a:spcPct val="100000"/>
              </a:lnSpc>
              <a:buClr>
                <a:schemeClr val="tx1"/>
              </a:buClr>
              <a:buSzPct val="60000"/>
              <a:buFont typeface="Arial" panose="020B0604020202020204" pitchFamily="34" charset="0"/>
              <a:buChar char="•"/>
              <a:defRPr sz="2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Rectangle 4"/>
          <p:cNvSpPr>
            <a:spLocks noChangeArrowheads="1"/>
          </p:cNvSpPr>
          <p:nvPr userDrawn="1"/>
        </p:nvSpPr>
        <p:spPr bwMode="ltGray">
          <a:xfrm>
            <a:off x="636907" y="6322207"/>
            <a:ext cx="4622389" cy="206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115" tIns="41056" rIns="82115" bIns="41056" anchor="b">
            <a:spAutoFit/>
          </a:bodyPr>
          <a:lstStyle/>
          <a:p>
            <a:pPr algn="l" defTabSz="814285" rtl="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kern="1200" spc="27" baseline="0">
                <a:solidFill>
                  <a:schemeClr val="accent1">
                    <a:lumMod val="75000"/>
                  </a:schemeClr>
                </a:solidFill>
                <a:latin typeface="+mn-lt"/>
                <a:ea typeface="+mn-ea"/>
                <a:cs typeface="CiscoSans Thin"/>
              </a:rPr>
              <a:t>© 2020  Cisco and/or its affiliates. All rights reserved.  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253073680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44">
          <p15:clr>
            <a:srgbClr val="FBAE40"/>
          </p15:clr>
        </p15:guide>
        <p15:guide id="2" pos="264">
          <p15:clr>
            <a:srgbClr val="FBAE40"/>
          </p15:clr>
        </p15:guide>
        <p15:guide id="3" orient="horz" pos="2196">
          <p15:clr>
            <a:srgbClr val="FBAE40"/>
          </p15:clr>
        </p15:guide>
        <p15:guide id="4" pos="2675">
          <p15:clr>
            <a:srgbClr val="FBAE40"/>
          </p15:clr>
        </p15:guide>
      </p15:sldGuideLst>
    </p:ext>
  </p:extLst>
</p:sldLayout>
</file>

<file path=ppt/slideLayouts/slideLayout2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Half_Page_Text_2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6106789" cy="68580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67">
              <a:solidFill>
                <a:schemeClr val="bg1"/>
              </a:solidFill>
              <a:latin typeface="+mj-lt"/>
            </a:endParaRPr>
          </a:p>
        </p:txBody>
      </p:sp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583690" y="680720"/>
            <a:ext cx="5078396" cy="8737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24" tIns="45712" rIns="91424" bIns="45712" numCol="1" anchor="t" anchorCtr="0" compatLnSpc="1">
            <a:prstTxWarp prst="textNoShape">
              <a:avLst/>
            </a:prstTxWarp>
          </a:bodyPr>
          <a:lstStyle>
            <a:lvl1pPr algn="l" defTabSz="912239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lang="en-GB" sz="4267" kern="1200" dirty="0">
                <a:solidFill>
                  <a:schemeClr val="bg1">
                    <a:lumMod val="75000"/>
                  </a:schemeClr>
                </a:solidFill>
                <a:latin typeface="+mj-lt"/>
                <a:ea typeface="ＭＳ Ｐゴシック" charset="0"/>
                <a:cs typeface="Tipo de letra del sistema Fina" charset="0"/>
              </a:defRPr>
            </a:lvl1pPr>
          </a:lstStyle>
          <a:p>
            <a:pPr lvl="0"/>
            <a:r>
              <a:rPr lang="en-GB"/>
              <a:t>Click to edit Master title sty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6796619" y="680720"/>
            <a:ext cx="4734983" cy="5440680"/>
          </a:xfrm>
          <a:prstGeom prst="rect">
            <a:avLst/>
          </a:prstGeom>
        </p:spPr>
        <p:txBody>
          <a:bodyPr lIns="0" rIns="0"/>
          <a:lstStyle>
            <a:lvl1pPr marL="152392" indent="-152392">
              <a:lnSpc>
                <a:spcPct val="100000"/>
              </a:lnSpc>
              <a:buClr>
                <a:schemeClr val="tx1"/>
              </a:buClr>
              <a:buSzPct val="60000"/>
              <a:defRPr sz="2667"/>
            </a:lvl1pPr>
            <a:lvl2pPr marL="304784" indent="-152392">
              <a:lnSpc>
                <a:spcPct val="100000"/>
              </a:lnSpc>
              <a:buClr>
                <a:schemeClr val="tx1"/>
              </a:buClr>
              <a:buSzPct val="60000"/>
              <a:defRPr sz="2667"/>
            </a:lvl2pPr>
            <a:lvl3pPr marL="457178" indent="-152392">
              <a:lnSpc>
                <a:spcPct val="100000"/>
              </a:lnSpc>
              <a:buClr>
                <a:schemeClr val="tx1"/>
              </a:buClr>
              <a:buSzPct val="60000"/>
              <a:defRPr sz="2400"/>
            </a:lvl3pPr>
            <a:lvl4pPr marL="609570" indent="-165092">
              <a:lnSpc>
                <a:spcPct val="100000"/>
              </a:lnSpc>
              <a:buClr>
                <a:schemeClr val="tx1"/>
              </a:buClr>
              <a:buSzPct val="60000"/>
              <a:defRPr sz="2133"/>
            </a:lvl4pPr>
            <a:lvl5pPr marL="766196" indent="-156625">
              <a:lnSpc>
                <a:spcPct val="100000"/>
              </a:lnSpc>
              <a:buClr>
                <a:schemeClr val="tx1"/>
              </a:buClr>
              <a:buSzPct val="60000"/>
              <a:defRPr sz="2133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1"/>
          </p:nvPr>
        </p:nvSpPr>
        <p:spPr>
          <a:xfrm>
            <a:off x="583690" y="2213124"/>
            <a:ext cx="5078396" cy="3908277"/>
          </a:xfrm>
          <a:prstGeom prst="rect">
            <a:avLst/>
          </a:prstGeom>
        </p:spPr>
        <p:txBody>
          <a:bodyPr/>
          <a:lstStyle>
            <a:lvl1pPr marL="152392" indent="-152392">
              <a:buClr>
                <a:schemeClr val="tx2"/>
              </a:buClr>
              <a:buSzPct val="60000"/>
              <a:defRPr lang="en-US" sz="2667" kern="1200" dirty="0" smtClean="0">
                <a:solidFill>
                  <a:schemeClr val="bg1">
                    <a:lumMod val="75000"/>
                  </a:schemeClr>
                </a:solidFill>
                <a:latin typeface="+mn-lt"/>
                <a:ea typeface="ＭＳ Ｐゴシック" charset="0"/>
                <a:cs typeface="CiscoSans"/>
              </a:defRPr>
            </a:lvl1pPr>
            <a:lvl2pPr marL="304784" indent="-152392">
              <a:buClr>
                <a:schemeClr val="tx2"/>
              </a:buClr>
              <a:buSzPct val="60000"/>
              <a:defRPr sz="2667">
                <a:solidFill>
                  <a:schemeClr val="bg1">
                    <a:lumMod val="75000"/>
                  </a:schemeClr>
                </a:solidFill>
              </a:defRPr>
            </a:lvl2pPr>
            <a:lvl3pPr marL="457178" indent="-152392">
              <a:buClr>
                <a:schemeClr val="tx2"/>
              </a:buClr>
              <a:buSzPct val="60000"/>
              <a:defRPr sz="2400">
                <a:solidFill>
                  <a:schemeClr val="bg1">
                    <a:lumMod val="75000"/>
                  </a:schemeClr>
                </a:solidFill>
              </a:defRPr>
            </a:lvl3pPr>
            <a:lvl4pPr marL="609570" indent="-165092">
              <a:buClr>
                <a:schemeClr val="tx2"/>
              </a:buClr>
              <a:buSzPct val="60000"/>
              <a:defRPr sz="2133">
                <a:solidFill>
                  <a:schemeClr val="bg1">
                    <a:lumMod val="75000"/>
                  </a:schemeClr>
                </a:solidFill>
              </a:defRPr>
            </a:lvl4pPr>
            <a:lvl5pPr marL="766196" indent="-156625">
              <a:buClr>
                <a:schemeClr val="tx2"/>
              </a:buClr>
              <a:buSzPct val="60000"/>
              <a:defRPr sz="2133">
                <a:solidFill>
                  <a:schemeClr val="bg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Rectangle 4"/>
          <p:cNvSpPr>
            <a:spLocks noChangeArrowheads="1"/>
          </p:cNvSpPr>
          <p:nvPr userDrawn="1"/>
        </p:nvSpPr>
        <p:spPr bwMode="ltGray">
          <a:xfrm>
            <a:off x="636906" y="6322207"/>
            <a:ext cx="4478953" cy="206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115" tIns="41056" rIns="82115" bIns="41056" anchor="b">
            <a:spAutoFit/>
          </a:bodyPr>
          <a:lstStyle/>
          <a:p>
            <a:pPr algn="l" defTabSz="814285" rtl="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kern="1200" spc="27" baseline="0">
                <a:solidFill>
                  <a:schemeClr val="accent1">
                    <a:lumMod val="75000"/>
                  </a:schemeClr>
                </a:solidFill>
                <a:latin typeface="+mn-lt"/>
                <a:ea typeface="+mn-ea"/>
                <a:cs typeface="CiscoSans Thin"/>
              </a:rPr>
              <a:t>© 2020  Cisco and/or its affiliates. All rights reserved.  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77296813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pos="2675">
          <p15:clr>
            <a:srgbClr val="FBAE40"/>
          </p15:clr>
        </p15:guide>
      </p15:sldGuideLst>
    </p:ext>
  </p:extLst>
</p:sldLayout>
</file>

<file path=ppt/slideLayouts/slideLayout2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Half_Page_Picture_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6106789" cy="68580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67"/>
          </a:p>
        </p:txBody>
      </p:sp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583690" y="2212976"/>
            <a:ext cx="5078396" cy="2432051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 algn="l" defTabSz="912239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lang="en-GB" sz="4267" kern="1200" dirty="0">
                <a:solidFill>
                  <a:schemeClr val="bg1">
                    <a:lumMod val="75000"/>
                  </a:schemeClr>
                </a:solidFill>
                <a:latin typeface="+mj-lt"/>
                <a:ea typeface="ＭＳ Ｐゴシック" charset="0"/>
                <a:cs typeface="Tipo de letra del sistema Fina" charset="0"/>
              </a:defRPr>
            </a:lvl1pPr>
          </a:lstStyle>
          <a:p>
            <a:pPr lvl="0"/>
            <a:r>
              <a:rPr lang="en-GB"/>
              <a:t>Click to edit Master title style</a:t>
            </a:r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0"/>
          </p:nvPr>
        </p:nvSpPr>
        <p:spPr>
          <a:xfrm>
            <a:off x="6786035" y="709084"/>
            <a:ext cx="4745567" cy="4486461"/>
          </a:xfrm>
          <a:prstGeom prst="rect">
            <a:avLst/>
          </a:prstGeom>
        </p:spPr>
        <p:txBody>
          <a:bodyPr anchor="ctr" anchorCtr="0"/>
          <a:lstStyle>
            <a:lvl1pPr marL="0" indent="0" algn="ctr">
              <a:buNone/>
              <a:defRPr/>
            </a:lvl1pPr>
          </a:lstStyle>
          <a:p>
            <a:endParaRPr lang="en-US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1"/>
          </p:nvPr>
        </p:nvSpPr>
        <p:spPr>
          <a:xfrm>
            <a:off x="6786035" y="5416469"/>
            <a:ext cx="4745567" cy="70019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867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Rectangle 4"/>
          <p:cNvSpPr>
            <a:spLocks noChangeArrowheads="1"/>
          </p:cNvSpPr>
          <p:nvPr userDrawn="1"/>
        </p:nvSpPr>
        <p:spPr bwMode="ltGray">
          <a:xfrm>
            <a:off x="636907" y="6322207"/>
            <a:ext cx="3817557" cy="206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115" tIns="41056" rIns="82115" bIns="41056" anchor="b">
            <a:spAutoFit/>
          </a:bodyPr>
          <a:lstStyle/>
          <a:p>
            <a:pPr algn="l" defTabSz="814285" rtl="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kern="1200" spc="27" baseline="0">
                <a:solidFill>
                  <a:schemeClr val="accent1">
                    <a:lumMod val="75000"/>
                  </a:schemeClr>
                </a:solidFill>
                <a:latin typeface="+mn-lt"/>
                <a:ea typeface="+mn-ea"/>
                <a:cs typeface="CiscoSans Thin"/>
              </a:rPr>
              <a:t>© 2020  Cisco and/or its affiliates. All rights reserved.  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9063836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44">
          <p15:clr>
            <a:srgbClr val="FBAE40"/>
          </p15:clr>
        </p15:guide>
        <p15:guide id="2" pos="264">
          <p15:clr>
            <a:srgbClr val="FBAE40"/>
          </p15:clr>
        </p15:guide>
        <p15:guide id="3" orient="horz" pos="2193">
          <p15:clr>
            <a:srgbClr val="FBAE40"/>
          </p15:clr>
        </p15:guide>
        <p15:guide id="4" pos="2675">
          <p15:clr>
            <a:srgbClr val="FBAE40"/>
          </p15:clr>
        </p15:guide>
        <p15:guide id="7" pos="3206">
          <p15:clr>
            <a:srgbClr val="FBAE40"/>
          </p15:clr>
        </p15:guide>
      </p15:sldGuideLst>
    </p:ext>
  </p:extLst>
</p:sldLayout>
</file>

<file path=ppt/slideLayouts/slideLayout2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Half_Page_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6106789" cy="68580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67">
              <a:solidFill>
                <a:schemeClr val="tx2"/>
              </a:solidFill>
            </a:endParaRPr>
          </a:p>
        </p:txBody>
      </p:sp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583690" y="2212976"/>
            <a:ext cx="5078396" cy="2432051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 algn="l" defTabSz="912239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lang="en-GB" sz="4267" kern="1200" dirty="0">
                <a:solidFill>
                  <a:schemeClr val="bg1">
                    <a:lumMod val="75000"/>
                  </a:schemeClr>
                </a:solidFill>
                <a:latin typeface="+mj-lt"/>
                <a:ea typeface="ＭＳ Ｐゴシック" charset="0"/>
                <a:cs typeface="Tipo de letra del sistema Fina" charset="0"/>
              </a:defRPr>
            </a:lvl1pPr>
          </a:lstStyle>
          <a:p>
            <a:pPr lvl="0"/>
            <a:r>
              <a:rPr lang="en-GB"/>
              <a:t>Click to edit Master title style</a:t>
            </a:r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0"/>
          </p:nvPr>
        </p:nvSpPr>
        <p:spPr>
          <a:xfrm>
            <a:off x="6786035" y="709085"/>
            <a:ext cx="4745567" cy="5412315"/>
          </a:xfrm>
          <a:prstGeom prst="rect">
            <a:avLst/>
          </a:prstGeom>
        </p:spPr>
        <p:txBody>
          <a:bodyPr anchor="ctr" anchorCtr="0"/>
          <a:lstStyle>
            <a:lvl1pPr marL="0" indent="0" algn="ctr">
              <a:buNone/>
              <a:defRPr/>
            </a:lvl1pPr>
          </a:lstStyle>
          <a:p>
            <a:endParaRPr lang="en-US"/>
          </a:p>
        </p:txBody>
      </p:sp>
      <p:sp>
        <p:nvSpPr>
          <p:cNvPr id="8" name="Rectangle 4"/>
          <p:cNvSpPr>
            <a:spLocks noChangeArrowheads="1"/>
          </p:cNvSpPr>
          <p:nvPr userDrawn="1"/>
        </p:nvSpPr>
        <p:spPr bwMode="ltGray">
          <a:xfrm>
            <a:off x="636905" y="6322207"/>
            <a:ext cx="4351456" cy="206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115" tIns="41056" rIns="82115" bIns="41056" anchor="b">
            <a:spAutoFit/>
          </a:bodyPr>
          <a:lstStyle/>
          <a:p>
            <a:pPr algn="l" defTabSz="814285" rtl="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kern="1200" spc="27" baseline="0">
                <a:solidFill>
                  <a:schemeClr val="accent1">
                    <a:lumMod val="75000"/>
                  </a:schemeClr>
                </a:solidFill>
                <a:latin typeface="+mn-lt"/>
                <a:ea typeface="+mn-ea"/>
                <a:cs typeface="CiscoSans Thin"/>
              </a:rPr>
              <a:t>© 2020  Cisco and/or its affiliates. All rights reserved.  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35687908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44">
          <p15:clr>
            <a:srgbClr val="FBAE40"/>
          </p15:clr>
        </p15:guide>
        <p15:guide id="2" pos="264">
          <p15:clr>
            <a:srgbClr val="FBAE40"/>
          </p15:clr>
        </p15:guide>
        <p15:guide id="3" orient="horz" pos="2193">
          <p15:clr>
            <a:srgbClr val="FBAE40"/>
          </p15:clr>
        </p15:guide>
        <p15:guide id="4" pos="2675">
          <p15:clr>
            <a:srgbClr val="FBAE40"/>
          </p15:clr>
        </p15:guide>
        <p15:guide id="7" pos="3206">
          <p15:clr>
            <a:srgbClr val="FBAE40"/>
          </p15:clr>
        </p15:guide>
      </p15:sldGuideLst>
    </p:ext>
  </p:extLst>
</p:sldLayout>
</file>

<file path=ppt/slideLayouts/slideLayout2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Half_Page_Headlin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6106789" cy="68580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67">
              <a:solidFill>
                <a:schemeClr val="bg1"/>
              </a:solidFill>
            </a:endParaRPr>
          </a:p>
        </p:txBody>
      </p:sp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583690" y="2212976"/>
            <a:ext cx="5078396" cy="2432051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 algn="l" defTabSz="912239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lang="en-GB" sz="4267" kern="1200" dirty="0">
                <a:solidFill>
                  <a:schemeClr val="bg1">
                    <a:lumMod val="75000"/>
                  </a:schemeClr>
                </a:solidFill>
                <a:latin typeface="+mj-lt"/>
                <a:ea typeface="ＭＳ Ｐゴシック" charset="0"/>
                <a:cs typeface="Tipo de letra del sistema Fina" charset="0"/>
              </a:defRPr>
            </a:lvl1pPr>
          </a:lstStyle>
          <a:p>
            <a:pPr lvl="0"/>
            <a:r>
              <a:rPr lang="en-GB"/>
              <a:t>Click to edit Master title style</a:t>
            </a:r>
          </a:p>
        </p:txBody>
      </p:sp>
      <p:sp>
        <p:nvSpPr>
          <p:cNvPr id="8" name="Rectangle 4"/>
          <p:cNvSpPr>
            <a:spLocks noChangeArrowheads="1"/>
          </p:cNvSpPr>
          <p:nvPr userDrawn="1"/>
        </p:nvSpPr>
        <p:spPr bwMode="ltGray">
          <a:xfrm>
            <a:off x="636906" y="6322207"/>
            <a:ext cx="3929119" cy="206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115" tIns="41056" rIns="82115" bIns="41056" anchor="b">
            <a:spAutoFit/>
          </a:bodyPr>
          <a:lstStyle/>
          <a:p>
            <a:pPr algn="l" defTabSz="814285" rtl="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kern="1200" spc="27" baseline="0">
                <a:solidFill>
                  <a:schemeClr val="accent1">
                    <a:lumMod val="75000"/>
                  </a:schemeClr>
                </a:solidFill>
                <a:latin typeface="+mn-lt"/>
                <a:ea typeface="+mn-ea"/>
                <a:cs typeface="CiscoSans Thin"/>
              </a:rPr>
              <a:t>© 2020  Cisco and/or its affiliates. All rights reserved.  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176250629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44">
          <p15:clr>
            <a:srgbClr val="FBAE40"/>
          </p15:clr>
        </p15:guide>
        <p15:guide id="3" orient="horz" pos="2193">
          <p15:clr>
            <a:srgbClr val="FBAE40"/>
          </p15:clr>
        </p15:guide>
        <p15:guide id="4" pos="2675">
          <p15:clr>
            <a:srgbClr val="FBAE40"/>
          </p15:clr>
        </p15:guide>
        <p15:guide id="7" pos="3206">
          <p15:clr>
            <a:srgbClr val="FBAE40"/>
          </p15:clr>
        </p15:guide>
      </p15:sldGuideLst>
    </p:ext>
  </p:extLst>
</p:sldLayout>
</file>

<file path=ppt/slideLayouts/slideLayout2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Half_Page_Picture_Fu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6106789" cy="68580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67"/>
          </a:p>
        </p:txBody>
      </p:sp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583690" y="2212976"/>
            <a:ext cx="5078396" cy="24320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 algn="l" defTabSz="912239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lang="en-GB" sz="4267" kern="1200" dirty="0">
                <a:solidFill>
                  <a:schemeClr val="bg1">
                    <a:lumMod val="75000"/>
                  </a:schemeClr>
                </a:solidFill>
                <a:latin typeface="+mj-lt"/>
                <a:ea typeface="ＭＳ Ｐゴシック" charset="0"/>
                <a:cs typeface="Tipo de letra del sistema Fina" charset="0"/>
              </a:defRPr>
            </a:lvl1pPr>
          </a:lstStyle>
          <a:p>
            <a:pPr lvl="0"/>
            <a:r>
              <a:rPr lang="en-GB"/>
              <a:t>Click to edit Master title style</a:t>
            </a:r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0"/>
          </p:nvPr>
        </p:nvSpPr>
        <p:spPr>
          <a:xfrm>
            <a:off x="6106792" y="0"/>
            <a:ext cx="6085209" cy="6858000"/>
          </a:xfrm>
          <a:prstGeom prst="rect">
            <a:avLst/>
          </a:prstGeom>
        </p:spPr>
        <p:txBody>
          <a:bodyPr anchor="ctr" anchorCtr="0"/>
          <a:lstStyle>
            <a:lvl1pPr marL="0" indent="0" algn="ctr">
              <a:buNone/>
              <a:defRPr/>
            </a:lvl1pPr>
          </a:lstStyle>
          <a:p>
            <a:endParaRPr lang="en-US"/>
          </a:p>
        </p:txBody>
      </p:sp>
      <p:sp>
        <p:nvSpPr>
          <p:cNvPr id="8" name="Rectangle 4"/>
          <p:cNvSpPr>
            <a:spLocks noChangeArrowheads="1"/>
          </p:cNvSpPr>
          <p:nvPr userDrawn="1"/>
        </p:nvSpPr>
        <p:spPr bwMode="ltGray">
          <a:xfrm>
            <a:off x="636905" y="6322207"/>
            <a:ext cx="4399267" cy="206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115" tIns="41056" rIns="82115" bIns="41056" anchor="b">
            <a:spAutoFit/>
          </a:bodyPr>
          <a:lstStyle/>
          <a:p>
            <a:pPr algn="l" defTabSz="814285" rtl="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kern="1200" spc="27" baseline="0">
                <a:solidFill>
                  <a:schemeClr val="accent1">
                    <a:lumMod val="75000"/>
                  </a:schemeClr>
                </a:solidFill>
                <a:latin typeface="+mn-lt"/>
                <a:ea typeface="+mn-ea"/>
                <a:cs typeface="CiscoSans Thin"/>
              </a:rPr>
              <a:t>© 2020  Cisco and/or its affiliates. All rights reserved.  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29487538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44">
          <p15:clr>
            <a:srgbClr val="FBAE40"/>
          </p15:clr>
        </p15:guide>
        <p15:guide id="3" orient="horz" pos="2193">
          <p15:clr>
            <a:srgbClr val="FBAE40"/>
          </p15:clr>
        </p15:guide>
        <p15:guide id="4" pos="2675">
          <p15:clr>
            <a:srgbClr val="FBAE40"/>
          </p15:clr>
        </p15:guide>
        <p15:guide id="7" pos="3206">
          <p15:clr>
            <a:srgbClr val="FBAE40"/>
          </p15:clr>
        </p15:guide>
      </p15:sldGuideLst>
    </p:ext>
  </p:extLst>
</p:sldLayout>
</file>

<file path=ppt/slideLayouts/slideLayout2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Half_Page_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6106789" cy="68580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67"/>
          </a:p>
        </p:txBody>
      </p:sp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583690" y="2212976"/>
            <a:ext cx="5078396" cy="24320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 algn="l" defTabSz="912239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lang="en-GB" sz="4267" kern="1200" dirty="0">
                <a:solidFill>
                  <a:schemeClr val="bg1">
                    <a:lumMod val="75000"/>
                  </a:schemeClr>
                </a:solidFill>
                <a:latin typeface="+mj-lt"/>
                <a:ea typeface="ＭＳ Ｐゴシック" charset="0"/>
                <a:cs typeface="Tipo de letra del sistema Fina" charset="0"/>
              </a:defRPr>
            </a:lvl1pPr>
          </a:lstStyle>
          <a:p>
            <a:pPr lvl="0"/>
            <a:r>
              <a:rPr lang="en-GB"/>
              <a:t>Click to edit Master title style</a:t>
            </a:r>
          </a:p>
        </p:txBody>
      </p:sp>
      <p:sp>
        <p:nvSpPr>
          <p:cNvPr id="6" name="Chart Placeholder 5"/>
          <p:cNvSpPr>
            <a:spLocks noGrp="1"/>
          </p:cNvSpPr>
          <p:nvPr>
            <p:ph type="chart" sz="quarter" idx="10"/>
          </p:nvPr>
        </p:nvSpPr>
        <p:spPr>
          <a:xfrm>
            <a:off x="6786035" y="670984"/>
            <a:ext cx="4745567" cy="5450416"/>
          </a:xfrm>
          <a:prstGeom prst="rect">
            <a:avLst/>
          </a:prstGeom>
        </p:spPr>
        <p:txBody>
          <a:bodyPr anchor="ctr" anchorCtr="0"/>
          <a:lstStyle>
            <a:lvl1pPr marL="0" indent="0" algn="ctr">
              <a:buNone/>
              <a:defRPr/>
            </a:lvl1pPr>
          </a:lstStyle>
          <a:p>
            <a:endParaRPr lang="en-US"/>
          </a:p>
        </p:txBody>
      </p:sp>
      <p:sp>
        <p:nvSpPr>
          <p:cNvPr id="8" name="Rectangle 4"/>
          <p:cNvSpPr>
            <a:spLocks noChangeArrowheads="1"/>
          </p:cNvSpPr>
          <p:nvPr userDrawn="1"/>
        </p:nvSpPr>
        <p:spPr bwMode="ltGray">
          <a:xfrm>
            <a:off x="636906" y="6322207"/>
            <a:ext cx="4239895" cy="206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115" tIns="41056" rIns="82115" bIns="41056" anchor="b">
            <a:spAutoFit/>
          </a:bodyPr>
          <a:lstStyle/>
          <a:p>
            <a:pPr algn="l" defTabSz="814285" rtl="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kern="1200" spc="27" baseline="0">
                <a:solidFill>
                  <a:schemeClr val="accent1">
                    <a:lumMod val="75000"/>
                  </a:schemeClr>
                </a:solidFill>
                <a:latin typeface="+mn-lt"/>
                <a:ea typeface="+mn-ea"/>
                <a:cs typeface="CiscoSans Thin"/>
              </a:rPr>
              <a:t>© 2020  Cisco and/or its affiliates. All rights reserved.  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106765275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3" orient="horz" pos="2196">
          <p15:clr>
            <a:srgbClr val="FBAE40"/>
          </p15:clr>
        </p15:guide>
        <p15:guide id="4" pos="2675">
          <p15:clr>
            <a:srgbClr val="FBAE40"/>
          </p15:clr>
        </p15:guide>
        <p15:guide id="7" pos="3206">
          <p15:clr>
            <a:srgbClr val="FBAE40"/>
          </p15:clr>
        </p15:guide>
      </p15:sldGuideLst>
    </p:ext>
  </p:extLst>
</p:sldLayout>
</file>

<file path=ppt/slideLayouts/slideLayout2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Half_Page_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6106789" cy="68580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67"/>
          </a:p>
        </p:txBody>
      </p:sp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583690" y="2212976"/>
            <a:ext cx="5078396" cy="24320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 algn="l" defTabSz="912239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lang="en-GB" sz="4267" kern="1200" dirty="0">
                <a:solidFill>
                  <a:schemeClr val="bg1">
                    <a:lumMod val="75000"/>
                  </a:schemeClr>
                </a:solidFill>
                <a:latin typeface="+mj-lt"/>
                <a:ea typeface="ＭＳ Ｐゴシック" charset="0"/>
                <a:cs typeface="Tipo de letra del sistema Fina" charset="0"/>
              </a:defRPr>
            </a:lvl1pPr>
          </a:lstStyle>
          <a:p>
            <a:pPr lvl="0"/>
            <a:r>
              <a:rPr lang="en-GB"/>
              <a:t>Click to edit Master title style</a:t>
            </a:r>
          </a:p>
        </p:txBody>
      </p:sp>
      <p:sp>
        <p:nvSpPr>
          <p:cNvPr id="7" name="Table Placeholder 6"/>
          <p:cNvSpPr>
            <a:spLocks noGrp="1"/>
          </p:cNvSpPr>
          <p:nvPr>
            <p:ph type="tbl" sz="quarter" idx="10"/>
          </p:nvPr>
        </p:nvSpPr>
        <p:spPr>
          <a:xfrm>
            <a:off x="6786035" y="670984"/>
            <a:ext cx="4745567" cy="5450416"/>
          </a:xfrm>
          <a:prstGeom prst="rect">
            <a:avLst/>
          </a:prstGeom>
        </p:spPr>
        <p:txBody>
          <a:bodyPr anchor="ctr" anchorCtr="0"/>
          <a:lstStyle>
            <a:lvl1pPr marL="0" indent="0" algn="ctr">
              <a:buNone/>
              <a:defRPr/>
            </a:lvl1pPr>
          </a:lstStyle>
          <a:p>
            <a:endParaRPr lang="en-US"/>
          </a:p>
        </p:txBody>
      </p:sp>
      <p:sp>
        <p:nvSpPr>
          <p:cNvPr id="8" name="Rectangle 4"/>
          <p:cNvSpPr>
            <a:spLocks noChangeArrowheads="1"/>
          </p:cNvSpPr>
          <p:nvPr userDrawn="1"/>
        </p:nvSpPr>
        <p:spPr bwMode="ltGray">
          <a:xfrm>
            <a:off x="636906" y="6322207"/>
            <a:ext cx="4542703" cy="206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115" tIns="41056" rIns="82115" bIns="41056" anchor="b">
            <a:spAutoFit/>
          </a:bodyPr>
          <a:lstStyle/>
          <a:p>
            <a:pPr algn="l" defTabSz="814285" rtl="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kern="1200" spc="27" baseline="0">
                <a:solidFill>
                  <a:schemeClr val="accent1">
                    <a:lumMod val="75000"/>
                  </a:schemeClr>
                </a:solidFill>
                <a:latin typeface="+mn-lt"/>
                <a:ea typeface="+mn-ea"/>
                <a:cs typeface="CiscoSans Thin"/>
              </a:rPr>
              <a:t>© 2020  Cisco and/or its affiliates. All rights reserved.  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105769771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044">
          <p15:clr>
            <a:srgbClr val="FBAE40"/>
          </p15:clr>
        </p15:guide>
        <p15:guide id="3" orient="horz" pos="2196">
          <p15:clr>
            <a:srgbClr val="FBAE40"/>
          </p15:clr>
        </p15:guide>
        <p15:guide id="4" pos="2675">
          <p15:clr>
            <a:srgbClr val="FBAE40"/>
          </p15:clr>
        </p15:guide>
        <p15:guide id="7" pos="3206">
          <p15:clr>
            <a:srgbClr val="FBAE40"/>
          </p15:clr>
        </p15:guide>
      </p15:sldGuideLst>
    </p:ext>
  </p:extLst>
</p:sldLayout>
</file>

<file path=ppt/slideLayouts/slideLayout20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Slid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5" name="Freeform 6"/>
          <p:cNvSpPr>
            <a:spLocks noChangeAspect="1" noEditPoints="1"/>
          </p:cNvSpPr>
          <p:nvPr userDrawn="1"/>
        </p:nvSpPr>
        <p:spPr bwMode="auto">
          <a:xfrm>
            <a:off x="5017327" y="2838770"/>
            <a:ext cx="2157349" cy="1146095"/>
          </a:xfrm>
          <a:custGeom>
            <a:avLst/>
            <a:gdLst>
              <a:gd name="T0" fmla="*/ 2671 w 3456"/>
              <a:gd name="T1" fmla="*/ 1521 h 1834"/>
              <a:gd name="T2" fmla="*/ 2857 w 3456"/>
              <a:gd name="T3" fmla="*/ 1677 h 1834"/>
              <a:gd name="T4" fmla="*/ 2975 w 3456"/>
              <a:gd name="T5" fmla="*/ 1465 h 1834"/>
              <a:gd name="T6" fmla="*/ 1129 w 3456"/>
              <a:gd name="T7" fmla="*/ 1823 h 1834"/>
              <a:gd name="T8" fmla="*/ 3082 w 3456"/>
              <a:gd name="T9" fmla="*/ 1330 h 1834"/>
              <a:gd name="T10" fmla="*/ 3082 w 3456"/>
              <a:gd name="T11" fmla="*/ 1712 h 1834"/>
              <a:gd name="T12" fmla="*/ 2700 w 3456"/>
              <a:gd name="T13" fmla="*/ 1809 h 1834"/>
              <a:gd name="T14" fmla="*/ 2513 w 3456"/>
              <a:gd name="T15" fmla="*/ 1479 h 1834"/>
              <a:gd name="T16" fmla="*/ 2783 w 3456"/>
              <a:gd name="T17" fmla="*/ 1211 h 1834"/>
              <a:gd name="T18" fmla="*/ 2351 w 3456"/>
              <a:gd name="T19" fmla="*/ 1392 h 1834"/>
              <a:gd name="T20" fmla="*/ 2136 w 3456"/>
              <a:gd name="T21" fmla="*/ 1381 h 1834"/>
              <a:gd name="T22" fmla="*/ 2093 w 3456"/>
              <a:gd name="T23" fmla="*/ 1625 h 1834"/>
              <a:gd name="T24" fmla="*/ 2335 w 3456"/>
              <a:gd name="T25" fmla="*/ 1658 h 1834"/>
              <a:gd name="T26" fmla="*/ 2174 w 3456"/>
              <a:gd name="T27" fmla="*/ 1832 h 1834"/>
              <a:gd name="T28" fmla="*/ 1903 w 3456"/>
              <a:gd name="T29" fmla="*/ 1605 h 1834"/>
              <a:gd name="T30" fmla="*/ 2047 w 3456"/>
              <a:gd name="T31" fmla="*/ 1249 h 1834"/>
              <a:gd name="T32" fmla="*/ 748 w 3456"/>
              <a:gd name="T33" fmla="*/ 1223 h 1834"/>
              <a:gd name="T34" fmla="*/ 642 w 3456"/>
              <a:gd name="T35" fmla="*/ 1359 h 1834"/>
              <a:gd name="T36" fmla="*/ 479 w 3456"/>
              <a:gd name="T37" fmla="*/ 1550 h 1834"/>
              <a:gd name="T38" fmla="*/ 697 w 3456"/>
              <a:gd name="T39" fmla="*/ 1676 h 1834"/>
              <a:gd name="T40" fmla="*/ 692 w 3456"/>
              <a:gd name="T41" fmla="*/ 1830 h 1834"/>
              <a:gd name="T42" fmla="*/ 370 w 3456"/>
              <a:gd name="T43" fmla="*/ 1710 h 1834"/>
              <a:gd name="T44" fmla="*/ 375 w 3456"/>
              <a:gd name="T45" fmla="*/ 1326 h 1834"/>
              <a:gd name="T46" fmla="*/ 1610 w 3456"/>
              <a:gd name="T47" fmla="*/ 1211 h 1834"/>
              <a:gd name="T48" fmla="*/ 1679 w 3456"/>
              <a:gd name="T49" fmla="*/ 1350 h 1834"/>
              <a:gd name="T50" fmla="*/ 1494 w 3456"/>
              <a:gd name="T51" fmla="*/ 1373 h 1834"/>
              <a:gd name="T52" fmla="*/ 1634 w 3456"/>
              <a:gd name="T53" fmla="*/ 1470 h 1834"/>
              <a:gd name="T54" fmla="*/ 1737 w 3456"/>
              <a:gd name="T55" fmla="*/ 1694 h 1834"/>
              <a:gd name="T56" fmla="*/ 1524 w 3456"/>
              <a:gd name="T57" fmla="*/ 1833 h 1834"/>
              <a:gd name="T58" fmla="*/ 1334 w 3456"/>
              <a:gd name="T59" fmla="*/ 1678 h 1834"/>
              <a:gd name="T60" fmla="*/ 1552 w 3456"/>
              <a:gd name="T61" fmla="*/ 1690 h 1834"/>
              <a:gd name="T62" fmla="*/ 1520 w 3456"/>
              <a:gd name="T63" fmla="*/ 1584 h 1834"/>
              <a:gd name="T64" fmla="*/ 1350 w 3456"/>
              <a:gd name="T65" fmla="*/ 1473 h 1834"/>
              <a:gd name="T66" fmla="*/ 1446 w 3456"/>
              <a:gd name="T67" fmla="*/ 1227 h 1834"/>
              <a:gd name="T68" fmla="*/ 3456 w 3456"/>
              <a:gd name="T69" fmla="*/ 569 h 1834"/>
              <a:gd name="T70" fmla="*/ 3328 w 3456"/>
              <a:gd name="T71" fmla="*/ 780 h 1834"/>
              <a:gd name="T72" fmla="*/ 3381 w 3456"/>
              <a:gd name="T73" fmla="*/ 493 h 1834"/>
              <a:gd name="T74" fmla="*/ 1793 w 3456"/>
              <a:gd name="T75" fmla="*/ 766 h 1834"/>
              <a:gd name="T76" fmla="*/ 1653 w 3456"/>
              <a:gd name="T77" fmla="*/ 727 h 1834"/>
              <a:gd name="T78" fmla="*/ 113 w 3456"/>
              <a:gd name="T79" fmla="*/ 503 h 1834"/>
              <a:gd name="T80" fmla="*/ 95 w 3456"/>
              <a:gd name="T81" fmla="*/ 801 h 1834"/>
              <a:gd name="T82" fmla="*/ 10 w 3456"/>
              <a:gd name="T83" fmla="*/ 531 h 1834"/>
              <a:gd name="T84" fmla="*/ 3040 w 3456"/>
              <a:gd name="T85" fmla="*/ 340 h 1834"/>
              <a:gd name="T86" fmla="*/ 2929 w 3456"/>
              <a:gd name="T87" fmla="*/ 793 h 1834"/>
              <a:gd name="T88" fmla="*/ 2947 w 3456"/>
              <a:gd name="T89" fmla="*/ 287 h 1834"/>
              <a:gd name="T90" fmla="*/ 2214 w 3456"/>
              <a:gd name="T91" fmla="*/ 748 h 1834"/>
              <a:gd name="T92" fmla="*/ 2069 w 3456"/>
              <a:gd name="T93" fmla="*/ 748 h 1834"/>
              <a:gd name="T94" fmla="*/ 1335 w 3456"/>
              <a:gd name="T95" fmla="*/ 287 h 1834"/>
              <a:gd name="T96" fmla="*/ 1353 w 3456"/>
              <a:gd name="T97" fmla="*/ 793 h 1834"/>
              <a:gd name="T98" fmla="*/ 1242 w 3456"/>
              <a:gd name="T99" fmla="*/ 340 h 1834"/>
              <a:gd name="T100" fmla="*/ 553 w 3456"/>
              <a:gd name="T101" fmla="*/ 322 h 1834"/>
              <a:gd name="T102" fmla="*/ 468 w 3456"/>
              <a:gd name="T103" fmla="*/ 801 h 1834"/>
              <a:gd name="T104" fmla="*/ 450 w 3456"/>
              <a:gd name="T105" fmla="*/ 295 h 1834"/>
              <a:gd name="T106" fmla="*/ 2630 w 3456"/>
              <a:gd name="T107" fmla="*/ 879 h 1834"/>
              <a:gd name="T108" fmla="*/ 2490 w 3456"/>
              <a:gd name="T109" fmla="*/ 917 h 1834"/>
              <a:gd name="T110" fmla="*/ 902 w 3456"/>
              <a:gd name="T111" fmla="*/ 0 h 1834"/>
              <a:gd name="T112" fmla="*/ 955 w 3456"/>
              <a:gd name="T113" fmla="*/ 931 h 1834"/>
              <a:gd name="T114" fmla="*/ 826 w 3456"/>
              <a:gd name="T115" fmla="*/ 75 h 183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3456" h="1834">
                <a:moveTo>
                  <a:pt x="2828" y="1362"/>
                </a:moveTo>
                <a:lnTo>
                  <a:pt x="2798" y="1364"/>
                </a:lnTo>
                <a:lnTo>
                  <a:pt x="2771" y="1371"/>
                </a:lnTo>
                <a:lnTo>
                  <a:pt x="2747" y="1384"/>
                </a:lnTo>
                <a:lnTo>
                  <a:pt x="2725" y="1400"/>
                </a:lnTo>
                <a:lnTo>
                  <a:pt x="2706" y="1419"/>
                </a:lnTo>
                <a:lnTo>
                  <a:pt x="2691" y="1441"/>
                </a:lnTo>
                <a:lnTo>
                  <a:pt x="2680" y="1465"/>
                </a:lnTo>
                <a:lnTo>
                  <a:pt x="2674" y="1492"/>
                </a:lnTo>
                <a:lnTo>
                  <a:pt x="2671" y="1521"/>
                </a:lnTo>
                <a:lnTo>
                  <a:pt x="2674" y="1549"/>
                </a:lnTo>
                <a:lnTo>
                  <a:pt x="2680" y="1577"/>
                </a:lnTo>
                <a:lnTo>
                  <a:pt x="2691" y="1601"/>
                </a:lnTo>
                <a:lnTo>
                  <a:pt x="2706" y="1623"/>
                </a:lnTo>
                <a:lnTo>
                  <a:pt x="2725" y="1642"/>
                </a:lnTo>
                <a:lnTo>
                  <a:pt x="2747" y="1658"/>
                </a:lnTo>
                <a:lnTo>
                  <a:pt x="2771" y="1669"/>
                </a:lnTo>
                <a:lnTo>
                  <a:pt x="2798" y="1677"/>
                </a:lnTo>
                <a:lnTo>
                  <a:pt x="2828" y="1680"/>
                </a:lnTo>
                <a:lnTo>
                  <a:pt x="2857" y="1677"/>
                </a:lnTo>
                <a:lnTo>
                  <a:pt x="2883" y="1669"/>
                </a:lnTo>
                <a:lnTo>
                  <a:pt x="2908" y="1658"/>
                </a:lnTo>
                <a:lnTo>
                  <a:pt x="2930" y="1642"/>
                </a:lnTo>
                <a:lnTo>
                  <a:pt x="2948" y="1623"/>
                </a:lnTo>
                <a:lnTo>
                  <a:pt x="2964" y="1601"/>
                </a:lnTo>
                <a:lnTo>
                  <a:pt x="2975" y="1577"/>
                </a:lnTo>
                <a:lnTo>
                  <a:pt x="2982" y="1549"/>
                </a:lnTo>
                <a:lnTo>
                  <a:pt x="2985" y="1521"/>
                </a:lnTo>
                <a:lnTo>
                  <a:pt x="2982" y="1492"/>
                </a:lnTo>
                <a:lnTo>
                  <a:pt x="2975" y="1465"/>
                </a:lnTo>
                <a:lnTo>
                  <a:pt x="2964" y="1441"/>
                </a:lnTo>
                <a:lnTo>
                  <a:pt x="2948" y="1419"/>
                </a:lnTo>
                <a:lnTo>
                  <a:pt x="2930" y="1400"/>
                </a:lnTo>
                <a:lnTo>
                  <a:pt x="2908" y="1384"/>
                </a:lnTo>
                <a:lnTo>
                  <a:pt x="2883" y="1371"/>
                </a:lnTo>
                <a:lnTo>
                  <a:pt x="2857" y="1364"/>
                </a:lnTo>
                <a:lnTo>
                  <a:pt x="2828" y="1362"/>
                </a:lnTo>
                <a:close/>
                <a:moveTo>
                  <a:pt x="977" y="1218"/>
                </a:moveTo>
                <a:lnTo>
                  <a:pt x="1129" y="1218"/>
                </a:lnTo>
                <a:lnTo>
                  <a:pt x="1129" y="1823"/>
                </a:lnTo>
                <a:lnTo>
                  <a:pt x="977" y="1823"/>
                </a:lnTo>
                <a:lnTo>
                  <a:pt x="977" y="1218"/>
                </a:lnTo>
                <a:close/>
                <a:moveTo>
                  <a:pt x="2828" y="1208"/>
                </a:moveTo>
                <a:lnTo>
                  <a:pt x="2873" y="1211"/>
                </a:lnTo>
                <a:lnTo>
                  <a:pt x="2916" y="1219"/>
                </a:lnTo>
                <a:lnTo>
                  <a:pt x="2955" y="1232"/>
                </a:lnTo>
                <a:lnTo>
                  <a:pt x="2992" y="1251"/>
                </a:lnTo>
                <a:lnTo>
                  <a:pt x="3026" y="1273"/>
                </a:lnTo>
                <a:lnTo>
                  <a:pt x="3056" y="1299"/>
                </a:lnTo>
                <a:lnTo>
                  <a:pt x="3082" y="1330"/>
                </a:lnTo>
                <a:lnTo>
                  <a:pt x="3104" y="1363"/>
                </a:lnTo>
                <a:lnTo>
                  <a:pt x="3121" y="1398"/>
                </a:lnTo>
                <a:lnTo>
                  <a:pt x="3134" y="1437"/>
                </a:lnTo>
                <a:lnTo>
                  <a:pt x="3142" y="1479"/>
                </a:lnTo>
                <a:lnTo>
                  <a:pt x="3145" y="1521"/>
                </a:lnTo>
                <a:lnTo>
                  <a:pt x="3142" y="1563"/>
                </a:lnTo>
                <a:lnTo>
                  <a:pt x="3134" y="1604"/>
                </a:lnTo>
                <a:lnTo>
                  <a:pt x="3121" y="1642"/>
                </a:lnTo>
                <a:lnTo>
                  <a:pt x="3104" y="1679"/>
                </a:lnTo>
                <a:lnTo>
                  <a:pt x="3082" y="1712"/>
                </a:lnTo>
                <a:lnTo>
                  <a:pt x="3056" y="1742"/>
                </a:lnTo>
                <a:lnTo>
                  <a:pt x="3026" y="1769"/>
                </a:lnTo>
                <a:lnTo>
                  <a:pt x="2992" y="1791"/>
                </a:lnTo>
                <a:lnTo>
                  <a:pt x="2955" y="1809"/>
                </a:lnTo>
                <a:lnTo>
                  <a:pt x="2916" y="1822"/>
                </a:lnTo>
                <a:lnTo>
                  <a:pt x="2873" y="1831"/>
                </a:lnTo>
                <a:lnTo>
                  <a:pt x="2828" y="1834"/>
                </a:lnTo>
                <a:lnTo>
                  <a:pt x="2783" y="1831"/>
                </a:lnTo>
                <a:lnTo>
                  <a:pt x="2740" y="1822"/>
                </a:lnTo>
                <a:lnTo>
                  <a:pt x="2700" y="1809"/>
                </a:lnTo>
                <a:lnTo>
                  <a:pt x="2663" y="1791"/>
                </a:lnTo>
                <a:lnTo>
                  <a:pt x="2630" y="1769"/>
                </a:lnTo>
                <a:lnTo>
                  <a:pt x="2599" y="1742"/>
                </a:lnTo>
                <a:lnTo>
                  <a:pt x="2573" y="1712"/>
                </a:lnTo>
                <a:lnTo>
                  <a:pt x="2551" y="1679"/>
                </a:lnTo>
                <a:lnTo>
                  <a:pt x="2534" y="1642"/>
                </a:lnTo>
                <a:lnTo>
                  <a:pt x="2521" y="1604"/>
                </a:lnTo>
                <a:lnTo>
                  <a:pt x="2513" y="1563"/>
                </a:lnTo>
                <a:lnTo>
                  <a:pt x="2510" y="1521"/>
                </a:lnTo>
                <a:lnTo>
                  <a:pt x="2513" y="1479"/>
                </a:lnTo>
                <a:lnTo>
                  <a:pt x="2521" y="1437"/>
                </a:lnTo>
                <a:lnTo>
                  <a:pt x="2534" y="1398"/>
                </a:lnTo>
                <a:lnTo>
                  <a:pt x="2551" y="1363"/>
                </a:lnTo>
                <a:lnTo>
                  <a:pt x="2573" y="1330"/>
                </a:lnTo>
                <a:lnTo>
                  <a:pt x="2599" y="1299"/>
                </a:lnTo>
                <a:lnTo>
                  <a:pt x="2630" y="1273"/>
                </a:lnTo>
                <a:lnTo>
                  <a:pt x="2663" y="1251"/>
                </a:lnTo>
                <a:lnTo>
                  <a:pt x="2700" y="1232"/>
                </a:lnTo>
                <a:lnTo>
                  <a:pt x="2740" y="1219"/>
                </a:lnTo>
                <a:lnTo>
                  <a:pt x="2783" y="1211"/>
                </a:lnTo>
                <a:lnTo>
                  <a:pt x="2828" y="1208"/>
                </a:lnTo>
                <a:close/>
                <a:moveTo>
                  <a:pt x="2213" y="1208"/>
                </a:moveTo>
                <a:lnTo>
                  <a:pt x="2242" y="1209"/>
                </a:lnTo>
                <a:lnTo>
                  <a:pt x="2268" y="1211"/>
                </a:lnTo>
                <a:lnTo>
                  <a:pt x="2292" y="1215"/>
                </a:lnTo>
                <a:lnTo>
                  <a:pt x="2312" y="1219"/>
                </a:lnTo>
                <a:lnTo>
                  <a:pt x="2329" y="1223"/>
                </a:lnTo>
                <a:lnTo>
                  <a:pt x="2343" y="1227"/>
                </a:lnTo>
                <a:lnTo>
                  <a:pt x="2351" y="1230"/>
                </a:lnTo>
                <a:lnTo>
                  <a:pt x="2351" y="1392"/>
                </a:lnTo>
                <a:lnTo>
                  <a:pt x="2346" y="1389"/>
                </a:lnTo>
                <a:lnTo>
                  <a:pt x="2335" y="1384"/>
                </a:lnTo>
                <a:lnTo>
                  <a:pt x="2321" y="1377"/>
                </a:lnTo>
                <a:lnTo>
                  <a:pt x="2302" y="1371"/>
                </a:lnTo>
                <a:lnTo>
                  <a:pt x="2279" y="1365"/>
                </a:lnTo>
                <a:lnTo>
                  <a:pt x="2253" y="1360"/>
                </a:lnTo>
                <a:lnTo>
                  <a:pt x="2223" y="1359"/>
                </a:lnTo>
                <a:lnTo>
                  <a:pt x="2192" y="1362"/>
                </a:lnTo>
                <a:lnTo>
                  <a:pt x="2163" y="1369"/>
                </a:lnTo>
                <a:lnTo>
                  <a:pt x="2136" y="1381"/>
                </a:lnTo>
                <a:lnTo>
                  <a:pt x="2113" y="1396"/>
                </a:lnTo>
                <a:lnTo>
                  <a:pt x="2095" y="1415"/>
                </a:lnTo>
                <a:lnTo>
                  <a:pt x="2079" y="1437"/>
                </a:lnTo>
                <a:lnTo>
                  <a:pt x="2067" y="1463"/>
                </a:lnTo>
                <a:lnTo>
                  <a:pt x="2060" y="1490"/>
                </a:lnTo>
                <a:lnTo>
                  <a:pt x="2058" y="1521"/>
                </a:lnTo>
                <a:lnTo>
                  <a:pt x="2060" y="1550"/>
                </a:lnTo>
                <a:lnTo>
                  <a:pt x="2066" y="1578"/>
                </a:lnTo>
                <a:lnTo>
                  <a:pt x="2078" y="1602"/>
                </a:lnTo>
                <a:lnTo>
                  <a:pt x="2093" y="1625"/>
                </a:lnTo>
                <a:lnTo>
                  <a:pt x="2112" y="1644"/>
                </a:lnTo>
                <a:lnTo>
                  <a:pt x="2135" y="1660"/>
                </a:lnTo>
                <a:lnTo>
                  <a:pt x="2162" y="1672"/>
                </a:lnTo>
                <a:lnTo>
                  <a:pt x="2191" y="1679"/>
                </a:lnTo>
                <a:lnTo>
                  <a:pt x="2223" y="1682"/>
                </a:lnTo>
                <a:lnTo>
                  <a:pt x="2253" y="1680"/>
                </a:lnTo>
                <a:lnTo>
                  <a:pt x="2279" y="1676"/>
                </a:lnTo>
                <a:lnTo>
                  <a:pt x="2301" y="1671"/>
                </a:lnTo>
                <a:lnTo>
                  <a:pt x="2321" y="1664"/>
                </a:lnTo>
                <a:lnTo>
                  <a:pt x="2335" y="1658"/>
                </a:lnTo>
                <a:lnTo>
                  <a:pt x="2346" y="1653"/>
                </a:lnTo>
                <a:lnTo>
                  <a:pt x="2351" y="1649"/>
                </a:lnTo>
                <a:lnTo>
                  <a:pt x="2351" y="1812"/>
                </a:lnTo>
                <a:lnTo>
                  <a:pt x="2339" y="1816"/>
                </a:lnTo>
                <a:lnTo>
                  <a:pt x="2322" y="1820"/>
                </a:lnTo>
                <a:lnTo>
                  <a:pt x="2300" y="1826"/>
                </a:lnTo>
                <a:lnTo>
                  <a:pt x="2275" y="1830"/>
                </a:lnTo>
                <a:lnTo>
                  <a:pt x="2245" y="1833"/>
                </a:lnTo>
                <a:lnTo>
                  <a:pt x="2213" y="1834"/>
                </a:lnTo>
                <a:lnTo>
                  <a:pt x="2174" y="1832"/>
                </a:lnTo>
                <a:lnTo>
                  <a:pt x="2136" y="1826"/>
                </a:lnTo>
                <a:lnTo>
                  <a:pt x="2100" y="1815"/>
                </a:lnTo>
                <a:lnTo>
                  <a:pt x="2065" y="1801"/>
                </a:lnTo>
                <a:lnTo>
                  <a:pt x="2033" y="1783"/>
                </a:lnTo>
                <a:lnTo>
                  <a:pt x="2002" y="1762"/>
                </a:lnTo>
                <a:lnTo>
                  <a:pt x="1975" y="1737"/>
                </a:lnTo>
                <a:lnTo>
                  <a:pt x="1952" y="1710"/>
                </a:lnTo>
                <a:lnTo>
                  <a:pt x="1931" y="1678"/>
                </a:lnTo>
                <a:lnTo>
                  <a:pt x="1915" y="1643"/>
                </a:lnTo>
                <a:lnTo>
                  <a:pt x="1903" y="1605"/>
                </a:lnTo>
                <a:lnTo>
                  <a:pt x="1896" y="1564"/>
                </a:lnTo>
                <a:lnTo>
                  <a:pt x="1892" y="1521"/>
                </a:lnTo>
                <a:lnTo>
                  <a:pt x="1896" y="1477"/>
                </a:lnTo>
                <a:lnTo>
                  <a:pt x="1904" y="1434"/>
                </a:lnTo>
                <a:lnTo>
                  <a:pt x="1917" y="1395"/>
                </a:lnTo>
                <a:lnTo>
                  <a:pt x="1934" y="1359"/>
                </a:lnTo>
                <a:lnTo>
                  <a:pt x="1957" y="1326"/>
                </a:lnTo>
                <a:lnTo>
                  <a:pt x="1984" y="1296"/>
                </a:lnTo>
                <a:lnTo>
                  <a:pt x="2014" y="1271"/>
                </a:lnTo>
                <a:lnTo>
                  <a:pt x="2047" y="1249"/>
                </a:lnTo>
                <a:lnTo>
                  <a:pt x="2085" y="1231"/>
                </a:lnTo>
                <a:lnTo>
                  <a:pt x="2125" y="1218"/>
                </a:lnTo>
                <a:lnTo>
                  <a:pt x="2168" y="1211"/>
                </a:lnTo>
                <a:lnTo>
                  <a:pt x="2213" y="1208"/>
                </a:lnTo>
                <a:close/>
                <a:moveTo>
                  <a:pt x="630" y="1208"/>
                </a:moveTo>
                <a:lnTo>
                  <a:pt x="660" y="1209"/>
                </a:lnTo>
                <a:lnTo>
                  <a:pt x="687" y="1211"/>
                </a:lnTo>
                <a:lnTo>
                  <a:pt x="711" y="1215"/>
                </a:lnTo>
                <a:lnTo>
                  <a:pt x="731" y="1219"/>
                </a:lnTo>
                <a:lnTo>
                  <a:pt x="748" y="1223"/>
                </a:lnTo>
                <a:lnTo>
                  <a:pt x="760" y="1227"/>
                </a:lnTo>
                <a:lnTo>
                  <a:pt x="769" y="1230"/>
                </a:lnTo>
                <a:lnTo>
                  <a:pt x="769" y="1392"/>
                </a:lnTo>
                <a:lnTo>
                  <a:pt x="763" y="1389"/>
                </a:lnTo>
                <a:lnTo>
                  <a:pt x="754" y="1384"/>
                </a:lnTo>
                <a:lnTo>
                  <a:pt x="739" y="1377"/>
                </a:lnTo>
                <a:lnTo>
                  <a:pt x="721" y="1371"/>
                </a:lnTo>
                <a:lnTo>
                  <a:pt x="697" y="1365"/>
                </a:lnTo>
                <a:lnTo>
                  <a:pt x="671" y="1360"/>
                </a:lnTo>
                <a:lnTo>
                  <a:pt x="642" y="1359"/>
                </a:lnTo>
                <a:lnTo>
                  <a:pt x="611" y="1362"/>
                </a:lnTo>
                <a:lnTo>
                  <a:pt x="581" y="1369"/>
                </a:lnTo>
                <a:lnTo>
                  <a:pt x="555" y="1381"/>
                </a:lnTo>
                <a:lnTo>
                  <a:pt x="532" y="1396"/>
                </a:lnTo>
                <a:lnTo>
                  <a:pt x="513" y="1415"/>
                </a:lnTo>
                <a:lnTo>
                  <a:pt x="497" y="1437"/>
                </a:lnTo>
                <a:lnTo>
                  <a:pt x="485" y="1463"/>
                </a:lnTo>
                <a:lnTo>
                  <a:pt x="479" y="1490"/>
                </a:lnTo>
                <a:lnTo>
                  <a:pt x="475" y="1521"/>
                </a:lnTo>
                <a:lnTo>
                  <a:pt x="479" y="1550"/>
                </a:lnTo>
                <a:lnTo>
                  <a:pt x="485" y="1578"/>
                </a:lnTo>
                <a:lnTo>
                  <a:pt x="496" y="1602"/>
                </a:lnTo>
                <a:lnTo>
                  <a:pt x="512" y="1625"/>
                </a:lnTo>
                <a:lnTo>
                  <a:pt x="531" y="1644"/>
                </a:lnTo>
                <a:lnTo>
                  <a:pt x="554" y="1660"/>
                </a:lnTo>
                <a:lnTo>
                  <a:pt x="580" y="1672"/>
                </a:lnTo>
                <a:lnTo>
                  <a:pt x="610" y="1679"/>
                </a:lnTo>
                <a:lnTo>
                  <a:pt x="642" y="1682"/>
                </a:lnTo>
                <a:lnTo>
                  <a:pt x="671" y="1680"/>
                </a:lnTo>
                <a:lnTo>
                  <a:pt x="697" y="1676"/>
                </a:lnTo>
                <a:lnTo>
                  <a:pt x="719" y="1671"/>
                </a:lnTo>
                <a:lnTo>
                  <a:pt x="738" y="1664"/>
                </a:lnTo>
                <a:lnTo>
                  <a:pt x="753" y="1658"/>
                </a:lnTo>
                <a:lnTo>
                  <a:pt x="763" y="1653"/>
                </a:lnTo>
                <a:lnTo>
                  <a:pt x="769" y="1649"/>
                </a:lnTo>
                <a:lnTo>
                  <a:pt x="769" y="1812"/>
                </a:lnTo>
                <a:lnTo>
                  <a:pt x="757" y="1816"/>
                </a:lnTo>
                <a:lnTo>
                  <a:pt x="740" y="1820"/>
                </a:lnTo>
                <a:lnTo>
                  <a:pt x="718" y="1826"/>
                </a:lnTo>
                <a:lnTo>
                  <a:pt x="692" y="1830"/>
                </a:lnTo>
                <a:lnTo>
                  <a:pt x="663" y="1833"/>
                </a:lnTo>
                <a:lnTo>
                  <a:pt x="630" y="1834"/>
                </a:lnTo>
                <a:lnTo>
                  <a:pt x="592" y="1832"/>
                </a:lnTo>
                <a:lnTo>
                  <a:pt x="554" y="1826"/>
                </a:lnTo>
                <a:lnTo>
                  <a:pt x="518" y="1815"/>
                </a:lnTo>
                <a:lnTo>
                  <a:pt x="484" y="1801"/>
                </a:lnTo>
                <a:lnTo>
                  <a:pt x="451" y="1783"/>
                </a:lnTo>
                <a:lnTo>
                  <a:pt x="421" y="1762"/>
                </a:lnTo>
                <a:lnTo>
                  <a:pt x="394" y="1737"/>
                </a:lnTo>
                <a:lnTo>
                  <a:pt x="370" y="1710"/>
                </a:lnTo>
                <a:lnTo>
                  <a:pt x="350" y="1678"/>
                </a:lnTo>
                <a:lnTo>
                  <a:pt x="333" y="1643"/>
                </a:lnTo>
                <a:lnTo>
                  <a:pt x="322" y="1605"/>
                </a:lnTo>
                <a:lnTo>
                  <a:pt x="314" y="1564"/>
                </a:lnTo>
                <a:lnTo>
                  <a:pt x="311" y="1521"/>
                </a:lnTo>
                <a:lnTo>
                  <a:pt x="314" y="1477"/>
                </a:lnTo>
                <a:lnTo>
                  <a:pt x="323" y="1434"/>
                </a:lnTo>
                <a:lnTo>
                  <a:pt x="335" y="1395"/>
                </a:lnTo>
                <a:lnTo>
                  <a:pt x="353" y="1359"/>
                </a:lnTo>
                <a:lnTo>
                  <a:pt x="375" y="1326"/>
                </a:lnTo>
                <a:lnTo>
                  <a:pt x="402" y="1296"/>
                </a:lnTo>
                <a:lnTo>
                  <a:pt x="433" y="1271"/>
                </a:lnTo>
                <a:lnTo>
                  <a:pt x="466" y="1249"/>
                </a:lnTo>
                <a:lnTo>
                  <a:pt x="503" y="1231"/>
                </a:lnTo>
                <a:lnTo>
                  <a:pt x="544" y="1218"/>
                </a:lnTo>
                <a:lnTo>
                  <a:pt x="585" y="1211"/>
                </a:lnTo>
                <a:lnTo>
                  <a:pt x="630" y="1208"/>
                </a:lnTo>
                <a:close/>
                <a:moveTo>
                  <a:pt x="1556" y="1208"/>
                </a:moveTo>
                <a:lnTo>
                  <a:pt x="1583" y="1209"/>
                </a:lnTo>
                <a:lnTo>
                  <a:pt x="1610" y="1211"/>
                </a:lnTo>
                <a:lnTo>
                  <a:pt x="1634" y="1213"/>
                </a:lnTo>
                <a:lnTo>
                  <a:pt x="1656" y="1217"/>
                </a:lnTo>
                <a:lnTo>
                  <a:pt x="1675" y="1220"/>
                </a:lnTo>
                <a:lnTo>
                  <a:pt x="1689" y="1223"/>
                </a:lnTo>
                <a:lnTo>
                  <a:pt x="1699" y="1226"/>
                </a:lnTo>
                <a:lnTo>
                  <a:pt x="1704" y="1227"/>
                </a:lnTo>
                <a:lnTo>
                  <a:pt x="1704" y="1356"/>
                </a:lnTo>
                <a:lnTo>
                  <a:pt x="1700" y="1355"/>
                </a:lnTo>
                <a:lnTo>
                  <a:pt x="1691" y="1353"/>
                </a:lnTo>
                <a:lnTo>
                  <a:pt x="1679" y="1350"/>
                </a:lnTo>
                <a:lnTo>
                  <a:pt x="1663" y="1347"/>
                </a:lnTo>
                <a:lnTo>
                  <a:pt x="1645" y="1343"/>
                </a:lnTo>
                <a:lnTo>
                  <a:pt x="1625" y="1340"/>
                </a:lnTo>
                <a:lnTo>
                  <a:pt x="1605" y="1338"/>
                </a:lnTo>
                <a:lnTo>
                  <a:pt x="1586" y="1337"/>
                </a:lnTo>
                <a:lnTo>
                  <a:pt x="1557" y="1339"/>
                </a:lnTo>
                <a:lnTo>
                  <a:pt x="1534" y="1344"/>
                </a:lnTo>
                <a:lnTo>
                  <a:pt x="1515" y="1351"/>
                </a:lnTo>
                <a:lnTo>
                  <a:pt x="1502" y="1362"/>
                </a:lnTo>
                <a:lnTo>
                  <a:pt x="1494" y="1373"/>
                </a:lnTo>
                <a:lnTo>
                  <a:pt x="1491" y="1387"/>
                </a:lnTo>
                <a:lnTo>
                  <a:pt x="1494" y="1402"/>
                </a:lnTo>
                <a:lnTo>
                  <a:pt x="1501" y="1413"/>
                </a:lnTo>
                <a:lnTo>
                  <a:pt x="1511" y="1423"/>
                </a:lnTo>
                <a:lnTo>
                  <a:pt x="1523" y="1430"/>
                </a:lnTo>
                <a:lnTo>
                  <a:pt x="1536" y="1436"/>
                </a:lnTo>
                <a:lnTo>
                  <a:pt x="1549" y="1441"/>
                </a:lnTo>
                <a:lnTo>
                  <a:pt x="1560" y="1445"/>
                </a:lnTo>
                <a:lnTo>
                  <a:pt x="1602" y="1458"/>
                </a:lnTo>
                <a:lnTo>
                  <a:pt x="1634" y="1470"/>
                </a:lnTo>
                <a:lnTo>
                  <a:pt x="1661" y="1484"/>
                </a:lnTo>
                <a:lnTo>
                  <a:pt x="1684" y="1501"/>
                </a:lnTo>
                <a:lnTo>
                  <a:pt x="1703" y="1519"/>
                </a:lnTo>
                <a:lnTo>
                  <a:pt x="1719" y="1539"/>
                </a:lnTo>
                <a:lnTo>
                  <a:pt x="1731" y="1560"/>
                </a:lnTo>
                <a:lnTo>
                  <a:pt x="1740" y="1583"/>
                </a:lnTo>
                <a:lnTo>
                  <a:pt x="1745" y="1606"/>
                </a:lnTo>
                <a:lnTo>
                  <a:pt x="1746" y="1630"/>
                </a:lnTo>
                <a:lnTo>
                  <a:pt x="1744" y="1664"/>
                </a:lnTo>
                <a:lnTo>
                  <a:pt x="1737" y="1694"/>
                </a:lnTo>
                <a:lnTo>
                  <a:pt x="1727" y="1720"/>
                </a:lnTo>
                <a:lnTo>
                  <a:pt x="1712" y="1744"/>
                </a:lnTo>
                <a:lnTo>
                  <a:pt x="1696" y="1764"/>
                </a:lnTo>
                <a:lnTo>
                  <a:pt x="1676" y="1781"/>
                </a:lnTo>
                <a:lnTo>
                  <a:pt x="1654" y="1796"/>
                </a:lnTo>
                <a:lnTo>
                  <a:pt x="1630" y="1809"/>
                </a:lnTo>
                <a:lnTo>
                  <a:pt x="1604" y="1818"/>
                </a:lnTo>
                <a:lnTo>
                  <a:pt x="1578" y="1826"/>
                </a:lnTo>
                <a:lnTo>
                  <a:pt x="1551" y="1830"/>
                </a:lnTo>
                <a:lnTo>
                  <a:pt x="1524" y="1833"/>
                </a:lnTo>
                <a:lnTo>
                  <a:pt x="1498" y="1834"/>
                </a:lnTo>
                <a:lnTo>
                  <a:pt x="1467" y="1833"/>
                </a:lnTo>
                <a:lnTo>
                  <a:pt x="1439" y="1832"/>
                </a:lnTo>
                <a:lnTo>
                  <a:pt x="1412" y="1829"/>
                </a:lnTo>
                <a:lnTo>
                  <a:pt x="1388" y="1827"/>
                </a:lnTo>
                <a:lnTo>
                  <a:pt x="1368" y="1823"/>
                </a:lnTo>
                <a:lnTo>
                  <a:pt x="1351" y="1820"/>
                </a:lnTo>
                <a:lnTo>
                  <a:pt x="1339" y="1818"/>
                </a:lnTo>
                <a:lnTo>
                  <a:pt x="1334" y="1817"/>
                </a:lnTo>
                <a:lnTo>
                  <a:pt x="1334" y="1678"/>
                </a:lnTo>
                <a:lnTo>
                  <a:pt x="1343" y="1680"/>
                </a:lnTo>
                <a:lnTo>
                  <a:pt x="1356" y="1684"/>
                </a:lnTo>
                <a:lnTo>
                  <a:pt x="1375" y="1688"/>
                </a:lnTo>
                <a:lnTo>
                  <a:pt x="1397" y="1693"/>
                </a:lnTo>
                <a:lnTo>
                  <a:pt x="1422" y="1697"/>
                </a:lnTo>
                <a:lnTo>
                  <a:pt x="1448" y="1700"/>
                </a:lnTo>
                <a:lnTo>
                  <a:pt x="1477" y="1701"/>
                </a:lnTo>
                <a:lnTo>
                  <a:pt x="1507" y="1699"/>
                </a:lnTo>
                <a:lnTo>
                  <a:pt x="1531" y="1696"/>
                </a:lnTo>
                <a:lnTo>
                  <a:pt x="1552" y="1690"/>
                </a:lnTo>
                <a:lnTo>
                  <a:pt x="1568" y="1681"/>
                </a:lnTo>
                <a:lnTo>
                  <a:pt x="1578" y="1671"/>
                </a:lnTo>
                <a:lnTo>
                  <a:pt x="1585" y="1658"/>
                </a:lnTo>
                <a:lnTo>
                  <a:pt x="1587" y="1644"/>
                </a:lnTo>
                <a:lnTo>
                  <a:pt x="1585" y="1629"/>
                </a:lnTo>
                <a:lnTo>
                  <a:pt x="1578" y="1618"/>
                </a:lnTo>
                <a:lnTo>
                  <a:pt x="1567" y="1607"/>
                </a:lnTo>
                <a:lnTo>
                  <a:pt x="1553" y="1598"/>
                </a:lnTo>
                <a:lnTo>
                  <a:pt x="1537" y="1590"/>
                </a:lnTo>
                <a:lnTo>
                  <a:pt x="1520" y="1584"/>
                </a:lnTo>
                <a:lnTo>
                  <a:pt x="1509" y="1581"/>
                </a:lnTo>
                <a:lnTo>
                  <a:pt x="1498" y="1577"/>
                </a:lnTo>
                <a:lnTo>
                  <a:pt x="1487" y="1574"/>
                </a:lnTo>
                <a:lnTo>
                  <a:pt x="1462" y="1565"/>
                </a:lnTo>
                <a:lnTo>
                  <a:pt x="1439" y="1555"/>
                </a:lnTo>
                <a:lnTo>
                  <a:pt x="1416" y="1542"/>
                </a:lnTo>
                <a:lnTo>
                  <a:pt x="1396" y="1528"/>
                </a:lnTo>
                <a:lnTo>
                  <a:pt x="1378" y="1512"/>
                </a:lnTo>
                <a:lnTo>
                  <a:pt x="1363" y="1494"/>
                </a:lnTo>
                <a:lnTo>
                  <a:pt x="1350" y="1473"/>
                </a:lnTo>
                <a:lnTo>
                  <a:pt x="1341" y="1451"/>
                </a:lnTo>
                <a:lnTo>
                  <a:pt x="1334" y="1425"/>
                </a:lnTo>
                <a:lnTo>
                  <a:pt x="1332" y="1396"/>
                </a:lnTo>
                <a:lnTo>
                  <a:pt x="1334" y="1364"/>
                </a:lnTo>
                <a:lnTo>
                  <a:pt x="1342" y="1333"/>
                </a:lnTo>
                <a:lnTo>
                  <a:pt x="1354" y="1306"/>
                </a:lnTo>
                <a:lnTo>
                  <a:pt x="1371" y="1281"/>
                </a:lnTo>
                <a:lnTo>
                  <a:pt x="1392" y="1259"/>
                </a:lnTo>
                <a:lnTo>
                  <a:pt x="1417" y="1241"/>
                </a:lnTo>
                <a:lnTo>
                  <a:pt x="1446" y="1227"/>
                </a:lnTo>
                <a:lnTo>
                  <a:pt x="1479" y="1216"/>
                </a:lnTo>
                <a:lnTo>
                  <a:pt x="1515" y="1210"/>
                </a:lnTo>
                <a:lnTo>
                  <a:pt x="1556" y="1208"/>
                </a:lnTo>
                <a:close/>
                <a:moveTo>
                  <a:pt x="3381" y="493"/>
                </a:moveTo>
                <a:lnTo>
                  <a:pt x="3400" y="496"/>
                </a:lnTo>
                <a:lnTo>
                  <a:pt x="3418" y="503"/>
                </a:lnTo>
                <a:lnTo>
                  <a:pt x="3434" y="515"/>
                </a:lnTo>
                <a:lnTo>
                  <a:pt x="3446" y="531"/>
                </a:lnTo>
                <a:lnTo>
                  <a:pt x="3453" y="548"/>
                </a:lnTo>
                <a:lnTo>
                  <a:pt x="3456" y="569"/>
                </a:lnTo>
                <a:lnTo>
                  <a:pt x="3456" y="727"/>
                </a:lnTo>
                <a:lnTo>
                  <a:pt x="3453" y="748"/>
                </a:lnTo>
                <a:lnTo>
                  <a:pt x="3446" y="766"/>
                </a:lnTo>
                <a:lnTo>
                  <a:pt x="3434" y="780"/>
                </a:lnTo>
                <a:lnTo>
                  <a:pt x="3418" y="793"/>
                </a:lnTo>
                <a:lnTo>
                  <a:pt x="3400" y="801"/>
                </a:lnTo>
                <a:lnTo>
                  <a:pt x="3381" y="803"/>
                </a:lnTo>
                <a:lnTo>
                  <a:pt x="3361" y="801"/>
                </a:lnTo>
                <a:lnTo>
                  <a:pt x="3343" y="793"/>
                </a:lnTo>
                <a:lnTo>
                  <a:pt x="3328" y="780"/>
                </a:lnTo>
                <a:lnTo>
                  <a:pt x="3316" y="766"/>
                </a:lnTo>
                <a:lnTo>
                  <a:pt x="3308" y="748"/>
                </a:lnTo>
                <a:lnTo>
                  <a:pt x="3306" y="727"/>
                </a:lnTo>
                <a:lnTo>
                  <a:pt x="3306" y="569"/>
                </a:lnTo>
                <a:lnTo>
                  <a:pt x="3308" y="548"/>
                </a:lnTo>
                <a:lnTo>
                  <a:pt x="3316" y="531"/>
                </a:lnTo>
                <a:lnTo>
                  <a:pt x="3328" y="515"/>
                </a:lnTo>
                <a:lnTo>
                  <a:pt x="3343" y="503"/>
                </a:lnTo>
                <a:lnTo>
                  <a:pt x="3361" y="496"/>
                </a:lnTo>
                <a:lnTo>
                  <a:pt x="3381" y="493"/>
                </a:lnTo>
                <a:close/>
                <a:moveTo>
                  <a:pt x="1728" y="493"/>
                </a:moveTo>
                <a:lnTo>
                  <a:pt x="1748" y="496"/>
                </a:lnTo>
                <a:lnTo>
                  <a:pt x="1766" y="503"/>
                </a:lnTo>
                <a:lnTo>
                  <a:pt x="1781" y="515"/>
                </a:lnTo>
                <a:lnTo>
                  <a:pt x="1793" y="531"/>
                </a:lnTo>
                <a:lnTo>
                  <a:pt x="1800" y="548"/>
                </a:lnTo>
                <a:lnTo>
                  <a:pt x="1803" y="569"/>
                </a:lnTo>
                <a:lnTo>
                  <a:pt x="1803" y="727"/>
                </a:lnTo>
                <a:lnTo>
                  <a:pt x="1800" y="748"/>
                </a:lnTo>
                <a:lnTo>
                  <a:pt x="1793" y="766"/>
                </a:lnTo>
                <a:lnTo>
                  <a:pt x="1781" y="780"/>
                </a:lnTo>
                <a:lnTo>
                  <a:pt x="1766" y="793"/>
                </a:lnTo>
                <a:lnTo>
                  <a:pt x="1748" y="801"/>
                </a:lnTo>
                <a:lnTo>
                  <a:pt x="1728" y="803"/>
                </a:lnTo>
                <a:lnTo>
                  <a:pt x="1708" y="801"/>
                </a:lnTo>
                <a:lnTo>
                  <a:pt x="1690" y="793"/>
                </a:lnTo>
                <a:lnTo>
                  <a:pt x="1675" y="780"/>
                </a:lnTo>
                <a:lnTo>
                  <a:pt x="1663" y="766"/>
                </a:lnTo>
                <a:lnTo>
                  <a:pt x="1656" y="748"/>
                </a:lnTo>
                <a:lnTo>
                  <a:pt x="1653" y="727"/>
                </a:lnTo>
                <a:lnTo>
                  <a:pt x="1653" y="569"/>
                </a:lnTo>
                <a:lnTo>
                  <a:pt x="1656" y="548"/>
                </a:lnTo>
                <a:lnTo>
                  <a:pt x="1663" y="531"/>
                </a:lnTo>
                <a:lnTo>
                  <a:pt x="1675" y="515"/>
                </a:lnTo>
                <a:lnTo>
                  <a:pt x="1690" y="503"/>
                </a:lnTo>
                <a:lnTo>
                  <a:pt x="1708" y="496"/>
                </a:lnTo>
                <a:lnTo>
                  <a:pt x="1728" y="493"/>
                </a:lnTo>
                <a:close/>
                <a:moveTo>
                  <a:pt x="75" y="493"/>
                </a:moveTo>
                <a:lnTo>
                  <a:pt x="95" y="496"/>
                </a:lnTo>
                <a:lnTo>
                  <a:pt x="113" y="503"/>
                </a:lnTo>
                <a:lnTo>
                  <a:pt x="129" y="515"/>
                </a:lnTo>
                <a:lnTo>
                  <a:pt x="140" y="531"/>
                </a:lnTo>
                <a:lnTo>
                  <a:pt x="148" y="548"/>
                </a:lnTo>
                <a:lnTo>
                  <a:pt x="151" y="569"/>
                </a:lnTo>
                <a:lnTo>
                  <a:pt x="151" y="727"/>
                </a:lnTo>
                <a:lnTo>
                  <a:pt x="148" y="748"/>
                </a:lnTo>
                <a:lnTo>
                  <a:pt x="140" y="766"/>
                </a:lnTo>
                <a:lnTo>
                  <a:pt x="129" y="780"/>
                </a:lnTo>
                <a:lnTo>
                  <a:pt x="113" y="793"/>
                </a:lnTo>
                <a:lnTo>
                  <a:pt x="95" y="801"/>
                </a:lnTo>
                <a:lnTo>
                  <a:pt x="75" y="803"/>
                </a:lnTo>
                <a:lnTo>
                  <a:pt x="56" y="801"/>
                </a:lnTo>
                <a:lnTo>
                  <a:pt x="38" y="793"/>
                </a:lnTo>
                <a:lnTo>
                  <a:pt x="22" y="780"/>
                </a:lnTo>
                <a:lnTo>
                  <a:pt x="10" y="766"/>
                </a:lnTo>
                <a:lnTo>
                  <a:pt x="3" y="748"/>
                </a:lnTo>
                <a:lnTo>
                  <a:pt x="0" y="727"/>
                </a:lnTo>
                <a:lnTo>
                  <a:pt x="0" y="569"/>
                </a:lnTo>
                <a:lnTo>
                  <a:pt x="3" y="548"/>
                </a:lnTo>
                <a:lnTo>
                  <a:pt x="10" y="531"/>
                </a:lnTo>
                <a:lnTo>
                  <a:pt x="22" y="515"/>
                </a:lnTo>
                <a:lnTo>
                  <a:pt x="38" y="503"/>
                </a:lnTo>
                <a:lnTo>
                  <a:pt x="56" y="496"/>
                </a:lnTo>
                <a:lnTo>
                  <a:pt x="75" y="493"/>
                </a:lnTo>
                <a:close/>
                <a:moveTo>
                  <a:pt x="2968" y="285"/>
                </a:moveTo>
                <a:lnTo>
                  <a:pt x="2988" y="287"/>
                </a:lnTo>
                <a:lnTo>
                  <a:pt x="3006" y="295"/>
                </a:lnTo>
                <a:lnTo>
                  <a:pt x="3021" y="307"/>
                </a:lnTo>
                <a:lnTo>
                  <a:pt x="3033" y="322"/>
                </a:lnTo>
                <a:lnTo>
                  <a:pt x="3040" y="340"/>
                </a:lnTo>
                <a:lnTo>
                  <a:pt x="3043" y="360"/>
                </a:lnTo>
                <a:lnTo>
                  <a:pt x="3043" y="727"/>
                </a:lnTo>
                <a:lnTo>
                  <a:pt x="3040" y="748"/>
                </a:lnTo>
                <a:lnTo>
                  <a:pt x="3033" y="766"/>
                </a:lnTo>
                <a:lnTo>
                  <a:pt x="3021" y="780"/>
                </a:lnTo>
                <a:lnTo>
                  <a:pt x="3006" y="793"/>
                </a:lnTo>
                <a:lnTo>
                  <a:pt x="2988" y="801"/>
                </a:lnTo>
                <a:lnTo>
                  <a:pt x="2968" y="803"/>
                </a:lnTo>
                <a:lnTo>
                  <a:pt x="2947" y="801"/>
                </a:lnTo>
                <a:lnTo>
                  <a:pt x="2929" y="793"/>
                </a:lnTo>
                <a:lnTo>
                  <a:pt x="2915" y="780"/>
                </a:lnTo>
                <a:lnTo>
                  <a:pt x="2903" y="766"/>
                </a:lnTo>
                <a:lnTo>
                  <a:pt x="2895" y="748"/>
                </a:lnTo>
                <a:lnTo>
                  <a:pt x="2893" y="727"/>
                </a:lnTo>
                <a:lnTo>
                  <a:pt x="2893" y="360"/>
                </a:lnTo>
                <a:lnTo>
                  <a:pt x="2895" y="340"/>
                </a:lnTo>
                <a:lnTo>
                  <a:pt x="2903" y="322"/>
                </a:lnTo>
                <a:lnTo>
                  <a:pt x="2915" y="307"/>
                </a:lnTo>
                <a:lnTo>
                  <a:pt x="2929" y="295"/>
                </a:lnTo>
                <a:lnTo>
                  <a:pt x="2947" y="287"/>
                </a:lnTo>
                <a:lnTo>
                  <a:pt x="2968" y="285"/>
                </a:lnTo>
                <a:close/>
                <a:moveTo>
                  <a:pt x="2142" y="285"/>
                </a:moveTo>
                <a:lnTo>
                  <a:pt x="2162" y="287"/>
                </a:lnTo>
                <a:lnTo>
                  <a:pt x="2179" y="295"/>
                </a:lnTo>
                <a:lnTo>
                  <a:pt x="2194" y="307"/>
                </a:lnTo>
                <a:lnTo>
                  <a:pt x="2207" y="322"/>
                </a:lnTo>
                <a:lnTo>
                  <a:pt x="2214" y="340"/>
                </a:lnTo>
                <a:lnTo>
                  <a:pt x="2216" y="360"/>
                </a:lnTo>
                <a:lnTo>
                  <a:pt x="2216" y="727"/>
                </a:lnTo>
                <a:lnTo>
                  <a:pt x="2214" y="748"/>
                </a:lnTo>
                <a:lnTo>
                  <a:pt x="2207" y="766"/>
                </a:lnTo>
                <a:lnTo>
                  <a:pt x="2194" y="780"/>
                </a:lnTo>
                <a:lnTo>
                  <a:pt x="2179" y="793"/>
                </a:lnTo>
                <a:lnTo>
                  <a:pt x="2162" y="801"/>
                </a:lnTo>
                <a:lnTo>
                  <a:pt x="2142" y="803"/>
                </a:lnTo>
                <a:lnTo>
                  <a:pt x="2122" y="801"/>
                </a:lnTo>
                <a:lnTo>
                  <a:pt x="2104" y="793"/>
                </a:lnTo>
                <a:lnTo>
                  <a:pt x="2088" y="780"/>
                </a:lnTo>
                <a:lnTo>
                  <a:pt x="2077" y="766"/>
                </a:lnTo>
                <a:lnTo>
                  <a:pt x="2069" y="748"/>
                </a:lnTo>
                <a:lnTo>
                  <a:pt x="2066" y="727"/>
                </a:lnTo>
                <a:lnTo>
                  <a:pt x="2066" y="360"/>
                </a:lnTo>
                <a:lnTo>
                  <a:pt x="2069" y="340"/>
                </a:lnTo>
                <a:lnTo>
                  <a:pt x="2077" y="322"/>
                </a:lnTo>
                <a:lnTo>
                  <a:pt x="2088" y="307"/>
                </a:lnTo>
                <a:lnTo>
                  <a:pt x="2104" y="295"/>
                </a:lnTo>
                <a:lnTo>
                  <a:pt x="2122" y="287"/>
                </a:lnTo>
                <a:lnTo>
                  <a:pt x="2142" y="285"/>
                </a:lnTo>
                <a:close/>
                <a:moveTo>
                  <a:pt x="1315" y="285"/>
                </a:moveTo>
                <a:lnTo>
                  <a:pt x="1335" y="287"/>
                </a:lnTo>
                <a:lnTo>
                  <a:pt x="1353" y="295"/>
                </a:lnTo>
                <a:lnTo>
                  <a:pt x="1368" y="307"/>
                </a:lnTo>
                <a:lnTo>
                  <a:pt x="1380" y="322"/>
                </a:lnTo>
                <a:lnTo>
                  <a:pt x="1388" y="340"/>
                </a:lnTo>
                <a:lnTo>
                  <a:pt x="1390" y="360"/>
                </a:lnTo>
                <a:lnTo>
                  <a:pt x="1390" y="727"/>
                </a:lnTo>
                <a:lnTo>
                  <a:pt x="1388" y="748"/>
                </a:lnTo>
                <a:lnTo>
                  <a:pt x="1380" y="766"/>
                </a:lnTo>
                <a:lnTo>
                  <a:pt x="1368" y="780"/>
                </a:lnTo>
                <a:lnTo>
                  <a:pt x="1353" y="793"/>
                </a:lnTo>
                <a:lnTo>
                  <a:pt x="1335" y="801"/>
                </a:lnTo>
                <a:lnTo>
                  <a:pt x="1315" y="803"/>
                </a:lnTo>
                <a:lnTo>
                  <a:pt x="1295" y="801"/>
                </a:lnTo>
                <a:lnTo>
                  <a:pt x="1277" y="793"/>
                </a:lnTo>
                <a:lnTo>
                  <a:pt x="1262" y="780"/>
                </a:lnTo>
                <a:lnTo>
                  <a:pt x="1250" y="766"/>
                </a:lnTo>
                <a:lnTo>
                  <a:pt x="1242" y="748"/>
                </a:lnTo>
                <a:lnTo>
                  <a:pt x="1240" y="727"/>
                </a:lnTo>
                <a:lnTo>
                  <a:pt x="1240" y="360"/>
                </a:lnTo>
                <a:lnTo>
                  <a:pt x="1242" y="340"/>
                </a:lnTo>
                <a:lnTo>
                  <a:pt x="1250" y="322"/>
                </a:lnTo>
                <a:lnTo>
                  <a:pt x="1262" y="307"/>
                </a:lnTo>
                <a:lnTo>
                  <a:pt x="1277" y="295"/>
                </a:lnTo>
                <a:lnTo>
                  <a:pt x="1295" y="287"/>
                </a:lnTo>
                <a:lnTo>
                  <a:pt x="1315" y="285"/>
                </a:lnTo>
                <a:close/>
                <a:moveTo>
                  <a:pt x="488" y="285"/>
                </a:moveTo>
                <a:lnTo>
                  <a:pt x="508" y="287"/>
                </a:lnTo>
                <a:lnTo>
                  <a:pt x="527" y="295"/>
                </a:lnTo>
                <a:lnTo>
                  <a:pt x="541" y="307"/>
                </a:lnTo>
                <a:lnTo>
                  <a:pt x="553" y="322"/>
                </a:lnTo>
                <a:lnTo>
                  <a:pt x="561" y="340"/>
                </a:lnTo>
                <a:lnTo>
                  <a:pt x="563" y="360"/>
                </a:lnTo>
                <a:lnTo>
                  <a:pt x="563" y="727"/>
                </a:lnTo>
                <a:lnTo>
                  <a:pt x="561" y="748"/>
                </a:lnTo>
                <a:lnTo>
                  <a:pt x="553" y="766"/>
                </a:lnTo>
                <a:lnTo>
                  <a:pt x="541" y="780"/>
                </a:lnTo>
                <a:lnTo>
                  <a:pt x="527" y="793"/>
                </a:lnTo>
                <a:lnTo>
                  <a:pt x="508" y="801"/>
                </a:lnTo>
                <a:lnTo>
                  <a:pt x="488" y="803"/>
                </a:lnTo>
                <a:lnTo>
                  <a:pt x="468" y="801"/>
                </a:lnTo>
                <a:lnTo>
                  <a:pt x="450" y="793"/>
                </a:lnTo>
                <a:lnTo>
                  <a:pt x="436" y="780"/>
                </a:lnTo>
                <a:lnTo>
                  <a:pt x="423" y="766"/>
                </a:lnTo>
                <a:lnTo>
                  <a:pt x="416" y="748"/>
                </a:lnTo>
                <a:lnTo>
                  <a:pt x="414" y="727"/>
                </a:lnTo>
                <a:lnTo>
                  <a:pt x="414" y="360"/>
                </a:lnTo>
                <a:lnTo>
                  <a:pt x="416" y="340"/>
                </a:lnTo>
                <a:lnTo>
                  <a:pt x="423" y="322"/>
                </a:lnTo>
                <a:lnTo>
                  <a:pt x="436" y="307"/>
                </a:lnTo>
                <a:lnTo>
                  <a:pt x="450" y="295"/>
                </a:lnTo>
                <a:lnTo>
                  <a:pt x="468" y="287"/>
                </a:lnTo>
                <a:lnTo>
                  <a:pt x="488" y="285"/>
                </a:lnTo>
                <a:close/>
                <a:moveTo>
                  <a:pt x="2555" y="0"/>
                </a:moveTo>
                <a:lnTo>
                  <a:pt x="2575" y="2"/>
                </a:lnTo>
                <a:lnTo>
                  <a:pt x="2593" y="10"/>
                </a:lnTo>
                <a:lnTo>
                  <a:pt x="2608" y="22"/>
                </a:lnTo>
                <a:lnTo>
                  <a:pt x="2619" y="37"/>
                </a:lnTo>
                <a:lnTo>
                  <a:pt x="2628" y="55"/>
                </a:lnTo>
                <a:lnTo>
                  <a:pt x="2630" y="75"/>
                </a:lnTo>
                <a:lnTo>
                  <a:pt x="2630" y="879"/>
                </a:lnTo>
                <a:lnTo>
                  <a:pt x="2628" y="899"/>
                </a:lnTo>
                <a:lnTo>
                  <a:pt x="2619" y="917"/>
                </a:lnTo>
                <a:lnTo>
                  <a:pt x="2608" y="931"/>
                </a:lnTo>
                <a:lnTo>
                  <a:pt x="2593" y="944"/>
                </a:lnTo>
                <a:lnTo>
                  <a:pt x="2575" y="951"/>
                </a:lnTo>
                <a:lnTo>
                  <a:pt x="2555" y="953"/>
                </a:lnTo>
                <a:lnTo>
                  <a:pt x="2535" y="951"/>
                </a:lnTo>
                <a:lnTo>
                  <a:pt x="2517" y="944"/>
                </a:lnTo>
                <a:lnTo>
                  <a:pt x="2502" y="931"/>
                </a:lnTo>
                <a:lnTo>
                  <a:pt x="2490" y="917"/>
                </a:lnTo>
                <a:lnTo>
                  <a:pt x="2483" y="899"/>
                </a:lnTo>
                <a:lnTo>
                  <a:pt x="2480" y="879"/>
                </a:lnTo>
                <a:lnTo>
                  <a:pt x="2480" y="75"/>
                </a:lnTo>
                <a:lnTo>
                  <a:pt x="2483" y="55"/>
                </a:lnTo>
                <a:lnTo>
                  <a:pt x="2490" y="37"/>
                </a:lnTo>
                <a:lnTo>
                  <a:pt x="2502" y="22"/>
                </a:lnTo>
                <a:lnTo>
                  <a:pt x="2517" y="10"/>
                </a:lnTo>
                <a:lnTo>
                  <a:pt x="2535" y="2"/>
                </a:lnTo>
                <a:lnTo>
                  <a:pt x="2555" y="0"/>
                </a:lnTo>
                <a:close/>
                <a:moveTo>
                  <a:pt x="902" y="0"/>
                </a:moveTo>
                <a:lnTo>
                  <a:pt x="922" y="2"/>
                </a:lnTo>
                <a:lnTo>
                  <a:pt x="939" y="10"/>
                </a:lnTo>
                <a:lnTo>
                  <a:pt x="955" y="22"/>
                </a:lnTo>
                <a:lnTo>
                  <a:pt x="967" y="37"/>
                </a:lnTo>
                <a:lnTo>
                  <a:pt x="974" y="55"/>
                </a:lnTo>
                <a:lnTo>
                  <a:pt x="977" y="75"/>
                </a:lnTo>
                <a:lnTo>
                  <a:pt x="977" y="879"/>
                </a:lnTo>
                <a:lnTo>
                  <a:pt x="974" y="899"/>
                </a:lnTo>
                <a:lnTo>
                  <a:pt x="967" y="917"/>
                </a:lnTo>
                <a:lnTo>
                  <a:pt x="955" y="931"/>
                </a:lnTo>
                <a:lnTo>
                  <a:pt x="939" y="944"/>
                </a:lnTo>
                <a:lnTo>
                  <a:pt x="922" y="951"/>
                </a:lnTo>
                <a:lnTo>
                  <a:pt x="902" y="953"/>
                </a:lnTo>
                <a:lnTo>
                  <a:pt x="882" y="951"/>
                </a:lnTo>
                <a:lnTo>
                  <a:pt x="864" y="944"/>
                </a:lnTo>
                <a:lnTo>
                  <a:pt x="848" y="931"/>
                </a:lnTo>
                <a:lnTo>
                  <a:pt x="837" y="917"/>
                </a:lnTo>
                <a:lnTo>
                  <a:pt x="829" y="899"/>
                </a:lnTo>
                <a:lnTo>
                  <a:pt x="826" y="879"/>
                </a:lnTo>
                <a:lnTo>
                  <a:pt x="826" y="75"/>
                </a:lnTo>
                <a:lnTo>
                  <a:pt x="829" y="55"/>
                </a:lnTo>
                <a:lnTo>
                  <a:pt x="837" y="37"/>
                </a:lnTo>
                <a:lnTo>
                  <a:pt x="848" y="22"/>
                </a:lnTo>
                <a:lnTo>
                  <a:pt x="864" y="10"/>
                </a:lnTo>
                <a:lnTo>
                  <a:pt x="882" y="2"/>
                </a:lnTo>
                <a:lnTo>
                  <a:pt x="902" y="0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en-US" sz="24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79566839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21">
            <a:extLst>
              <a:ext uri="{FF2B5EF4-FFF2-40B4-BE49-F238E27FC236}">
                <a16:creationId xmlns:a16="http://schemas.microsoft.com/office/drawing/2014/main" id="{60AFAD34-CFFF-EF48-B99C-F11DFD70F0B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583450" y="1043471"/>
            <a:ext cx="1914801" cy="1038091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467" b="0" i="0">
                <a:solidFill>
                  <a:schemeClr val="tx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defRPr>
            </a:lvl1pPr>
          </a:lstStyle>
          <a:p>
            <a:pPr lvl="0"/>
            <a:r>
              <a:rPr lang="en-GB"/>
              <a:t>Click to add text</a:t>
            </a:r>
            <a:endParaRPr lang="en-US"/>
          </a:p>
        </p:txBody>
      </p:sp>
      <p:sp>
        <p:nvSpPr>
          <p:cNvPr id="18" name="Text Placeholder 21">
            <a:extLst>
              <a:ext uri="{FF2B5EF4-FFF2-40B4-BE49-F238E27FC236}">
                <a16:creationId xmlns:a16="http://schemas.microsoft.com/office/drawing/2014/main" id="{5DED0708-F6D0-9247-BBE1-821405FF823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583450" y="2909339"/>
            <a:ext cx="1914801" cy="1038091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467" b="0" i="0">
                <a:solidFill>
                  <a:schemeClr val="tx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defRPr>
            </a:lvl1pPr>
          </a:lstStyle>
          <a:p>
            <a:pPr lvl="0"/>
            <a:r>
              <a:rPr lang="en-GB"/>
              <a:t>Click to add text</a:t>
            </a:r>
            <a:endParaRPr lang="en-US"/>
          </a:p>
        </p:txBody>
      </p:sp>
      <p:sp>
        <p:nvSpPr>
          <p:cNvPr id="19" name="Text Placeholder 21">
            <a:extLst>
              <a:ext uri="{FF2B5EF4-FFF2-40B4-BE49-F238E27FC236}">
                <a16:creationId xmlns:a16="http://schemas.microsoft.com/office/drawing/2014/main" id="{5CCA10A3-3B40-D248-9C55-B94F50E7383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583450" y="4776439"/>
            <a:ext cx="1914801" cy="1038091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467" b="0" i="0">
                <a:solidFill>
                  <a:schemeClr val="tx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defRPr>
            </a:lvl1pPr>
          </a:lstStyle>
          <a:p>
            <a:pPr lvl="0"/>
            <a:r>
              <a:rPr lang="en-GB"/>
              <a:t>Click to add text</a:t>
            </a:r>
            <a:endParaRPr lang="en-US"/>
          </a:p>
        </p:txBody>
      </p:sp>
      <p:sp>
        <p:nvSpPr>
          <p:cNvPr id="20" name="Text Placeholder 21">
            <a:extLst>
              <a:ext uri="{FF2B5EF4-FFF2-40B4-BE49-F238E27FC236}">
                <a16:creationId xmlns:a16="http://schemas.microsoft.com/office/drawing/2014/main" id="{BC3462B6-4CC9-5145-9E61-C762FD2757B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9120152" y="1042988"/>
            <a:ext cx="1914801" cy="1038091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467" b="0" i="0">
                <a:solidFill>
                  <a:schemeClr val="tx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defRPr>
            </a:lvl1pPr>
          </a:lstStyle>
          <a:p>
            <a:pPr lvl="0"/>
            <a:r>
              <a:rPr lang="en-GB"/>
              <a:t>Click to add text</a:t>
            </a:r>
            <a:endParaRPr lang="en-US"/>
          </a:p>
        </p:txBody>
      </p:sp>
      <p:sp>
        <p:nvSpPr>
          <p:cNvPr id="21" name="Text Placeholder 21">
            <a:extLst>
              <a:ext uri="{FF2B5EF4-FFF2-40B4-BE49-F238E27FC236}">
                <a16:creationId xmlns:a16="http://schemas.microsoft.com/office/drawing/2014/main" id="{294218C0-ED14-EF44-B6DB-22164D388251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120152" y="2909339"/>
            <a:ext cx="1914801" cy="1038091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467" b="0" i="0">
                <a:solidFill>
                  <a:schemeClr val="tx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defRPr>
            </a:lvl1pPr>
          </a:lstStyle>
          <a:p>
            <a:pPr lvl="0"/>
            <a:r>
              <a:rPr lang="en-GB"/>
              <a:t>Click to add text</a:t>
            </a:r>
            <a:endParaRPr lang="en-US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29440408-FB70-0E48-9191-949F57EAAB2E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120152" y="4776439"/>
            <a:ext cx="1914801" cy="1038091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467" b="0" i="0">
                <a:solidFill>
                  <a:schemeClr val="tx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defRPr>
            </a:lvl1pPr>
          </a:lstStyle>
          <a:p>
            <a:pPr lvl="0"/>
            <a:r>
              <a:rPr lang="en-GB"/>
              <a:t>Click to add text</a:t>
            </a:r>
            <a:endParaRPr lang="en-US"/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C70EEDD5-22F0-4197-9E2C-65520A44FC04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5218531" y="1042989"/>
            <a:ext cx="364671" cy="303561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>
            <a:noAutofit/>
          </a:bodyPr>
          <a:lstStyle>
            <a:lvl1pPr>
              <a:defRPr>
                <a:noFill/>
              </a:defRPr>
            </a:lvl1pPr>
          </a:lstStyle>
          <a:p>
            <a:endParaRPr lang="en-US"/>
          </a:p>
        </p:txBody>
      </p:sp>
      <p:sp>
        <p:nvSpPr>
          <p:cNvPr id="31" name="Picture Placeholder 3">
            <a:extLst>
              <a:ext uri="{FF2B5EF4-FFF2-40B4-BE49-F238E27FC236}">
                <a16:creationId xmlns:a16="http://schemas.microsoft.com/office/drawing/2014/main" id="{6BCA35DD-4B2E-4B0C-BCE1-27728E5A158F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5218531" y="2909340"/>
            <a:ext cx="364671" cy="303561"/>
          </a:xfrm>
          <a:prstGeom prst="rect">
            <a:avLst/>
          </a:prstGeom>
          <a:blipFill>
            <a:blip r:embed="rId3"/>
            <a:stretch>
              <a:fillRect/>
            </a:stretch>
          </a:blipFill>
        </p:spPr>
        <p:txBody>
          <a:bodyPr>
            <a:noAutofit/>
          </a:bodyPr>
          <a:lstStyle>
            <a:lvl1pPr>
              <a:defRPr>
                <a:noFill/>
              </a:defRPr>
            </a:lvl1pPr>
          </a:lstStyle>
          <a:p>
            <a:endParaRPr lang="en-US"/>
          </a:p>
        </p:txBody>
      </p:sp>
      <p:sp>
        <p:nvSpPr>
          <p:cNvPr id="32" name="Picture Placeholder 3">
            <a:extLst>
              <a:ext uri="{FF2B5EF4-FFF2-40B4-BE49-F238E27FC236}">
                <a16:creationId xmlns:a16="http://schemas.microsoft.com/office/drawing/2014/main" id="{B54AF328-4AF7-4607-93A0-00EC4947C5D6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5218531" y="4776440"/>
            <a:ext cx="364671" cy="303561"/>
          </a:xfrm>
          <a:prstGeom prst="rect">
            <a:avLst/>
          </a:prstGeom>
          <a:blipFill>
            <a:blip r:embed="rId4"/>
            <a:stretch>
              <a:fillRect/>
            </a:stretch>
          </a:blipFill>
        </p:spPr>
        <p:txBody>
          <a:bodyPr>
            <a:noAutofit/>
          </a:bodyPr>
          <a:lstStyle>
            <a:lvl1pPr>
              <a:defRPr>
                <a:noFill/>
              </a:defRPr>
            </a:lvl1pPr>
          </a:lstStyle>
          <a:p>
            <a:endParaRPr lang="en-US"/>
          </a:p>
        </p:txBody>
      </p:sp>
      <p:sp>
        <p:nvSpPr>
          <p:cNvPr id="33" name="Picture Placeholder 3">
            <a:extLst>
              <a:ext uri="{FF2B5EF4-FFF2-40B4-BE49-F238E27FC236}">
                <a16:creationId xmlns:a16="http://schemas.microsoft.com/office/drawing/2014/main" id="{7F4A1470-088E-40A3-A20F-C4DCAFFA3E7A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8755481" y="1042989"/>
            <a:ext cx="364671" cy="303561"/>
          </a:xfrm>
          <a:prstGeom prst="rect">
            <a:avLst/>
          </a:prstGeom>
          <a:blipFill>
            <a:blip r:embed="rId4"/>
            <a:stretch>
              <a:fillRect/>
            </a:stretch>
          </a:blipFill>
        </p:spPr>
        <p:txBody>
          <a:bodyPr>
            <a:noAutofit/>
          </a:bodyPr>
          <a:lstStyle>
            <a:lvl1pPr>
              <a:defRPr>
                <a:noFill/>
              </a:defRPr>
            </a:lvl1pPr>
          </a:lstStyle>
          <a:p>
            <a:endParaRPr lang="en-US"/>
          </a:p>
        </p:txBody>
      </p:sp>
      <p:sp>
        <p:nvSpPr>
          <p:cNvPr id="34" name="Picture Placeholder 3">
            <a:extLst>
              <a:ext uri="{FF2B5EF4-FFF2-40B4-BE49-F238E27FC236}">
                <a16:creationId xmlns:a16="http://schemas.microsoft.com/office/drawing/2014/main" id="{CF7DF77F-E020-4816-9E4B-754165D11DC2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8755481" y="2909340"/>
            <a:ext cx="364671" cy="303561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>
            <a:noAutofit/>
          </a:bodyPr>
          <a:lstStyle>
            <a:lvl1pPr>
              <a:defRPr>
                <a:noFill/>
              </a:defRPr>
            </a:lvl1pPr>
          </a:lstStyle>
          <a:p>
            <a:endParaRPr lang="en-US"/>
          </a:p>
        </p:txBody>
      </p:sp>
      <p:sp>
        <p:nvSpPr>
          <p:cNvPr id="35" name="Picture Placeholder 3">
            <a:extLst>
              <a:ext uri="{FF2B5EF4-FFF2-40B4-BE49-F238E27FC236}">
                <a16:creationId xmlns:a16="http://schemas.microsoft.com/office/drawing/2014/main" id="{30737A6D-65C2-418D-AE2D-216451A7AE90}"/>
              </a:ext>
            </a:extLst>
          </p:cNvPr>
          <p:cNvSpPr>
            <a:spLocks noGrp="1"/>
          </p:cNvSpPr>
          <p:nvPr>
            <p:ph type="pic" sz="quarter" idx="28"/>
          </p:nvPr>
        </p:nvSpPr>
        <p:spPr>
          <a:xfrm>
            <a:off x="8755481" y="4776440"/>
            <a:ext cx="364671" cy="303561"/>
          </a:xfrm>
          <a:prstGeom prst="rect">
            <a:avLst/>
          </a:prstGeom>
          <a:blipFill>
            <a:blip r:embed="rId3"/>
            <a:stretch>
              <a:fillRect/>
            </a:stretch>
          </a:blipFill>
        </p:spPr>
        <p:txBody>
          <a:bodyPr>
            <a:noAutofit/>
          </a:bodyPr>
          <a:lstStyle>
            <a:lvl1pPr>
              <a:defRPr>
                <a:noFill/>
              </a:defRPr>
            </a:lvl1pPr>
          </a:lstStyle>
          <a:p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6B9A303-9952-43D3-9853-F92C20413C0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667" y="2070099"/>
            <a:ext cx="3302000" cy="2976033"/>
          </a:xfrm>
        </p:spPr>
        <p:txBody>
          <a:bodyPr>
            <a:noAutofit/>
          </a:bodyPr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294662968"/>
      </p:ext>
    </p:extLst>
  </p:cSld>
  <p:clrMapOvr>
    <a:masterClrMapping/>
  </p:clrMapOvr>
</p:sldLayout>
</file>

<file path=ppt/slideLayouts/slideLayout2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itle Slide" preserve="1" userDrawn="1">
  <p:cSld name="Title Slide">
    <p:bg>
      <p:bgPr>
        <a:solidFill>
          <a:schemeClr val="lt2"/>
        </a:solidFill>
        <a:effectLst/>
      </p:bgPr>
    </p:bg>
    <p:spTree>
      <p:nvGrpSpPr>
        <p:cNvPr id="1" name="Shape 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BD151278-EFE9-BA45-A974-3B6CA72F990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19666" y="3856567"/>
            <a:ext cx="4480983" cy="412751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2000" b="0" i="0">
                <a:solidFill>
                  <a:schemeClr val="accent1"/>
                </a:solidFill>
                <a:latin typeface="+mn-lt"/>
                <a:cs typeface="CiscoSansTT ExtraLight" panose="020B0303020201020303" pitchFamily="34" charset="0"/>
              </a:defRPr>
            </a:lvl1pPr>
            <a:lvl2pPr>
              <a:defRPr sz="2133" b="0" i="0">
                <a:solidFill>
                  <a:schemeClr val="tx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defRPr>
            </a:lvl2pPr>
            <a:lvl3pPr>
              <a:defRPr sz="2133" b="0" i="0">
                <a:solidFill>
                  <a:schemeClr val="tx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defRPr>
            </a:lvl3pPr>
            <a:lvl4pPr>
              <a:defRPr sz="2133" b="0" i="0">
                <a:solidFill>
                  <a:schemeClr val="tx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defRPr>
            </a:lvl4pPr>
            <a:lvl5pPr>
              <a:defRPr sz="2133" b="0" i="0">
                <a:solidFill>
                  <a:schemeClr val="tx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defRPr>
            </a:lvl5pPr>
          </a:lstStyle>
          <a:p>
            <a:pPr lvl="0"/>
            <a:r>
              <a:rPr lang="en-GB"/>
              <a:t>Lorem ipsum</a:t>
            </a:r>
            <a:endParaRPr lang="en-US"/>
          </a:p>
        </p:txBody>
      </p:sp>
      <p:pic>
        <p:nvPicPr>
          <p:cNvPr id="2" name="Picture 1" descr="A close up of a sign&#10;&#10;Description automatically generated">
            <a:extLst>
              <a:ext uri="{FF2B5EF4-FFF2-40B4-BE49-F238E27FC236}">
                <a16:creationId xmlns:a16="http://schemas.microsoft.com/office/drawing/2014/main" id="{C7C290BF-922A-8D40-A281-C883E1525E9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29963" y="2310511"/>
            <a:ext cx="7680768" cy="5504549"/>
          </a:xfrm>
          <a:prstGeom prst="rect">
            <a:avLst/>
          </a:prstGeom>
        </p:spPr>
      </p:pic>
      <p:sp>
        <p:nvSpPr>
          <p:cNvPr id="3" name="Google Shape;735;p181">
            <a:extLst>
              <a:ext uri="{FF2B5EF4-FFF2-40B4-BE49-F238E27FC236}">
                <a16:creationId xmlns:a16="http://schemas.microsoft.com/office/drawing/2014/main" id="{8A995F9F-CBE8-6D4F-A6C6-07F1D1840F96}"/>
              </a:ext>
            </a:extLst>
          </p:cNvPr>
          <p:cNvSpPr/>
          <p:nvPr userDrawn="1"/>
        </p:nvSpPr>
        <p:spPr>
          <a:xfrm>
            <a:off x="713229" y="661025"/>
            <a:ext cx="826145" cy="438900"/>
          </a:xfrm>
          <a:custGeom>
            <a:avLst/>
            <a:gdLst/>
            <a:ahLst/>
            <a:cxnLst/>
            <a:rect l="l" t="t" r="r" b="b"/>
            <a:pathLst>
              <a:path w="3456" h="1834" extrusionOk="0">
                <a:moveTo>
                  <a:pt x="2828" y="1362"/>
                </a:moveTo>
                <a:lnTo>
                  <a:pt x="2798" y="1364"/>
                </a:lnTo>
                <a:lnTo>
                  <a:pt x="2771" y="1371"/>
                </a:lnTo>
                <a:lnTo>
                  <a:pt x="2747" y="1384"/>
                </a:lnTo>
                <a:lnTo>
                  <a:pt x="2725" y="1400"/>
                </a:lnTo>
                <a:lnTo>
                  <a:pt x="2706" y="1419"/>
                </a:lnTo>
                <a:lnTo>
                  <a:pt x="2691" y="1441"/>
                </a:lnTo>
                <a:lnTo>
                  <a:pt x="2680" y="1465"/>
                </a:lnTo>
                <a:lnTo>
                  <a:pt x="2674" y="1492"/>
                </a:lnTo>
                <a:lnTo>
                  <a:pt x="2671" y="1521"/>
                </a:lnTo>
                <a:lnTo>
                  <a:pt x="2674" y="1549"/>
                </a:lnTo>
                <a:lnTo>
                  <a:pt x="2680" y="1577"/>
                </a:lnTo>
                <a:lnTo>
                  <a:pt x="2691" y="1601"/>
                </a:lnTo>
                <a:lnTo>
                  <a:pt x="2706" y="1623"/>
                </a:lnTo>
                <a:lnTo>
                  <a:pt x="2725" y="1642"/>
                </a:lnTo>
                <a:lnTo>
                  <a:pt x="2747" y="1658"/>
                </a:lnTo>
                <a:lnTo>
                  <a:pt x="2771" y="1669"/>
                </a:lnTo>
                <a:lnTo>
                  <a:pt x="2798" y="1677"/>
                </a:lnTo>
                <a:lnTo>
                  <a:pt x="2828" y="1680"/>
                </a:lnTo>
                <a:lnTo>
                  <a:pt x="2857" y="1677"/>
                </a:lnTo>
                <a:lnTo>
                  <a:pt x="2883" y="1669"/>
                </a:lnTo>
                <a:lnTo>
                  <a:pt x="2908" y="1658"/>
                </a:lnTo>
                <a:lnTo>
                  <a:pt x="2930" y="1642"/>
                </a:lnTo>
                <a:lnTo>
                  <a:pt x="2948" y="1623"/>
                </a:lnTo>
                <a:lnTo>
                  <a:pt x="2964" y="1601"/>
                </a:lnTo>
                <a:lnTo>
                  <a:pt x="2975" y="1577"/>
                </a:lnTo>
                <a:lnTo>
                  <a:pt x="2982" y="1549"/>
                </a:lnTo>
                <a:lnTo>
                  <a:pt x="2985" y="1521"/>
                </a:lnTo>
                <a:lnTo>
                  <a:pt x="2982" y="1492"/>
                </a:lnTo>
                <a:lnTo>
                  <a:pt x="2975" y="1465"/>
                </a:lnTo>
                <a:lnTo>
                  <a:pt x="2964" y="1441"/>
                </a:lnTo>
                <a:lnTo>
                  <a:pt x="2948" y="1419"/>
                </a:lnTo>
                <a:lnTo>
                  <a:pt x="2930" y="1400"/>
                </a:lnTo>
                <a:lnTo>
                  <a:pt x="2908" y="1384"/>
                </a:lnTo>
                <a:lnTo>
                  <a:pt x="2883" y="1371"/>
                </a:lnTo>
                <a:lnTo>
                  <a:pt x="2857" y="1364"/>
                </a:lnTo>
                <a:lnTo>
                  <a:pt x="2828" y="1362"/>
                </a:lnTo>
                <a:close/>
                <a:moveTo>
                  <a:pt x="977" y="1218"/>
                </a:moveTo>
                <a:lnTo>
                  <a:pt x="1129" y="1218"/>
                </a:lnTo>
                <a:lnTo>
                  <a:pt x="1129" y="1823"/>
                </a:lnTo>
                <a:lnTo>
                  <a:pt x="977" y="1823"/>
                </a:lnTo>
                <a:lnTo>
                  <a:pt x="977" y="1218"/>
                </a:lnTo>
                <a:close/>
                <a:moveTo>
                  <a:pt x="2828" y="1208"/>
                </a:moveTo>
                <a:lnTo>
                  <a:pt x="2873" y="1211"/>
                </a:lnTo>
                <a:lnTo>
                  <a:pt x="2916" y="1219"/>
                </a:lnTo>
                <a:lnTo>
                  <a:pt x="2955" y="1232"/>
                </a:lnTo>
                <a:lnTo>
                  <a:pt x="2992" y="1251"/>
                </a:lnTo>
                <a:lnTo>
                  <a:pt x="3026" y="1273"/>
                </a:lnTo>
                <a:lnTo>
                  <a:pt x="3056" y="1299"/>
                </a:lnTo>
                <a:lnTo>
                  <a:pt x="3082" y="1330"/>
                </a:lnTo>
                <a:lnTo>
                  <a:pt x="3104" y="1363"/>
                </a:lnTo>
                <a:lnTo>
                  <a:pt x="3121" y="1398"/>
                </a:lnTo>
                <a:lnTo>
                  <a:pt x="3134" y="1437"/>
                </a:lnTo>
                <a:lnTo>
                  <a:pt x="3142" y="1479"/>
                </a:lnTo>
                <a:lnTo>
                  <a:pt x="3145" y="1521"/>
                </a:lnTo>
                <a:lnTo>
                  <a:pt x="3142" y="1563"/>
                </a:lnTo>
                <a:lnTo>
                  <a:pt x="3134" y="1604"/>
                </a:lnTo>
                <a:lnTo>
                  <a:pt x="3121" y="1642"/>
                </a:lnTo>
                <a:lnTo>
                  <a:pt x="3104" y="1679"/>
                </a:lnTo>
                <a:lnTo>
                  <a:pt x="3082" y="1712"/>
                </a:lnTo>
                <a:lnTo>
                  <a:pt x="3056" y="1742"/>
                </a:lnTo>
                <a:lnTo>
                  <a:pt x="3026" y="1769"/>
                </a:lnTo>
                <a:lnTo>
                  <a:pt x="2992" y="1791"/>
                </a:lnTo>
                <a:lnTo>
                  <a:pt x="2955" y="1809"/>
                </a:lnTo>
                <a:lnTo>
                  <a:pt x="2916" y="1822"/>
                </a:lnTo>
                <a:lnTo>
                  <a:pt x="2873" y="1831"/>
                </a:lnTo>
                <a:lnTo>
                  <a:pt x="2828" y="1834"/>
                </a:lnTo>
                <a:lnTo>
                  <a:pt x="2783" y="1831"/>
                </a:lnTo>
                <a:lnTo>
                  <a:pt x="2740" y="1822"/>
                </a:lnTo>
                <a:lnTo>
                  <a:pt x="2700" y="1809"/>
                </a:lnTo>
                <a:lnTo>
                  <a:pt x="2663" y="1791"/>
                </a:lnTo>
                <a:lnTo>
                  <a:pt x="2630" y="1769"/>
                </a:lnTo>
                <a:lnTo>
                  <a:pt x="2599" y="1742"/>
                </a:lnTo>
                <a:lnTo>
                  <a:pt x="2573" y="1712"/>
                </a:lnTo>
                <a:lnTo>
                  <a:pt x="2551" y="1679"/>
                </a:lnTo>
                <a:lnTo>
                  <a:pt x="2534" y="1642"/>
                </a:lnTo>
                <a:lnTo>
                  <a:pt x="2521" y="1604"/>
                </a:lnTo>
                <a:lnTo>
                  <a:pt x="2513" y="1563"/>
                </a:lnTo>
                <a:lnTo>
                  <a:pt x="2510" y="1521"/>
                </a:lnTo>
                <a:lnTo>
                  <a:pt x="2513" y="1479"/>
                </a:lnTo>
                <a:lnTo>
                  <a:pt x="2521" y="1437"/>
                </a:lnTo>
                <a:lnTo>
                  <a:pt x="2534" y="1398"/>
                </a:lnTo>
                <a:lnTo>
                  <a:pt x="2551" y="1363"/>
                </a:lnTo>
                <a:lnTo>
                  <a:pt x="2573" y="1330"/>
                </a:lnTo>
                <a:lnTo>
                  <a:pt x="2599" y="1299"/>
                </a:lnTo>
                <a:lnTo>
                  <a:pt x="2630" y="1273"/>
                </a:lnTo>
                <a:lnTo>
                  <a:pt x="2663" y="1251"/>
                </a:lnTo>
                <a:lnTo>
                  <a:pt x="2700" y="1232"/>
                </a:lnTo>
                <a:lnTo>
                  <a:pt x="2740" y="1219"/>
                </a:lnTo>
                <a:lnTo>
                  <a:pt x="2783" y="1211"/>
                </a:lnTo>
                <a:lnTo>
                  <a:pt x="2828" y="1208"/>
                </a:lnTo>
                <a:close/>
                <a:moveTo>
                  <a:pt x="2213" y="1208"/>
                </a:moveTo>
                <a:lnTo>
                  <a:pt x="2242" y="1209"/>
                </a:lnTo>
                <a:lnTo>
                  <a:pt x="2268" y="1211"/>
                </a:lnTo>
                <a:lnTo>
                  <a:pt x="2292" y="1215"/>
                </a:lnTo>
                <a:lnTo>
                  <a:pt x="2312" y="1219"/>
                </a:lnTo>
                <a:lnTo>
                  <a:pt x="2329" y="1223"/>
                </a:lnTo>
                <a:lnTo>
                  <a:pt x="2343" y="1227"/>
                </a:lnTo>
                <a:lnTo>
                  <a:pt x="2351" y="1230"/>
                </a:lnTo>
                <a:lnTo>
                  <a:pt x="2351" y="1392"/>
                </a:lnTo>
                <a:lnTo>
                  <a:pt x="2346" y="1389"/>
                </a:lnTo>
                <a:lnTo>
                  <a:pt x="2335" y="1384"/>
                </a:lnTo>
                <a:lnTo>
                  <a:pt x="2321" y="1377"/>
                </a:lnTo>
                <a:lnTo>
                  <a:pt x="2302" y="1371"/>
                </a:lnTo>
                <a:lnTo>
                  <a:pt x="2279" y="1365"/>
                </a:lnTo>
                <a:lnTo>
                  <a:pt x="2253" y="1360"/>
                </a:lnTo>
                <a:lnTo>
                  <a:pt x="2223" y="1359"/>
                </a:lnTo>
                <a:lnTo>
                  <a:pt x="2192" y="1362"/>
                </a:lnTo>
                <a:lnTo>
                  <a:pt x="2163" y="1369"/>
                </a:lnTo>
                <a:lnTo>
                  <a:pt x="2136" y="1381"/>
                </a:lnTo>
                <a:lnTo>
                  <a:pt x="2113" y="1396"/>
                </a:lnTo>
                <a:lnTo>
                  <a:pt x="2095" y="1415"/>
                </a:lnTo>
                <a:lnTo>
                  <a:pt x="2079" y="1437"/>
                </a:lnTo>
                <a:lnTo>
                  <a:pt x="2067" y="1463"/>
                </a:lnTo>
                <a:lnTo>
                  <a:pt x="2060" y="1490"/>
                </a:lnTo>
                <a:lnTo>
                  <a:pt x="2058" y="1521"/>
                </a:lnTo>
                <a:lnTo>
                  <a:pt x="2060" y="1550"/>
                </a:lnTo>
                <a:lnTo>
                  <a:pt x="2066" y="1578"/>
                </a:lnTo>
                <a:lnTo>
                  <a:pt x="2078" y="1602"/>
                </a:lnTo>
                <a:lnTo>
                  <a:pt x="2093" y="1625"/>
                </a:lnTo>
                <a:lnTo>
                  <a:pt x="2112" y="1644"/>
                </a:lnTo>
                <a:lnTo>
                  <a:pt x="2135" y="1660"/>
                </a:lnTo>
                <a:lnTo>
                  <a:pt x="2162" y="1672"/>
                </a:lnTo>
                <a:lnTo>
                  <a:pt x="2191" y="1679"/>
                </a:lnTo>
                <a:lnTo>
                  <a:pt x="2223" y="1682"/>
                </a:lnTo>
                <a:lnTo>
                  <a:pt x="2253" y="1680"/>
                </a:lnTo>
                <a:lnTo>
                  <a:pt x="2279" y="1676"/>
                </a:lnTo>
                <a:lnTo>
                  <a:pt x="2301" y="1671"/>
                </a:lnTo>
                <a:lnTo>
                  <a:pt x="2321" y="1664"/>
                </a:lnTo>
                <a:lnTo>
                  <a:pt x="2335" y="1658"/>
                </a:lnTo>
                <a:lnTo>
                  <a:pt x="2346" y="1653"/>
                </a:lnTo>
                <a:lnTo>
                  <a:pt x="2351" y="1649"/>
                </a:lnTo>
                <a:lnTo>
                  <a:pt x="2351" y="1812"/>
                </a:lnTo>
                <a:lnTo>
                  <a:pt x="2339" y="1816"/>
                </a:lnTo>
                <a:lnTo>
                  <a:pt x="2322" y="1820"/>
                </a:lnTo>
                <a:lnTo>
                  <a:pt x="2300" y="1826"/>
                </a:lnTo>
                <a:lnTo>
                  <a:pt x="2275" y="1830"/>
                </a:lnTo>
                <a:lnTo>
                  <a:pt x="2245" y="1833"/>
                </a:lnTo>
                <a:lnTo>
                  <a:pt x="2213" y="1834"/>
                </a:lnTo>
                <a:lnTo>
                  <a:pt x="2174" y="1832"/>
                </a:lnTo>
                <a:lnTo>
                  <a:pt x="2136" y="1826"/>
                </a:lnTo>
                <a:lnTo>
                  <a:pt x="2100" y="1815"/>
                </a:lnTo>
                <a:lnTo>
                  <a:pt x="2065" y="1801"/>
                </a:lnTo>
                <a:lnTo>
                  <a:pt x="2033" y="1783"/>
                </a:lnTo>
                <a:lnTo>
                  <a:pt x="2002" y="1762"/>
                </a:lnTo>
                <a:lnTo>
                  <a:pt x="1975" y="1737"/>
                </a:lnTo>
                <a:lnTo>
                  <a:pt x="1952" y="1710"/>
                </a:lnTo>
                <a:lnTo>
                  <a:pt x="1931" y="1678"/>
                </a:lnTo>
                <a:lnTo>
                  <a:pt x="1915" y="1643"/>
                </a:lnTo>
                <a:lnTo>
                  <a:pt x="1903" y="1605"/>
                </a:lnTo>
                <a:lnTo>
                  <a:pt x="1896" y="1564"/>
                </a:lnTo>
                <a:lnTo>
                  <a:pt x="1892" y="1521"/>
                </a:lnTo>
                <a:lnTo>
                  <a:pt x="1896" y="1477"/>
                </a:lnTo>
                <a:lnTo>
                  <a:pt x="1904" y="1434"/>
                </a:lnTo>
                <a:lnTo>
                  <a:pt x="1917" y="1395"/>
                </a:lnTo>
                <a:lnTo>
                  <a:pt x="1934" y="1359"/>
                </a:lnTo>
                <a:lnTo>
                  <a:pt x="1957" y="1326"/>
                </a:lnTo>
                <a:lnTo>
                  <a:pt x="1984" y="1296"/>
                </a:lnTo>
                <a:lnTo>
                  <a:pt x="2014" y="1271"/>
                </a:lnTo>
                <a:lnTo>
                  <a:pt x="2047" y="1249"/>
                </a:lnTo>
                <a:lnTo>
                  <a:pt x="2085" y="1231"/>
                </a:lnTo>
                <a:lnTo>
                  <a:pt x="2125" y="1218"/>
                </a:lnTo>
                <a:lnTo>
                  <a:pt x="2168" y="1211"/>
                </a:lnTo>
                <a:lnTo>
                  <a:pt x="2213" y="1208"/>
                </a:lnTo>
                <a:close/>
                <a:moveTo>
                  <a:pt x="630" y="1208"/>
                </a:moveTo>
                <a:lnTo>
                  <a:pt x="660" y="1209"/>
                </a:lnTo>
                <a:lnTo>
                  <a:pt x="687" y="1211"/>
                </a:lnTo>
                <a:lnTo>
                  <a:pt x="711" y="1215"/>
                </a:lnTo>
                <a:lnTo>
                  <a:pt x="731" y="1219"/>
                </a:lnTo>
                <a:lnTo>
                  <a:pt x="748" y="1223"/>
                </a:lnTo>
                <a:lnTo>
                  <a:pt x="760" y="1227"/>
                </a:lnTo>
                <a:lnTo>
                  <a:pt x="769" y="1230"/>
                </a:lnTo>
                <a:lnTo>
                  <a:pt x="769" y="1392"/>
                </a:lnTo>
                <a:lnTo>
                  <a:pt x="763" y="1389"/>
                </a:lnTo>
                <a:lnTo>
                  <a:pt x="754" y="1384"/>
                </a:lnTo>
                <a:lnTo>
                  <a:pt x="739" y="1377"/>
                </a:lnTo>
                <a:lnTo>
                  <a:pt x="721" y="1371"/>
                </a:lnTo>
                <a:lnTo>
                  <a:pt x="697" y="1365"/>
                </a:lnTo>
                <a:lnTo>
                  <a:pt x="671" y="1360"/>
                </a:lnTo>
                <a:lnTo>
                  <a:pt x="642" y="1359"/>
                </a:lnTo>
                <a:lnTo>
                  <a:pt x="611" y="1362"/>
                </a:lnTo>
                <a:lnTo>
                  <a:pt x="581" y="1369"/>
                </a:lnTo>
                <a:lnTo>
                  <a:pt x="555" y="1381"/>
                </a:lnTo>
                <a:lnTo>
                  <a:pt x="532" y="1396"/>
                </a:lnTo>
                <a:lnTo>
                  <a:pt x="513" y="1415"/>
                </a:lnTo>
                <a:lnTo>
                  <a:pt x="497" y="1437"/>
                </a:lnTo>
                <a:lnTo>
                  <a:pt x="485" y="1463"/>
                </a:lnTo>
                <a:lnTo>
                  <a:pt x="479" y="1490"/>
                </a:lnTo>
                <a:lnTo>
                  <a:pt x="475" y="1521"/>
                </a:lnTo>
                <a:lnTo>
                  <a:pt x="479" y="1550"/>
                </a:lnTo>
                <a:lnTo>
                  <a:pt x="485" y="1578"/>
                </a:lnTo>
                <a:lnTo>
                  <a:pt x="496" y="1602"/>
                </a:lnTo>
                <a:lnTo>
                  <a:pt x="512" y="1625"/>
                </a:lnTo>
                <a:lnTo>
                  <a:pt x="531" y="1644"/>
                </a:lnTo>
                <a:lnTo>
                  <a:pt x="554" y="1660"/>
                </a:lnTo>
                <a:lnTo>
                  <a:pt x="580" y="1672"/>
                </a:lnTo>
                <a:lnTo>
                  <a:pt x="610" y="1679"/>
                </a:lnTo>
                <a:lnTo>
                  <a:pt x="642" y="1682"/>
                </a:lnTo>
                <a:lnTo>
                  <a:pt x="671" y="1680"/>
                </a:lnTo>
                <a:lnTo>
                  <a:pt x="697" y="1676"/>
                </a:lnTo>
                <a:lnTo>
                  <a:pt x="719" y="1671"/>
                </a:lnTo>
                <a:lnTo>
                  <a:pt x="738" y="1664"/>
                </a:lnTo>
                <a:lnTo>
                  <a:pt x="753" y="1658"/>
                </a:lnTo>
                <a:lnTo>
                  <a:pt x="763" y="1653"/>
                </a:lnTo>
                <a:lnTo>
                  <a:pt x="769" y="1649"/>
                </a:lnTo>
                <a:lnTo>
                  <a:pt x="769" y="1812"/>
                </a:lnTo>
                <a:lnTo>
                  <a:pt x="757" y="1816"/>
                </a:lnTo>
                <a:lnTo>
                  <a:pt x="740" y="1820"/>
                </a:lnTo>
                <a:lnTo>
                  <a:pt x="718" y="1826"/>
                </a:lnTo>
                <a:lnTo>
                  <a:pt x="692" y="1830"/>
                </a:lnTo>
                <a:lnTo>
                  <a:pt x="663" y="1833"/>
                </a:lnTo>
                <a:lnTo>
                  <a:pt x="630" y="1834"/>
                </a:lnTo>
                <a:lnTo>
                  <a:pt x="592" y="1832"/>
                </a:lnTo>
                <a:lnTo>
                  <a:pt x="554" y="1826"/>
                </a:lnTo>
                <a:lnTo>
                  <a:pt x="518" y="1815"/>
                </a:lnTo>
                <a:lnTo>
                  <a:pt x="484" y="1801"/>
                </a:lnTo>
                <a:lnTo>
                  <a:pt x="451" y="1783"/>
                </a:lnTo>
                <a:lnTo>
                  <a:pt x="421" y="1762"/>
                </a:lnTo>
                <a:lnTo>
                  <a:pt x="394" y="1737"/>
                </a:lnTo>
                <a:lnTo>
                  <a:pt x="370" y="1710"/>
                </a:lnTo>
                <a:lnTo>
                  <a:pt x="350" y="1678"/>
                </a:lnTo>
                <a:lnTo>
                  <a:pt x="333" y="1643"/>
                </a:lnTo>
                <a:lnTo>
                  <a:pt x="322" y="1605"/>
                </a:lnTo>
                <a:lnTo>
                  <a:pt x="314" y="1564"/>
                </a:lnTo>
                <a:lnTo>
                  <a:pt x="311" y="1521"/>
                </a:lnTo>
                <a:lnTo>
                  <a:pt x="314" y="1477"/>
                </a:lnTo>
                <a:lnTo>
                  <a:pt x="323" y="1434"/>
                </a:lnTo>
                <a:lnTo>
                  <a:pt x="335" y="1395"/>
                </a:lnTo>
                <a:lnTo>
                  <a:pt x="353" y="1359"/>
                </a:lnTo>
                <a:lnTo>
                  <a:pt x="375" y="1326"/>
                </a:lnTo>
                <a:lnTo>
                  <a:pt x="402" y="1296"/>
                </a:lnTo>
                <a:lnTo>
                  <a:pt x="433" y="1271"/>
                </a:lnTo>
                <a:lnTo>
                  <a:pt x="466" y="1249"/>
                </a:lnTo>
                <a:lnTo>
                  <a:pt x="503" y="1231"/>
                </a:lnTo>
                <a:lnTo>
                  <a:pt x="544" y="1218"/>
                </a:lnTo>
                <a:lnTo>
                  <a:pt x="585" y="1211"/>
                </a:lnTo>
                <a:lnTo>
                  <a:pt x="630" y="1208"/>
                </a:lnTo>
                <a:close/>
                <a:moveTo>
                  <a:pt x="1556" y="1208"/>
                </a:moveTo>
                <a:lnTo>
                  <a:pt x="1583" y="1209"/>
                </a:lnTo>
                <a:lnTo>
                  <a:pt x="1610" y="1211"/>
                </a:lnTo>
                <a:lnTo>
                  <a:pt x="1634" y="1213"/>
                </a:lnTo>
                <a:lnTo>
                  <a:pt x="1656" y="1217"/>
                </a:lnTo>
                <a:lnTo>
                  <a:pt x="1675" y="1220"/>
                </a:lnTo>
                <a:lnTo>
                  <a:pt x="1689" y="1223"/>
                </a:lnTo>
                <a:lnTo>
                  <a:pt x="1699" y="1226"/>
                </a:lnTo>
                <a:lnTo>
                  <a:pt x="1704" y="1227"/>
                </a:lnTo>
                <a:lnTo>
                  <a:pt x="1704" y="1356"/>
                </a:lnTo>
                <a:lnTo>
                  <a:pt x="1700" y="1355"/>
                </a:lnTo>
                <a:lnTo>
                  <a:pt x="1691" y="1353"/>
                </a:lnTo>
                <a:lnTo>
                  <a:pt x="1679" y="1350"/>
                </a:lnTo>
                <a:lnTo>
                  <a:pt x="1663" y="1347"/>
                </a:lnTo>
                <a:lnTo>
                  <a:pt x="1645" y="1343"/>
                </a:lnTo>
                <a:lnTo>
                  <a:pt x="1625" y="1340"/>
                </a:lnTo>
                <a:lnTo>
                  <a:pt x="1605" y="1338"/>
                </a:lnTo>
                <a:lnTo>
                  <a:pt x="1586" y="1337"/>
                </a:lnTo>
                <a:lnTo>
                  <a:pt x="1557" y="1339"/>
                </a:lnTo>
                <a:lnTo>
                  <a:pt x="1534" y="1344"/>
                </a:lnTo>
                <a:lnTo>
                  <a:pt x="1515" y="1351"/>
                </a:lnTo>
                <a:lnTo>
                  <a:pt x="1502" y="1362"/>
                </a:lnTo>
                <a:lnTo>
                  <a:pt x="1494" y="1373"/>
                </a:lnTo>
                <a:lnTo>
                  <a:pt x="1491" y="1387"/>
                </a:lnTo>
                <a:lnTo>
                  <a:pt x="1494" y="1402"/>
                </a:lnTo>
                <a:lnTo>
                  <a:pt x="1501" y="1413"/>
                </a:lnTo>
                <a:lnTo>
                  <a:pt x="1511" y="1423"/>
                </a:lnTo>
                <a:lnTo>
                  <a:pt x="1523" y="1430"/>
                </a:lnTo>
                <a:lnTo>
                  <a:pt x="1536" y="1436"/>
                </a:lnTo>
                <a:lnTo>
                  <a:pt x="1549" y="1441"/>
                </a:lnTo>
                <a:lnTo>
                  <a:pt x="1560" y="1445"/>
                </a:lnTo>
                <a:lnTo>
                  <a:pt x="1602" y="1458"/>
                </a:lnTo>
                <a:lnTo>
                  <a:pt x="1634" y="1470"/>
                </a:lnTo>
                <a:lnTo>
                  <a:pt x="1661" y="1484"/>
                </a:lnTo>
                <a:lnTo>
                  <a:pt x="1684" y="1501"/>
                </a:lnTo>
                <a:lnTo>
                  <a:pt x="1703" y="1519"/>
                </a:lnTo>
                <a:lnTo>
                  <a:pt x="1719" y="1539"/>
                </a:lnTo>
                <a:lnTo>
                  <a:pt x="1731" y="1560"/>
                </a:lnTo>
                <a:lnTo>
                  <a:pt x="1740" y="1583"/>
                </a:lnTo>
                <a:lnTo>
                  <a:pt x="1745" y="1606"/>
                </a:lnTo>
                <a:lnTo>
                  <a:pt x="1746" y="1630"/>
                </a:lnTo>
                <a:lnTo>
                  <a:pt x="1744" y="1664"/>
                </a:lnTo>
                <a:lnTo>
                  <a:pt x="1737" y="1694"/>
                </a:lnTo>
                <a:lnTo>
                  <a:pt x="1727" y="1720"/>
                </a:lnTo>
                <a:lnTo>
                  <a:pt x="1712" y="1744"/>
                </a:lnTo>
                <a:lnTo>
                  <a:pt x="1696" y="1764"/>
                </a:lnTo>
                <a:lnTo>
                  <a:pt x="1676" y="1781"/>
                </a:lnTo>
                <a:lnTo>
                  <a:pt x="1654" y="1796"/>
                </a:lnTo>
                <a:lnTo>
                  <a:pt x="1630" y="1809"/>
                </a:lnTo>
                <a:lnTo>
                  <a:pt x="1604" y="1818"/>
                </a:lnTo>
                <a:lnTo>
                  <a:pt x="1578" y="1826"/>
                </a:lnTo>
                <a:lnTo>
                  <a:pt x="1551" y="1830"/>
                </a:lnTo>
                <a:lnTo>
                  <a:pt x="1524" y="1833"/>
                </a:lnTo>
                <a:lnTo>
                  <a:pt x="1498" y="1834"/>
                </a:lnTo>
                <a:lnTo>
                  <a:pt x="1467" y="1833"/>
                </a:lnTo>
                <a:lnTo>
                  <a:pt x="1439" y="1832"/>
                </a:lnTo>
                <a:lnTo>
                  <a:pt x="1412" y="1829"/>
                </a:lnTo>
                <a:lnTo>
                  <a:pt x="1388" y="1827"/>
                </a:lnTo>
                <a:lnTo>
                  <a:pt x="1368" y="1823"/>
                </a:lnTo>
                <a:lnTo>
                  <a:pt x="1351" y="1820"/>
                </a:lnTo>
                <a:lnTo>
                  <a:pt x="1339" y="1818"/>
                </a:lnTo>
                <a:lnTo>
                  <a:pt x="1334" y="1817"/>
                </a:lnTo>
                <a:lnTo>
                  <a:pt x="1334" y="1678"/>
                </a:lnTo>
                <a:lnTo>
                  <a:pt x="1343" y="1680"/>
                </a:lnTo>
                <a:lnTo>
                  <a:pt x="1356" y="1684"/>
                </a:lnTo>
                <a:lnTo>
                  <a:pt x="1375" y="1688"/>
                </a:lnTo>
                <a:lnTo>
                  <a:pt x="1397" y="1693"/>
                </a:lnTo>
                <a:lnTo>
                  <a:pt x="1422" y="1697"/>
                </a:lnTo>
                <a:lnTo>
                  <a:pt x="1448" y="1700"/>
                </a:lnTo>
                <a:lnTo>
                  <a:pt x="1477" y="1701"/>
                </a:lnTo>
                <a:lnTo>
                  <a:pt x="1507" y="1699"/>
                </a:lnTo>
                <a:lnTo>
                  <a:pt x="1531" y="1696"/>
                </a:lnTo>
                <a:lnTo>
                  <a:pt x="1552" y="1690"/>
                </a:lnTo>
                <a:lnTo>
                  <a:pt x="1568" y="1681"/>
                </a:lnTo>
                <a:lnTo>
                  <a:pt x="1578" y="1671"/>
                </a:lnTo>
                <a:lnTo>
                  <a:pt x="1585" y="1658"/>
                </a:lnTo>
                <a:lnTo>
                  <a:pt x="1587" y="1644"/>
                </a:lnTo>
                <a:lnTo>
                  <a:pt x="1585" y="1629"/>
                </a:lnTo>
                <a:lnTo>
                  <a:pt x="1578" y="1618"/>
                </a:lnTo>
                <a:lnTo>
                  <a:pt x="1567" y="1607"/>
                </a:lnTo>
                <a:lnTo>
                  <a:pt x="1553" y="1598"/>
                </a:lnTo>
                <a:lnTo>
                  <a:pt x="1537" y="1590"/>
                </a:lnTo>
                <a:lnTo>
                  <a:pt x="1520" y="1584"/>
                </a:lnTo>
                <a:lnTo>
                  <a:pt x="1509" y="1581"/>
                </a:lnTo>
                <a:lnTo>
                  <a:pt x="1498" y="1577"/>
                </a:lnTo>
                <a:lnTo>
                  <a:pt x="1487" y="1574"/>
                </a:lnTo>
                <a:lnTo>
                  <a:pt x="1462" y="1565"/>
                </a:lnTo>
                <a:lnTo>
                  <a:pt x="1439" y="1555"/>
                </a:lnTo>
                <a:lnTo>
                  <a:pt x="1416" y="1542"/>
                </a:lnTo>
                <a:lnTo>
                  <a:pt x="1396" y="1528"/>
                </a:lnTo>
                <a:lnTo>
                  <a:pt x="1378" y="1512"/>
                </a:lnTo>
                <a:lnTo>
                  <a:pt x="1363" y="1494"/>
                </a:lnTo>
                <a:lnTo>
                  <a:pt x="1350" y="1473"/>
                </a:lnTo>
                <a:lnTo>
                  <a:pt x="1341" y="1451"/>
                </a:lnTo>
                <a:lnTo>
                  <a:pt x="1334" y="1425"/>
                </a:lnTo>
                <a:lnTo>
                  <a:pt x="1332" y="1396"/>
                </a:lnTo>
                <a:lnTo>
                  <a:pt x="1334" y="1364"/>
                </a:lnTo>
                <a:lnTo>
                  <a:pt x="1342" y="1333"/>
                </a:lnTo>
                <a:lnTo>
                  <a:pt x="1354" y="1306"/>
                </a:lnTo>
                <a:lnTo>
                  <a:pt x="1371" y="1281"/>
                </a:lnTo>
                <a:lnTo>
                  <a:pt x="1392" y="1259"/>
                </a:lnTo>
                <a:lnTo>
                  <a:pt x="1417" y="1241"/>
                </a:lnTo>
                <a:lnTo>
                  <a:pt x="1446" y="1227"/>
                </a:lnTo>
                <a:lnTo>
                  <a:pt x="1479" y="1216"/>
                </a:lnTo>
                <a:lnTo>
                  <a:pt x="1515" y="1210"/>
                </a:lnTo>
                <a:lnTo>
                  <a:pt x="1556" y="1208"/>
                </a:lnTo>
                <a:close/>
                <a:moveTo>
                  <a:pt x="3381" y="493"/>
                </a:moveTo>
                <a:lnTo>
                  <a:pt x="3400" y="496"/>
                </a:lnTo>
                <a:lnTo>
                  <a:pt x="3418" y="503"/>
                </a:lnTo>
                <a:lnTo>
                  <a:pt x="3434" y="515"/>
                </a:lnTo>
                <a:lnTo>
                  <a:pt x="3446" y="531"/>
                </a:lnTo>
                <a:lnTo>
                  <a:pt x="3453" y="548"/>
                </a:lnTo>
                <a:lnTo>
                  <a:pt x="3456" y="569"/>
                </a:lnTo>
                <a:lnTo>
                  <a:pt x="3456" y="727"/>
                </a:lnTo>
                <a:lnTo>
                  <a:pt x="3453" y="748"/>
                </a:lnTo>
                <a:lnTo>
                  <a:pt x="3446" y="766"/>
                </a:lnTo>
                <a:lnTo>
                  <a:pt x="3434" y="780"/>
                </a:lnTo>
                <a:lnTo>
                  <a:pt x="3418" y="793"/>
                </a:lnTo>
                <a:lnTo>
                  <a:pt x="3400" y="801"/>
                </a:lnTo>
                <a:lnTo>
                  <a:pt x="3381" y="803"/>
                </a:lnTo>
                <a:lnTo>
                  <a:pt x="3361" y="801"/>
                </a:lnTo>
                <a:lnTo>
                  <a:pt x="3343" y="793"/>
                </a:lnTo>
                <a:lnTo>
                  <a:pt x="3328" y="780"/>
                </a:lnTo>
                <a:lnTo>
                  <a:pt x="3316" y="766"/>
                </a:lnTo>
                <a:lnTo>
                  <a:pt x="3308" y="748"/>
                </a:lnTo>
                <a:lnTo>
                  <a:pt x="3306" y="727"/>
                </a:lnTo>
                <a:lnTo>
                  <a:pt x="3306" y="569"/>
                </a:lnTo>
                <a:lnTo>
                  <a:pt x="3308" y="548"/>
                </a:lnTo>
                <a:lnTo>
                  <a:pt x="3316" y="531"/>
                </a:lnTo>
                <a:lnTo>
                  <a:pt x="3328" y="515"/>
                </a:lnTo>
                <a:lnTo>
                  <a:pt x="3343" y="503"/>
                </a:lnTo>
                <a:lnTo>
                  <a:pt x="3361" y="496"/>
                </a:lnTo>
                <a:lnTo>
                  <a:pt x="3381" y="493"/>
                </a:lnTo>
                <a:close/>
                <a:moveTo>
                  <a:pt x="1728" y="493"/>
                </a:moveTo>
                <a:lnTo>
                  <a:pt x="1748" y="496"/>
                </a:lnTo>
                <a:lnTo>
                  <a:pt x="1766" y="503"/>
                </a:lnTo>
                <a:lnTo>
                  <a:pt x="1781" y="515"/>
                </a:lnTo>
                <a:lnTo>
                  <a:pt x="1793" y="531"/>
                </a:lnTo>
                <a:lnTo>
                  <a:pt x="1800" y="548"/>
                </a:lnTo>
                <a:lnTo>
                  <a:pt x="1803" y="569"/>
                </a:lnTo>
                <a:lnTo>
                  <a:pt x="1803" y="727"/>
                </a:lnTo>
                <a:lnTo>
                  <a:pt x="1800" y="748"/>
                </a:lnTo>
                <a:lnTo>
                  <a:pt x="1793" y="766"/>
                </a:lnTo>
                <a:lnTo>
                  <a:pt x="1781" y="780"/>
                </a:lnTo>
                <a:lnTo>
                  <a:pt x="1766" y="793"/>
                </a:lnTo>
                <a:lnTo>
                  <a:pt x="1748" y="801"/>
                </a:lnTo>
                <a:lnTo>
                  <a:pt x="1728" y="803"/>
                </a:lnTo>
                <a:lnTo>
                  <a:pt x="1708" y="801"/>
                </a:lnTo>
                <a:lnTo>
                  <a:pt x="1690" y="793"/>
                </a:lnTo>
                <a:lnTo>
                  <a:pt x="1675" y="780"/>
                </a:lnTo>
                <a:lnTo>
                  <a:pt x="1663" y="766"/>
                </a:lnTo>
                <a:lnTo>
                  <a:pt x="1656" y="748"/>
                </a:lnTo>
                <a:lnTo>
                  <a:pt x="1653" y="727"/>
                </a:lnTo>
                <a:lnTo>
                  <a:pt x="1653" y="569"/>
                </a:lnTo>
                <a:lnTo>
                  <a:pt x="1656" y="548"/>
                </a:lnTo>
                <a:lnTo>
                  <a:pt x="1663" y="531"/>
                </a:lnTo>
                <a:lnTo>
                  <a:pt x="1675" y="515"/>
                </a:lnTo>
                <a:lnTo>
                  <a:pt x="1690" y="503"/>
                </a:lnTo>
                <a:lnTo>
                  <a:pt x="1708" y="496"/>
                </a:lnTo>
                <a:lnTo>
                  <a:pt x="1728" y="493"/>
                </a:lnTo>
                <a:close/>
                <a:moveTo>
                  <a:pt x="75" y="493"/>
                </a:moveTo>
                <a:lnTo>
                  <a:pt x="95" y="496"/>
                </a:lnTo>
                <a:lnTo>
                  <a:pt x="113" y="503"/>
                </a:lnTo>
                <a:lnTo>
                  <a:pt x="129" y="515"/>
                </a:lnTo>
                <a:lnTo>
                  <a:pt x="140" y="531"/>
                </a:lnTo>
                <a:lnTo>
                  <a:pt x="148" y="548"/>
                </a:lnTo>
                <a:lnTo>
                  <a:pt x="151" y="569"/>
                </a:lnTo>
                <a:lnTo>
                  <a:pt x="151" y="727"/>
                </a:lnTo>
                <a:lnTo>
                  <a:pt x="148" y="748"/>
                </a:lnTo>
                <a:lnTo>
                  <a:pt x="140" y="766"/>
                </a:lnTo>
                <a:lnTo>
                  <a:pt x="129" y="780"/>
                </a:lnTo>
                <a:lnTo>
                  <a:pt x="113" y="793"/>
                </a:lnTo>
                <a:lnTo>
                  <a:pt x="95" y="801"/>
                </a:lnTo>
                <a:lnTo>
                  <a:pt x="75" y="803"/>
                </a:lnTo>
                <a:lnTo>
                  <a:pt x="56" y="801"/>
                </a:lnTo>
                <a:lnTo>
                  <a:pt x="38" y="793"/>
                </a:lnTo>
                <a:lnTo>
                  <a:pt x="22" y="780"/>
                </a:lnTo>
                <a:lnTo>
                  <a:pt x="10" y="766"/>
                </a:lnTo>
                <a:lnTo>
                  <a:pt x="3" y="748"/>
                </a:lnTo>
                <a:lnTo>
                  <a:pt x="0" y="727"/>
                </a:lnTo>
                <a:lnTo>
                  <a:pt x="0" y="569"/>
                </a:lnTo>
                <a:lnTo>
                  <a:pt x="3" y="548"/>
                </a:lnTo>
                <a:lnTo>
                  <a:pt x="10" y="531"/>
                </a:lnTo>
                <a:lnTo>
                  <a:pt x="22" y="515"/>
                </a:lnTo>
                <a:lnTo>
                  <a:pt x="38" y="503"/>
                </a:lnTo>
                <a:lnTo>
                  <a:pt x="56" y="496"/>
                </a:lnTo>
                <a:lnTo>
                  <a:pt x="75" y="493"/>
                </a:lnTo>
                <a:close/>
                <a:moveTo>
                  <a:pt x="2968" y="285"/>
                </a:moveTo>
                <a:lnTo>
                  <a:pt x="2988" y="287"/>
                </a:lnTo>
                <a:lnTo>
                  <a:pt x="3006" y="295"/>
                </a:lnTo>
                <a:lnTo>
                  <a:pt x="3021" y="307"/>
                </a:lnTo>
                <a:lnTo>
                  <a:pt x="3033" y="322"/>
                </a:lnTo>
                <a:lnTo>
                  <a:pt x="3040" y="340"/>
                </a:lnTo>
                <a:lnTo>
                  <a:pt x="3043" y="360"/>
                </a:lnTo>
                <a:lnTo>
                  <a:pt x="3043" y="727"/>
                </a:lnTo>
                <a:lnTo>
                  <a:pt x="3040" y="748"/>
                </a:lnTo>
                <a:lnTo>
                  <a:pt x="3033" y="766"/>
                </a:lnTo>
                <a:lnTo>
                  <a:pt x="3021" y="780"/>
                </a:lnTo>
                <a:lnTo>
                  <a:pt x="3006" y="793"/>
                </a:lnTo>
                <a:lnTo>
                  <a:pt x="2988" y="801"/>
                </a:lnTo>
                <a:lnTo>
                  <a:pt x="2968" y="803"/>
                </a:lnTo>
                <a:lnTo>
                  <a:pt x="2947" y="801"/>
                </a:lnTo>
                <a:lnTo>
                  <a:pt x="2929" y="793"/>
                </a:lnTo>
                <a:lnTo>
                  <a:pt x="2915" y="780"/>
                </a:lnTo>
                <a:lnTo>
                  <a:pt x="2903" y="766"/>
                </a:lnTo>
                <a:lnTo>
                  <a:pt x="2895" y="748"/>
                </a:lnTo>
                <a:lnTo>
                  <a:pt x="2893" y="727"/>
                </a:lnTo>
                <a:lnTo>
                  <a:pt x="2893" y="360"/>
                </a:lnTo>
                <a:lnTo>
                  <a:pt x="2895" y="340"/>
                </a:lnTo>
                <a:lnTo>
                  <a:pt x="2903" y="322"/>
                </a:lnTo>
                <a:lnTo>
                  <a:pt x="2915" y="307"/>
                </a:lnTo>
                <a:lnTo>
                  <a:pt x="2929" y="295"/>
                </a:lnTo>
                <a:lnTo>
                  <a:pt x="2947" y="287"/>
                </a:lnTo>
                <a:lnTo>
                  <a:pt x="2968" y="285"/>
                </a:lnTo>
                <a:close/>
                <a:moveTo>
                  <a:pt x="2142" y="285"/>
                </a:moveTo>
                <a:lnTo>
                  <a:pt x="2162" y="287"/>
                </a:lnTo>
                <a:lnTo>
                  <a:pt x="2179" y="295"/>
                </a:lnTo>
                <a:lnTo>
                  <a:pt x="2194" y="307"/>
                </a:lnTo>
                <a:lnTo>
                  <a:pt x="2207" y="322"/>
                </a:lnTo>
                <a:lnTo>
                  <a:pt x="2214" y="340"/>
                </a:lnTo>
                <a:lnTo>
                  <a:pt x="2216" y="360"/>
                </a:lnTo>
                <a:lnTo>
                  <a:pt x="2216" y="727"/>
                </a:lnTo>
                <a:lnTo>
                  <a:pt x="2214" y="748"/>
                </a:lnTo>
                <a:lnTo>
                  <a:pt x="2207" y="766"/>
                </a:lnTo>
                <a:lnTo>
                  <a:pt x="2194" y="780"/>
                </a:lnTo>
                <a:lnTo>
                  <a:pt x="2179" y="793"/>
                </a:lnTo>
                <a:lnTo>
                  <a:pt x="2162" y="801"/>
                </a:lnTo>
                <a:lnTo>
                  <a:pt x="2142" y="803"/>
                </a:lnTo>
                <a:lnTo>
                  <a:pt x="2122" y="801"/>
                </a:lnTo>
                <a:lnTo>
                  <a:pt x="2104" y="793"/>
                </a:lnTo>
                <a:lnTo>
                  <a:pt x="2088" y="780"/>
                </a:lnTo>
                <a:lnTo>
                  <a:pt x="2077" y="766"/>
                </a:lnTo>
                <a:lnTo>
                  <a:pt x="2069" y="748"/>
                </a:lnTo>
                <a:lnTo>
                  <a:pt x="2066" y="727"/>
                </a:lnTo>
                <a:lnTo>
                  <a:pt x="2066" y="360"/>
                </a:lnTo>
                <a:lnTo>
                  <a:pt x="2069" y="340"/>
                </a:lnTo>
                <a:lnTo>
                  <a:pt x="2077" y="322"/>
                </a:lnTo>
                <a:lnTo>
                  <a:pt x="2088" y="307"/>
                </a:lnTo>
                <a:lnTo>
                  <a:pt x="2104" y="295"/>
                </a:lnTo>
                <a:lnTo>
                  <a:pt x="2122" y="287"/>
                </a:lnTo>
                <a:lnTo>
                  <a:pt x="2142" y="285"/>
                </a:lnTo>
                <a:close/>
                <a:moveTo>
                  <a:pt x="1315" y="285"/>
                </a:moveTo>
                <a:lnTo>
                  <a:pt x="1335" y="287"/>
                </a:lnTo>
                <a:lnTo>
                  <a:pt x="1353" y="295"/>
                </a:lnTo>
                <a:lnTo>
                  <a:pt x="1368" y="307"/>
                </a:lnTo>
                <a:lnTo>
                  <a:pt x="1380" y="322"/>
                </a:lnTo>
                <a:lnTo>
                  <a:pt x="1388" y="340"/>
                </a:lnTo>
                <a:lnTo>
                  <a:pt x="1390" y="360"/>
                </a:lnTo>
                <a:lnTo>
                  <a:pt x="1390" y="727"/>
                </a:lnTo>
                <a:lnTo>
                  <a:pt x="1388" y="748"/>
                </a:lnTo>
                <a:lnTo>
                  <a:pt x="1380" y="766"/>
                </a:lnTo>
                <a:lnTo>
                  <a:pt x="1368" y="780"/>
                </a:lnTo>
                <a:lnTo>
                  <a:pt x="1353" y="793"/>
                </a:lnTo>
                <a:lnTo>
                  <a:pt x="1335" y="801"/>
                </a:lnTo>
                <a:lnTo>
                  <a:pt x="1315" y="803"/>
                </a:lnTo>
                <a:lnTo>
                  <a:pt x="1295" y="801"/>
                </a:lnTo>
                <a:lnTo>
                  <a:pt x="1277" y="793"/>
                </a:lnTo>
                <a:lnTo>
                  <a:pt x="1262" y="780"/>
                </a:lnTo>
                <a:lnTo>
                  <a:pt x="1250" y="766"/>
                </a:lnTo>
                <a:lnTo>
                  <a:pt x="1242" y="748"/>
                </a:lnTo>
                <a:lnTo>
                  <a:pt x="1240" y="727"/>
                </a:lnTo>
                <a:lnTo>
                  <a:pt x="1240" y="360"/>
                </a:lnTo>
                <a:lnTo>
                  <a:pt x="1242" y="340"/>
                </a:lnTo>
                <a:lnTo>
                  <a:pt x="1250" y="322"/>
                </a:lnTo>
                <a:lnTo>
                  <a:pt x="1262" y="307"/>
                </a:lnTo>
                <a:lnTo>
                  <a:pt x="1277" y="295"/>
                </a:lnTo>
                <a:lnTo>
                  <a:pt x="1295" y="287"/>
                </a:lnTo>
                <a:lnTo>
                  <a:pt x="1315" y="285"/>
                </a:lnTo>
                <a:close/>
                <a:moveTo>
                  <a:pt x="488" y="285"/>
                </a:moveTo>
                <a:lnTo>
                  <a:pt x="508" y="287"/>
                </a:lnTo>
                <a:lnTo>
                  <a:pt x="527" y="295"/>
                </a:lnTo>
                <a:lnTo>
                  <a:pt x="541" y="307"/>
                </a:lnTo>
                <a:lnTo>
                  <a:pt x="553" y="322"/>
                </a:lnTo>
                <a:lnTo>
                  <a:pt x="561" y="340"/>
                </a:lnTo>
                <a:lnTo>
                  <a:pt x="563" y="360"/>
                </a:lnTo>
                <a:lnTo>
                  <a:pt x="563" y="727"/>
                </a:lnTo>
                <a:lnTo>
                  <a:pt x="561" y="748"/>
                </a:lnTo>
                <a:lnTo>
                  <a:pt x="553" y="766"/>
                </a:lnTo>
                <a:lnTo>
                  <a:pt x="541" y="780"/>
                </a:lnTo>
                <a:lnTo>
                  <a:pt x="527" y="793"/>
                </a:lnTo>
                <a:lnTo>
                  <a:pt x="508" y="801"/>
                </a:lnTo>
                <a:lnTo>
                  <a:pt x="488" y="803"/>
                </a:lnTo>
                <a:lnTo>
                  <a:pt x="468" y="801"/>
                </a:lnTo>
                <a:lnTo>
                  <a:pt x="450" y="793"/>
                </a:lnTo>
                <a:lnTo>
                  <a:pt x="436" y="780"/>
                </a:lnTo>
                <a:lnTo>
                  <a:pt x="423" y="766"/>
                </a:lnTo>
                <a:lnTo>
                  <a:pt x="416" y="748"/>
                </a:lnTo>
                <a:lnTo>
                  <a:pt x="414" y="727"/>
                </a:lnTo>
                <a:lnTo>
                  <a:pt x="414" y="360"/>
                </a:lnTo>
                <a:lnTo>
                  <a:pt x="416" y="340"/>
                </a:lnTo>
                <a:lnTo>
                  <a:pt x="423" y="322"/>
                </a:lnTo>
                <a:lnTo>
                  <a:pt x="436" y="307"/>
                </a:lnTo>
                <a:lnTo>
                  <a:pt x="450" y="295"/>
                </a:lnTo>
                <a:lnTo>
                  <a:pt x="468" y="287"/>
                </a:lnTo>
                <a:lnTo>
                  <a:pt x="488" y="285"/>
                </a:lnTo>
                <a:close/>
                <a:moveTo>
                  <a:pt x="2555" y="0"/>
                </a:moveTo>
                <a:lnTo>
                  <a:pt x="2575" y="2"/>
                </a:lnTo>
                <a:lnTo>
                  <a:pt x="2593" y="10"/>
                </a:lnTo>
                <a:lnTo>
                  <a:pt x="2608" y="22"/>
                </a:lnTo>
                <a:lnTo>
                  <a:pt x="2619" y="37"/>
                </a:lnTo>
                <a:lnTo>
                  <a:pt x="2628" y="55"/>
                </a:lnTo>
                <a:lnTo>
                  <a:pt x="2630" y="75"/>
                </a:lnTo>
                <a:lnTo>
                  <a:pt x="2630" y="879"/>
                </a:lnTo>
                <a:lnTo>
                  <a:pt x="2628" y="899"/>
                </a:lnTo>
                <a:lnTo>
                  <a:pt x="2619" y="917"/>
                </a:lnTo>
                <a:lnTo>
                  <a:pt x="2608" y="931"/>
                </a:lnTo>
                <a:lnTo>
                  <a:pt x="2593" y="944"/>
                </a:lnTo>
                <a:lnTo>
                  <a:pt x="2575" y="951"/>
                </a:lnTo>
                <a:lnTo>
                  <a:pt x="2555" y="953"/>
                </a:lnTo>
                <a:lnTo>
                  <a:pt x="2535" y="951"/>
                </a:lnTo>
                <a:lnTo>
                  <a:pt x="2517" y="944"/>
                </a:lnTo>
                <a:lnTo>
                  <a:pt x="2502" y="931"/>
                </a:lnTo>
                <a:lnTo>
                  <a:pt x="2490" y="917"/>
                </a:lnTo>
                <a:lnTo>
                  <a:pt x="2483" y="899"/>
                </a:lnTo>
                <a:lnTo>
                  <a:pt x="2480" y="879"/>
                </a:lnTo>
                <a:lnTo>
                  <a:pt x="2480" y="75"/>
                </a:lnTo>
                <a:lnTo>
                  <a:pt x="2483" y="55"/>
                </a:lnTo>
                <a:lnTo>
                  <a:pt x="2490" y="37"/>
                </a:lnTo>
                <a:lnTo>
                  <a:pt x="2502" y="22"/>
                </a:lnTo>
                <a:lnTo>
                  <a:pt x="2517" y="10"/>
                </a:lnTo>
                <a:lnTo>
                  <a:pt x="2535" y="2"/>
                </a:lnTo>
                <a:lnTo>
                  <a:pt x="2555" y="0"/>
                </a:lnTo>
                <a:close/>
                <a:moveTo>
                  <a:pt x="902" y="0"/>
                </a:moveTo>
                <a:lnTo>
                  <a:pt x="922" y="2"/>
                </a:lnTo>
                <a:lnTo>
                  <a:pt x="939" y="10"/>
                </a:lnTo>
                <a:lnTo>
                  <a:pt x="955" y="22"/>
                </a:lnTo>
                <a:lnTo>
                  <a:pt x="967" y="37"/>
                </a:lnTo>
                <a:lnTo>
                  <a:pt x="974" y="55"/>
                </a:lnTo>
                <a:lnTo>
                  <a:pt x="977" y="75"/>
                </a:lnTo>
                <a:lnTo>
                  <a:pt x="977" y="879"/>
                </a:lnTo>
                <a:lnTo>
                  <a:pt x="974" y="899"/>
                </a:lnTo>
                <a:lnTo>
                  <a:pt x="967" y="917"/>
                </a:lnTo>
                <a:lnTo>
                  <a:pt x="955" y="931"/>
                </a:lnTo>
                <a:lnTo>
                  <a:pt x="939" y="944"/>
                </a:lnTo>
                <a:lnTo>
                  <a:pt x="922" y="951"/>
                </a:lnTo>
                <a:lnTo>
                  <a:pt x="902" y="953"/>
                </a:lnTo>
                <a:lnTo>
                  <a:pt x="882" y="951"/>
                </a:lnTo>
                <a:lnTo>
                  <a:pt x="864" y="944"/>
                </a:lnTo>
                <a:lnTo>
                  <a:pt x="848" y="931"/>
                </a:lnTo>
                <a:lnTo>
                  <a:pt x="837" y="917"/>
                </a:lnTo>
                <a:lnTo>
                  <a:pt x="829" y="899"/>
                </a:lnTo>
                <a:lnTo>
                  <a:pt x="826" y="879"/>
                </a:lnTo>
                <a:lnTo>
                  <a:pt x="826" y="75"/>
                </a:lnTo>
                <a:lnTo>
                  <a:pt x="829" y="55"/>
                </a:lnTo>
                <a:lnTo>
                  <a:pt x="837" y="37"/>
                </a:lnTo>
                <a:lnTo>
                  <a:pt x="848" y="22"/>
                </a:lnTo>
                <a:lnTo>
                  <a:pt x="864" y="10"/>
                </a:lnTo>
                <a:lnTo>
                  <a:pt x="882" y="2"/>
                </a:lnTo>
                <a:lnTo>
                  <a:pt x="902" y="0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spcFirstLastPara="1" wrap="square" lIns="121900" tIns="60933" rIns="121900" bIns="60933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2400" b="0" i="0" u="none" strike="noStrike" cap="none">
              <a:solidFill>
                <a:schemeClr val="tx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C7229477-EAC3-40F5-B1BE-2AB2EFB5842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666" y="1612900"/>
            <a:ext cx="4963585" cy="1924049"/>
          </a:xfrm>
        </p:spPr>
        <p:txBody>
          <a:bodyPr anchor="b" anchorCtr="0">
            <a:noAutofit/>
          </a:bodyPr>
          <a:lstStyle>
            <a:lvl1pPr>
              <a:defRPr sz="48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228FA3E3-32F7-49E3-B1E5-3925A1590B2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19666" y="4322233"/>
            <a:ext cx="4480983" cy="419099"/>
          </a:xfrm>
          <a:prstGeom prst="rect">
            <a:avLst/>
          </a:prstGeom>
        </p:spPr>
        <p:txBody>
          <a:bodyPr>
            <a:noAutofit/>
          </a:bodyPr>
          <a:lstStyle>
            <a:lvl1pPr marR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600"/>
              <a:buFont typeface="Arial"/>
              <a:defRPr lang="en-US" sz="1400" b="0" i="0" u="none" strike="noStrike" cap="none" dirty="0">
                <a:solidFill>
                  <a:schemeClr val="bg2"/>
                </a:solidFill>
                <a:latin typeface="+mn-lt"/>
                <a:ea typeface="Arial"/>
                <a:cs typeface="CiscoSansTT ExtraLight" panose="020B0303020201020303" pitchFamily="34" charset="0"/>
                <a:sym typeface="Arial"/>
              </a:defRPr>
            </a:lvl1pPr>
            <a:lvl2pPr>
              <a:defRPr sz="2133" b="0" i="0">
                <a:solidFill>
                  <a:schemeClr val="tx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defRPr>
            </a:lvl2pPr>
            <a:lvl3pPr>
              <a:defRPr sz="2133" b="0" i="0">
                <a:solidFill>
                  <a:schemeClr val="tx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defRPr>
            </a:lvl3pPr>
            <a:lvl4pPr>
              <a:defRPr sz="2133" b="0" i="0">
                <a:solidFill>
                  <a:schemeClr val="tx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defRPr>
            </a:lvl4pPr>
            <a:lvl5pPr>
              <a:defRPr sz="2133" b="0" i="0">
                <a:solidFill>
                  <a:schemeClr val="tx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defRPr>
            </a:lvl5pPr>
          </a:lstStyle>
          <a:p>
            <a:pPr lvl="0"/>
            <a:r>
              <a:rPr lang="en-GB"/>
              <a:t>00th of Month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93213566"/>
      </p:ext>
    </p:extLst>
  </p:cSld>
  <p:clrMapOvr>
    <a:masterClrMapping/>
  </p:clrMapOvr>
</p:sldLayout>
</file>

<file path=ppt/slideLayouts/slideLayout2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9">
            <a:extLst>
              <a:ext uri="{FF2B5EF4-FFF2-40B4-BE49-F238E27FC236}">
                <a16:creationId xmlns:a16="http://schemas.microsoft.com/office/drawing/2014/main" id="{9A95AC2F-9EAD-CC4E-865A-376F9679AA5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19667" y="2070101"/>
            <a:ext cx="4799243" cy="2252662"/>
          </a:xfrm>
          <a:prstGeom prst="rect">
            <a:avLst/>
          </a:prstGeom>
        </p:spPr>
        <p:txBody>
          <a:bodyPr/>
          <a:lstStyle>
            <a:lvl1pPr>
              <a:defRPr sz="4800" b="0" i="0">
                <a:solidFill>
                  <a:schemeClr val="tx1"/>
                </a:solidFill>
                <a:latin typeface="+mj-lt"/>
                <a:cs typeface="CiscoSansTT ExtraLight" panose="020B0303020201020303" pitchFamily="34" charset="0"/>
              </a:defRPr>
            </a:lvl1pPr>
          </a:lstStyle>
          <a:p>
            <a:pPr lvl="0"/>
            <a:r>
              <a:rPr lang="en-GB"/>
              <a:t>Click to add title</a:t>
            </a:r>
            <a:endParaRPr lang="en-US"/>
          </a:p>
        </p:txBody>
      </p:sp>
      <p:sp>
        <p:nvSpPr>
          <p:cNvPr id="23" name="Picture Placeholder 22">
            <a:extLst>
              <a:ext uri="{FF2B5EF4-FFF2-40B4-BE49-F238E27FC236}">
                <a16:creationId xmlns:a16="http://schemas.microsoft.com/office/drawing/2014/main" id="{4AF3F36D-8FA3-4219-A5CD-1DB9A679760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261100" y="0"/>
            <a:ext cx="5930899" cy="6858000"/>
          </a:xfrm>
          <a:custGeom>
            <a:avLst/>
            <a:gdLst>
              <a:gd name="connsiteX0" fmla="*/ 2571750 w 4448174"/>
              <a:gd name="connsiteY0" fmla="*/ 0 h 5143500"/>
              <a:gd name="connsiteX1" fmla="*/ 3925599 w 4448174"/>
              <a:gd name="connsiteY1" fmla="*/ 0 h 5143500"/>
              <a:gd name="connsiteX2" fmla="*/ 4146550 w 4448174"/>
              <a:gd name="connsiteY2" fmla="*/ 0 h 5143500"/>
              <a:gd name="connsiteX3" fmla="*/ 4448174 w 4448174"/>
              <a:gd name="connsiteY3" fmla="*/ 0 h 5143500"/>
              <a:gd name="connsiteX4" fmla="*/ 4448174 w 4448174"/>
              <a:gd name="connsiteY4" fmla="*/ 5143500 h 5143500"/>
              <a:gd name="connsiteX5" fmla="*/ 4146550 w 4448174"/>
              <a:gd name="connsiteY5" fmla="*/ 5143500 h 5143500"/>
              <a:gd name="connsiteX6" fmla="*/ 3925599 w 4448174"/>
              <a:gd name="connsiteY6" fmla="*/ 5143500 h 5143500"/>
              <a:gd name="connsiteX7" fmla="*/ 2571750 w 4448174"/>
              <a:gd name="connsiteY7" fmla="*/ 5143500 h 5143500"/>
              <a:gd name="connsiteX8" fmla="*/ 0 w 4448174"/>
              <a:gd name="connsiteY8" fmla="*/ 2571750 h 5143500"/>
              <a:gd name="connsiteX9" fmla="*/ 2571750 w 4448174"/>
              <a:gd name="connsiteY9" fmla="*/ 0 h 5143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4448174" h="5143500">
                <a:moveTo>
                  <a:pt x="2571750" y="0"/>
                </a:moveTo>
                <a:lnTo>
                  <a:pt x="3925599" y="0"/>
                </a:lnTo>
                <a:lnTo>
                  <a:pt x="4146550" y="0"/>
                </a:lnTo>
                <a:lnTo>
                  <a:pt x="4448174" y="0"/>
                </a:lnTo>
                <a:lnTo>
                  <a:pt x="4448174" y="5143500"/>
                </a:lnTo>
                <a:lnTo>
                  <a:pt x="4146550" y="5143500"/>
                </a:lnTo>
                <a:lnTo>
                  <a:pt x="3925599" y="5143500"/>
                </a:lnTo>
                <a:lnTo>
                  <a:pt x="2571750" y="5143500"/>
                </a:lnTo>
                <a:cubicBezTo>
                  <a:pt x="1151412" y="5143500"/>
                  <a:pt x="0" y="3992088"/>
                  <a:pt x="0" y="2571750"/>
                </a:cubicBezTo>
                <a:cubicBezTo>
                  <a:pt x="0" y="1151412"/>
                  <a:pt x="1151412" y="0"/>
                  <a:pt x="2571750" y="0"/>
                </a:cubicBezTo>
                <a:close/>
              </a:path>
            </a:pathLst>
          </a:custGeom>
          <a:solidFill>
            <a:srgbClr val="EDF1F6"/>
          </a:solidFill>
        </p:spPr>
        <p:txBody>
          <a:bodyPr wrap="square">
            <a:noAutofit/>
          </a:bodyPr>
          <a:lstStyle/>
          <a:p>
            <a:endParaRPr lang="en-US"/>
          </a:p>
        </p:txBody>
      </p:sp>
      <p:sp>
        <p:nvSpPr>
          <p:cNvPr id="21" name="Picture Placeholder 10">
            <a:extLst>
              <a:ext uri="{FF2B5EF4-FFF2-40B4-BE49-F238E27FC236}">
                <a16:creationId xmlns:a16="http://schemas.microsoft.com/office/drawing/2014/main" id="{9442949A-ED6E-4DA8-9A45-1668588B47B1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673003" y="5080000"/>
            <a:ext cx="1225163" cy="1225160"/>
          </a:xfrm>
          <a:prstGeom prst="rect">
            <a:avLst/>
          </a:prstGeo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>
                <a:noFill/>
              </a:defRPr>
            </a:lvl1pPr>
          </a:lstStyle>
          <a:p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90FDC25-9729-4F65-930E-87A29BCB5C7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19138" y="1613134"/>
            <a:ext cx="4799012" cy="410400"/>
          </a:xfrm>
        </p:spPr>
        <p:txBody>
          <a:bodyPr/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Insert text here</a:t>
            </a:r>
          </a:p>
        </p:txBody>
      </p:sp>
    </p:spTree>
    <p:extLst>
      <p:ext uri="{BB962C8B-B14F-4D97-AF65-F5344CB8AC3E}">
        <p14:creationId xmlns:p14="http://schemas.microsoft.com/office/powerpoint/2010/main" val="178243967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Text Placeholder 23">
            <a:extLst>
              <a:ext uri="{FF2B5EF4-FFF2-40B4-BE49-F238E27FC236}">
                <a16:creationId xmlns:a16="http://schemas.microsoft.com/office/drawing/2014/main" id="{A934575A-85EC-4073-BC40-5A80AF9728F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489618" y="1754689"/>
            <a:ext cx="463125" cy="463124"/>
          </a:xfrm>
          <a:prstGeom prst="ellipse">
            <a:avLst/>
          </a:prstGeom>
          <a:solidFill>
            <a:schemeClr val="accent1"/>
          </a:solidFill>
        </p:spPr>
        <p:txBody>
          <a:bodyPr lIns="0" tIns="0" rIns="0" bIns="0" anchor="ctr" anchorCtr="0"/>
          <a:lstStyle>
            <a:lvl1pPr algn="ctr">
              <a:defRPr sz="1600">
                <a:solidFill>
                  <a:schemeClr val="bg1"/>
                </a:solidFill>
                <a:latin typeface="+mn-lt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(#)</a:t>
            </a:r>
          </a:p>
        </p:txBody>
      </p:sp>
      <p:sp>
        <p:nvSpPr>
          <p:cNvPr id="27" name="Text Placeholder 23">
            <a:extLst>
              <a:ext uri="{FF2B5EF4-FFF2-40B4-BE49-F238E27FC236}">
                <a16:creationId xmlns:a16="http://schemas.microsoft.com/office/drawing/2014/main" id="{B194B551-9D89-4F8B-BDD0-DBFCDD72D71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489618" y="2528119"/>
            <a:ext cx="463125" cy="463124"/>
          </a:xfrm>
          <a:prstGeom prst="ellipse">
            <a:avLst/>
          </a:prstGeom>
          <a:solidFill>
            <a:schemeClr val="accent1"/>
          </a:solidFill>
        </p:spPr>
        <p:txBody>
          <a:bodyPr lIns="0" tIns="0" rIns="0" bIns="0" anchor="ctr" anchorCtr="0"/>
          <a:lstStyle>
            <a:lvl1pPr algn="ctr">
              <a:defRPr sz="1600">
                <a:solidFill>
                  <a:schemeClr val="bg1"/>
                </a:solidFill>
                <a:latin typeface="+mn-lt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(#)</a:t>
            </a:r>
          </a:p>
        </p:txBody>
      </p:sp>
      <p:sp>
        <p:nvSpPr>
          <p:cNvPr id="28" name="Text Placeholder 23">
            <a:extLst>
              <a:ext uri="{FF2B5EF4-FFF2-40B4-BE49-F238E27FC236}">
                <a16:creationId xmlns:a16="http://schemas.microsoft.com/office/drawing/2014/main" id="{724E0C06-B347-44E1-BE44-CC39258896C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489618" y="3301549"/>
            <a:ext cx="463125" cy="463124"/>
          </a:xfrm>
          <a:prstGeom prst="ellipse">
            <a:avLst/>
          </a:prstGeom>
          <a:solidFill>
            <a:schemeClr val="accent1"/>
          </a:solidFill>
        </p:spPr>
        <p:txBody>
          <a:bodyPr lIns="0" tIns="0" rIns="0" bIns="0" anchor="ctr" anchorCtr="0"/>
          <a:lstStyle>
            <a:lvl1pPr algn="ctr">
              <a:defRPr sz="1600">
                <a:solidFill>
                  <a:schemeClr val="bg1"/>
                </a:solidFill>
                <a:latin typeface="+mn-lt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(#)</a:t>
            </a:r>
          </a:p>
        </p:txBody>
      </p:sp>
      <p:sp>
        <p:nvSpPr>
          <p:cNvPr id="29" name="Text Placeholder 23">
            <a:extLst>
              <a:ext uri="{FF2B5EF4-FFF2-40B4-BE49-F238E27FC236}">
                <a16:creationId xmlns:a16="http://schemas.microsoft.com/office/drawing/2014/main" id="{387A1886-320B-4F84-8140-CAC80774DD5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489618" y="4074980"/>
            <a:ext cx="463125" cy="463124"/>
          </a:xfrm>
          <a:prstGeom prst="ellipse">
            <a:avLst/>
          </a:prstGeom>
          <a:solidFill>
            <a:schemeClr val="accent1"/>
          </a:solidFill>
        </p:spPr>
        <p:txBody>
          <a:bodyPr lIns="0" tIns="0" rIns="0" bIns="0" anchor="ctr" anchorCtr="0"/>
          <a:lstStyle>
            <a:lvl1pPr algn="ctr">
              <a:defRPr sz="1600">
                <a:solidFill>
                  <a:schemeClr val="bg1"/>
                </a:solidFill>
                <a:latin typeface="+mn-lt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(#)</a:t>
            </a:r>
          </a:p>
        </p:txBody>
      </p:sp>
      <p:sp>
        <p:nvSpPr>
          <p:cNvPr id="30" name="Text Placeholder 23">
            <a:extLst>
              <a:ext uri="{FF2B5EF4-FFF2-40B4-BE49-F238E27FC236}">
                <a16:creationId xmlns:a16="http://schemas.microsoft.com/office/drawing/2014/main" id="{A1C3FF93-83D9-48D7-8495-968320A4A20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489618" y="4848409"/>
            <a:ext cx="463125" cy="463124"/>
          </a:xfrm>
          <a:prstGeom prst="ellipse">
            <a:avLst/>
          </a:prstGeom>
          <a:solidFill>
            <a:schemeClr val="accent1"/>
          </a:solidFill>
        </p:spPr>
        <p:txBody>
          <a:bodyPr lIns="0" tIns="0" rIns="0" bIns="0" anchor="ctr" anchorCtr="0"/>
          <a:lstStyle>
            <a:lvl1pPr algn="ctr">
              <a:defRPr sz="1600">
                <a:solidFill>
                  <a:schemeClr val="bg1"/>
                </a:solidFill>
                <a:latin typeface="+mn-lt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(#)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B592C14-52D0-4997-864B-3B6418B8F6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667" y="1612900"/>
            <a:ext cx="4015907" cy="2709335"/>
          </a:xfrm>
        </p:spPr>
        <p:txBody>
          <a:bodyPr>
            <a:noAutofit/>
          </a:bodyPr>
          <a:lstStyle>
            <a:lvl1pPr>
              <a:defRPr sz="48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4DFC6FD-0F66-4380-A76E-F5DB6598CAA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77848" y="1797050"/>
            <a:ext cx="4401251" cy="378000"/>
          </a:xfrm>
        </p:spPr>
        <p:txBody>
          <a:bodyPr anchor="ctr" anchorCtr="0"/>
          <a:lstStyle>
            <a:lvl1pPr>
              <a:defRPr sz="2000"/>
            </a:lvl1pPr>
          </a:lstStyle>
          <a:p>
            <a:pPr lvl="0"/>
            <a:r>
              <a:rPr lang="en-US"/>
              <a:t>Insert section header here</a:t>
            </a:r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A90CABDF-A582-4377-BC98-C2B20669F68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177848" y="2570530"/>
            <a:ext cx="4401251" cy="378000"/>
          </a:xfrm>
        </p:spPr>
        <p:txBody>
          <a:bodyPr anchor="ctr" anchorCtr="0"/>
          <a:lstStyle>
            <a:lvl1pPr>
              <a:defRPr sz="2000"/>
            </a:lvl1pPr>
          </a:lstStyle>
          <a:p>
            <a:pPr lvl="0"/>
            <a:r>
              <a:rPr lang="en-US"/>
              <a:t>Insert section header here</a:t>
            </a:r>
          </a:p>
        </p:txBody>
      </p:sp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12A9AE11-9DE5-4933-B9CC-4F3BAC42378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177848" y="3344010"/>
            <a:ext cx="4401251" cy="378000"/>
          </a:xfrm>
        </p:spPr>
        <p:txBody>
          <a:bodyPr anchor="ctr" anchorCtr="0"/>
          <a:lstStyle>
            <a:lvl1pPr>
              <a:defRPr sz="2000"/>
            </a:lvl1pPr>
          </a:lstStyle>
          <a:p>
            <a:pPr lvl="0"/>
            <a:r>
              <a:rPr lang="en-US"/>
              <a:t>Insert section header here</a:t>
            </a:r>
          </a:p>
        </p:txBody>
      </p:sp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ADF2D992-D698-4D00-8977-C598D99330AE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177848" y="4117490"/>
            <a:ext cx="4401251" cy="378000"/>
          </a:xfrm>
        </p:spPr>
        <p:txBody>
          <a:bodyPr anchor="ctr" anchorCtr="0"/>
          <a:lstStyle>
            <a:lvl1pPr>
              <a:defRPr sz="2000"/>
            </a:lvl1pPr>
          </a:lstStyle>
          <a:p>
            <a:pPr lvl="0"/>
            <a:r>
              <a:rPr lang="en-US"/>
              <a:t>Insert section header here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F6CD6594-DE89-498A-ABB4-1E3EE4B04E3A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177848" y="4890971"/>
            <a:ext cx="4401251" cy="378000"/>
          </a:xfrm>
        </p:spPr>
        <p:txBody>
          <a:bodyPr anchor="ctr" anchorCtr="0"/>
          <a:lstStyle>
            <a:lvl1pPr>
              <a:defRPr sz="2000"/>
            </a:lvl1pPr>
          </a:lstStyle>
          <a:p>
            <a:pPr lvl="0"/>
            <a:r>
              <a:rPr lang="en-US"/>
              <a:t>Insert section header here</a:t>
            </a:r>
          </a:p>
        </p:txBody>
      </p:sp>
    </p:spTree>
    <p:extLst>
      <p:ext uri="{BB962C8B-B14F-4D97-AF65-F5344CB8AC3E}">
        <p14:creationId xmlns:p14="http://schemas.microsoft.com/office/powerpoint/2010/main" val="3916570561"/>
      </p:ext>
    </p:extLst>
  </p:cSld>
  <p:clrMapOvr>
    <a:masterClrMapping/>
  </p:clrMapOvr>
</p:sldLayout>
</file>

<file path=ppt/slideLayouts/slideLayout2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 Layou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9">
            <a:extLst>
              <a:ext uri="{FF2B5EF4-FFF2-40B4-BE49-F238E27FC236}">
                <a16:creationId xmlns:a16="http://schemas.microsoft.com/office/drawing/2014/main" id="{9ECE22FA-A92C-FA45-B637-1203617C607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19667" y="2070101"/>
            <a:ext cx="4798483" cy="2252662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4800" b="0" i="0">
                <a:solidFill>
                  <a:schemeClr val="tx1"/>
                </a:solidFill>
                <a:latin typeface="+mj-lt"/>
                <a:cs typeface="CiscoSansTT ExtraLight" panose="020B0303020201020303" pitchFamily="34" charset="0"/>
              </a:defRPr>
            </a:lvl1pPr>
          </a:lstStyle>
          <a:p>
            <a:pPr lvl="0"/>
            <a:r>
              <a:rPr lang="en-GB"/>
              <a:t>Click to add title</a:t>
            </a:r>
            <a:endParaRPr lang="en-US"/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88432BE0-139C-48C7-A6D6-0DC95B36111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19138" y="1613134"/>
            <a:ext cx="4799012" cy="410400"/>
          </a:xfrm>
        </p:spPr>
        <p:txBody>
          <a:bodyPr/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Insert text here</a:t>
            </a:r>
          </a:p>
        </p:txBody>
      </p:sp>
    </p:spTree>
    <p:extLst>
      <p:ext uri="{BB962C8B-B14F-4D97-AF65-F5344CB8AC3E}">
        <p14:creationId xmlns:p14="http://schemas.microsoft.com/office/powerpoint/2010/main" val="86140648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and Content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832D9A9B-B135-4985-B11A-28D42D9F034F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927600" y="5306484"/>
            <a:ext cx="1168400" cy="1168400"/>
          </a:xfrm>
          <a:prstGeom prst="rect">
            <a:avLst/>
          </a:prstGeo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>
                <a:noFill/>
              </a:defRPr>
            </a:lvl1pPr>
          </a:lstStyle>
          <a:p>
            <a:endParaRPr lang="en-US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157636CD-277F-4975-A395-D6CE18D6CA69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1" y="0"/>
            <a:ext cx="6547204" cy="6858000"/>
          </a:xfrm>
          <a:custGeom>
            <a:avLst/>
            <a:gdLst>
              <a:gd name="connsiteX0" fmla="*/ 0 w 4910403"/>
              <a:gd name="connsiteY0" fmla="*/ 0 h 5143500"/>
              <a:gd name="connsiteX1" fmla="*/ 2338653 w 4910403"/>
              <a:gd name="connsiteY1" fmla="*/ 0 h 5143500"/>
              <a:gd name="connsiteX2" fmla="*/ 4910403 w 4910403"/>
              <a:gd name="connsiteY2" fmla="*/ 2571750 h 5143500"/>
              <a:gd name="connsiteX3" fmla="*/ 2338653 w 4910403"/>
              <a:gd name="connsiteY3" fmla="*/ 5143500 h 5143500"/>
              <a:gd name="connsiteX4" fmla="*/ 0 w 4910403"/>
              <a:gd name="connsiteY4" fmla="*/ 5143500 h 5143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910403" h="5143500">
                <a:moveTo>
                  <a:pt x="0" y="0"/>
                </a:moveTo>
                <a:lnTo>
                  <a:pt x="2338653" y="0"/>
                </a:lnTo>
                <a:cubicBezTo>
                  <a:pt x="3758991" y="0"/>
                  <a:pt x="4910403" y="1151412"/>
                  <a:pt x="4910403" y="2571750"/>
                </a:cubicBezTo>
                <a:cubicBezTo>
                  <a:pt x="4910403" y="3992088"/>
                  <a:pt x="3758991" y="5143500"/>
                  <a:pt x="2338653" y="5143500"/>
                </a:cubicBezTo>
                <a:lnTo>
                  <a:pt x="0" y="5143500"/>
                </a:lnTo>
                <a:close/>
              </a:path>
            </a:pathLst>
          </a:custGeom>
          <a:solidFill>
            <a:srgbClr val="F5F6F9"/>
          </a:solidFill>
        </p:spPr>
        <p:txBody>
          <a:bodyPr wrap="square">
            <a:noAutofit/>
          </a:bodyPr>
          <a:lstStyle/>
          <a:p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6326DED-1CA6-478E-8CEC-675ED4202D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334249" y="1155699"/>
            <a:ext cx="4138084" cy="13636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8C3E427-5A91-4F5B-B77A-1EDFE15A7C7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334251" y="2524583"/>
            <a:ext cx="4138082" cy="359681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ED4116A-CF46-4004-B88C-DFA634D1B9F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7334249" y="6121401"/>
            <a:ext cx="4138084" cy="353484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8033902"/>
      </p:ext>
    </p:extLst>
  </p:cSld>
  <p:clrMapOvr>
    <a:masterClrMapping/>
  </p:clrMapOvr>
</p:sldLayout>
</file>

<file path=ppt/slideLayouts/slideLayout2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int 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Picture Placeholder 20">
            <a:extLst>
              <a:ext uri="{FF2B5EF4-FFF2-40B4-BE49-F238E27FC236}">
                <a16:creationId xmlns:a16="http://schemas.microsoft.com/office/drawing/2014/main" id="{1D26312F-CA6A-45D5-9C6C-0228BE4FD2ED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393167" y="893967"/>
            <a:ext cx="1322400" cy="5964032"/>
          </a:xfrm>
          <a:custGeom>
            <a:avLst/>
            <a:gdLst>
              <a:gd name="connsiteX0" fmla="*/ 486101 w 991800"/>
              <a:gd name="connsiteY0" fmla="*/ 0 h 4473024"/>
              <a:gd name="connsiteX1" fmla="*/ 505699 w 991800"/>
              <a:gd name="connsiteY1" fmla="*/ 0 h 4473024"/>
              <a:gd name="connsiteX2" fmla="*/ 991800 w 991800"/>
              <a:gd name="connsiteY2" fmla="*/ 486101 h 4473024"/>
              <a:gd name="connsiteX3" fmla="*/ 991800 w 991800"/>
              <a:gd name="connsiteY3" fmla="*/ 4473024 h 4473024"/>
              <a:gd name="connsiteX4" fmla="*/ 0 w 991800"/>
              <a:gd name="connsiteY4" fmla="*/ 4473024 h 4473024"/>
              <a:gd name="connsiteX5" fmla="*/ 0 w 991800"/>
              <a:gd name="connsiteY5" fmla="*/ 486101 h 4473024"/>
              <a:gd name="connsiteX6" fmla="*/ 486101 w 991800"/>
              <a:gd name="connsiteY6" fmla="*/ 0 h 4473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991800" h="4473024">
                <a:moveTo>
                  <a:pt x="486101" y="0"/>
                </a:moveTo>
                <a:lnTo>
                  <a:pt x="505699" y="0"/>
                </a:lnTo>
                <a:cubicBezTo>
                  <a:pt x="774165" y="0"/>
                  <a:pt x="991800" y="217635"/>
                  <a:pt x="991800" y="486101"/>
                </a:cubicBezTo>
                <a:lnTo>
                  <a:pt x="991800" y="4473024"/>
                </a:lnTo>
                <a:lnTo>
                  <a:pt x="0" y="4473024"/>
                </a:lnTo>
                <a:lnTo>
                  <a:pt x="0" y="486101"/>
                </a:lnTo>
                <a:cubicBezTo>
                  <a:pt x="0" y="217635"/>
                  <a:pt x="217635" y="0"/>
                  <a:pt x="486101" y="0"/>
                </a:cubicBezTo>
                <a:close/>
              </a:path>
            </a:pathLst>
          </a:custGeom>
          <a:solidFill>
            <a:srgbClr val="F5F6F9"/>
          </a:solidFill>
        </p:spPr>
        <p:txBody>
          <a:bodyPr wrap="square">
            <a:noAutofit/>
          </a:bodyPr>
          <a:lstStyle>
            <a:lvl1pPr>
              <a:defRPr>
                <a:noFill/>
              </a:defRPr>
            </a:lvl1pPr>
          </a:lstStyle>
          <a:p>
            <a:endParaRPr lang="en-US"/>
          </a:p>
        </p:txBody>
      </p:sp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BCD01C55-168C-4557-8869-5CE381C20B48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711203" y="1"/>
            <a:ext cx="2421199" cy="3809900"/>
          </a:xfrm>
          <a:custGeom>
            <a:avLst/>
            <a:gdLst>
              <a:gd name="connsiteX0" fmla="*/ 0 w 1815899"/>
              <a:gd name="connsiteY0" fmla="*/ 0 h 2857425"/>
              <a:gd name="connsiteX1" fmla="*/ 1815899 w 1815899"/>
              <a:gd name="connsiteY1" fmla="*/ 0 h 2857425"/>
              <a:gd name="connsiteX2" fmla="*/ 1815899 w 1815899"/>
              <a:gd name="connsiteY2" fmla="*/ 1949475 h 2857425"/>
              <a:gd name="connsiteX3" fmla="*/ 907949 w 1815899"/>
              <a:gd name="connsiteY3" fmla="*/ 2857425 h 2857425"/>
              <a:gd name="connsiteX4" fmla="*/ 4687 w 1815899"/>
              <a:gd name="connsiteY4" fmla="*/ 2042308 h 2857425"/>
              <a:gd name="connsiteX5" fmla="*/ 0 w 1815899"/>
              <a:gd name="connsiteY5" fmla="*/ 1949495 h 28574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815899" h="2857425">
                <a:moveTo>
                  <a:pt x="0" y="0"/>
                </a:moveTo>
                <a:lnTo>
                  <a:pt x="1815899" y="0"/>
                </a:lnTo>
                <a:lnTo>
                  <a:pt x="1815899" y="1949475"/>
                </a:lnTo>
                <a:cubicBezTo>
                  <a:pt x="1815899" y="2450922"/>
                  <a:pt x="1409396" y="2857425"/>
                  <a:pt x="907949" y="2857425"/>
                </a:cubicBezTo>
                <a:cubicBezTo>
                  <a:pt x="437842" y="2857425"/>
                  <a:pt x="51183" y="2500147"/>
                  <a:pt x="4687" y="2042308"/>
                </a:cubicBezTo>
                <a:lnTo>
                  <a:pt x="0" y="1949495"/>
                </a:lnTo>
                <a:close/>
              </a:path>
            </a:pathLst>
          </a:custGeom>
          <a:solidFill>
            <a:srgbClr val="F5F6F9"/>
          </a:solidFill>
        </p:spPr>
        <p:txBody>
          <a:bodyPr wrap="square">
            <a:noAutofit/>
          </a:bodyPr>
          <a:lstStyle/>
          <a:p>
            <a:endParaRPr lang="en-US"/>
          </a:p>
        </p:txBody>
      </p:sp>
      <p:sp>
        <p:nvSpPr>
          <p:cNvPr id="18" name="Picture Placeholder 17">
            <a:extLst>
              <a:ext uri="{FF2B5EF4-FFF2-40B4-BE49-F238E27FC236}">
                <a16:creationId xmlns:a16="http://schemas.microsoft.com/office/drawing/2014/main" id="{84D09F35-CDD7-40E9-B917-41C86FE1F940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704634" y="1590897"/>
            <a:ext cx="699467" cy="698400"/>
          </a:xfrm>
          <a:prstGeom prst="ellipse">
            <a:avLst/>
          </a:prstGeom>
          <a:solidFill>
            <a:schemeClr val="bg1"/>
          </a:solidFill>
          <a:ln w="101600">
            <a:solidFill>
              <a:schemeClr val="bg1"/>
            </a:solidFill>
          </a:ln>
        </p:spPr>
        <p:txBody>
          <a:bodyPr/>
          <a:lstStyle>
            <a:lvl1pPr>
              <a:defRPr>
                <a:noFill/>
              </a:defRPr>
            </a:lvl1pPr>
          </a:lstStyle>
          <a:p>
            <a:endParaRPr lang="en-US"/>
          </a:p>
        </p:txBody>
      </p:sp>
      <p:sp>
        <p:nvSpPr>
          <p:cNvPr id="19" name="Picture Placeholder 17">
            <a:extLst>
              <a:ext uri="{FF2B5EF4-FFF2-40B4-BE49-F238E27FC236}">
                <a16:creationId xmlns:a16="http://schemas.microsoft.com/office/drawing/2014/main" id="{EAC09DE8-D1C7-404C-AAB0-4968B9C8377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704634" y="3079800"/>
            <a:ext cx="699467" cy="698400"/>
          </a:xfrm>
          <a:prstGeom prst="ellipse">
            <a:avLst/>
          </a:prstGeom>
          <a:solidFill>
            <a:schemeClr val="bg1"/>
          </a:solidFill>
          <a:ln w="101600">
            <a:solidFill>
              <a:schemeClr val="bg1"/>
            </a:solidFill>
          </a:ln>
        </p:spPr>
        <p:txBody>
          <a:bodyPr/>
          <a:lstStyle>
            <a:lvl1pPr>
              <a:defRPr>
                <a:noFill/>
              </a:defRPr>
            </a:lvl1pPr>
          </a:lstStyle>
          <a:p>
            <a:endParaRPr lang="en-US"/>
          </a:p>
        </p:txBody>
      </p:sp>
      <p:sp>
        <p:nvSpPr>
          <p:cNvPr id="20" name="Picture Placeholder 17">
            <a:extLst>
              <a:ext uri="{FF2B5EF4-FFF2-40B4-BE49-F238E27FC236}">
                <a16:creationId xmlns:a16="http://schemas.microsoft.com/office/drawing/2014/main" id="{B5066F44-6BA8-4DF5-A2BD-5E2192D7EC56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6704634" y="4596818"/>
            <a:ext cx="699467" cy="698400"/>
          </a:xfrm>
          <a:prstGeom prst="ellipse">
            <a:avLst/>
          </a:prstGeom>
          <a:solidFill>
            <a:schemeClr val="bg1"/>
          </a:solidFill>
          <a:ln w="101600">
            <a:solidFill>
              <a:schemeClr val="bg1"/>
            </a:solidFill>
          </a:ln>
        </p:spPr>
        <p:txBody>
          <a:bodyPr/>
          <a:lstStyle>
            <a:lvl1pPr>
              <a:defRPr>
                <a:noFill/>
              </a:defRPr>
            </a:lvl1pPr>
          </a:lstStyle>
          <a:p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35F4FBF-1C16-4019-96AE-593F2EB4B81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668" y="4322233"/>
            <a:ext cx="4529667" cy="179916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FEBB6A2-738C-42B5-8F61-FE9334B0E5E6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>
          <a:xfrm>
            <a:off x="7886699" y="6121401"/>
            <a:ext cx="3585633" cy="353484"/>
          </a:xfrm>
        </p:spPr>
        <p:txBody>
          <a:bodyPr/>
          <a:lstStyle/>
          <a:p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DA22C840-32C0-4ACC-A03B-72B75373E0A5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7886701" y="1509356"/>
            <a:ext cx="3585632" cy="861483"/>
          </a:xfrm>
        </p:spPr>
        <p:txBody>
          <a:bodyPr anchor="ctr"/>
          <a:lstStyle>
            <a:lvl1pPr>
              <a:spcAft>
                <a:spcPts val="1200"/>
              </a:spcAft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" name="Text Placeholder 4">
            <a:extLst>
              <a:ext uri="{FF2B5EF4-FFF2-40B4-BE49-F238E27FC236}">
                <a16:creationId xmlns:a16="http://schemas.microsoft.com/office/drawing/2014/main" id="{406B13E9-6D62-421B-9AC1-C0F72DE11A0F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7886701" y="2998259"/>
            <a:ext cx="3585632" cy="861483"/>
          </a:xfrm>
        </p:spPr>
        <p:txBody>
          <a:bodyPr anchor="ctr"/>
          <a:lstStyle>
            <a:lvl1pPr>
              <a:spcAft>
                <a:spcPts val="1200"/>
              </a:spcAft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7" name="Text Placeholder 4">
            <a:extLst>
              <a:ext uri="{FF2B5EF4-FFF2-40B4-BE49-F238E27FC236}">
                <a16:creationId xmlns:a16="http://schemas.microsoft.com/office/drawing/2014/main" id="{E00A20ED-DF6E-4547-ACF5-5767A53FBA68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886701" y="4515277"/>
            <a:ext cx="3585632" cy="861483"/>
          </a:xfrm>
        </p:spPr>
        <p:txBody>
          <a:bodyPr anchor="ctr"/>
          <a:lstStyle>
            <a:lvl1pPr>
              <a:spcAft>
                <a:spcPts val="1200"/>
              </a:spcAft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68720167"/>
      </p:ext>
    </p:extLst>
  </p:cSld>
  <p:clrMapOvr>
    <a:masterClrMapping/>
  </p:clrMapOvr>
</p:sldLayout>
</file>

<file path=ppt/slideLayouts/slideLayout2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duct Showca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3">
            <a:extLst>
              <a:ext uri="{FF2B5EF4-FFF2-40B4-BE49-F238E27FC236}">
                <a16:creationId xmlns:a16="http://schemas.microsoft.com/office/drawing/2014/main" id="{87D1745F-7441-4EF3-A130-8C453490C22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91350" y="3153834"/>
            <a:ext cx="4480983" cy="833967"/>
          </a:xfrm>
        </p:spPr>
        <p:txBody>
          <a:bodyPr>
            <a:noAutofit/>
          </a:bodyPr>
          <a:lstStyle>
            <a:lvl1pPr>
              <a:defRPr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Text Placeholder 13">
            <a:extLst>
              <a:ext uri="{FF2B5EF4-FFF2-40B4-BE49-F238E27FC236}">
                <a16:creationId xmlns:a16="http://schemas.microsoft.com/office/drawing/2014/main" id="{E674CEC4-E67F-1248-A499-B15645D72FA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991351" y="4072467"/>
            <a:ext cx="4480984" cy="3683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 b="0" i="0">
                <a:solidFill>
                  <a:schemeClr val="accent1"/>
                </a:solidFill>
                <a:latin typeface="+mn-lt"/>
                <a:cs typeface="CiscoSansTT ExtraLight" panose="020B0303020201020303" pitchFamily="34" charset="0"/>
              </a:defRPr>
            </a:lvl1pPr>
          </a:lstStyle>
          <a:p>
            <a:pPr>
              <a:lnSpc>
                <a:spcPct val="115000"/>
              </a:lnSpc>
            </a:pPr>
            <a:endParaRPr lang="en-US">
              <a:solidFill>
                <a:schemeClr val="accent1"/>
              </a:solidFill>
              <a:latin typeface="CiscoSansTT ExtraLight" panose="020B0303020201020303" pitchFamily="34" charset="0"/>
              <a:cs typeface="CiscoSansTT ExtraLight" panose="020B0303020201020303" pitchFamily="34" charset="0"/>
              <a:sym typeface="Helvetica Neue Light"/>
            </a:endParaRPr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4962D45B-C6EB-254C-834A-83FDBA682DF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991351" y="2734734"/>
            <a:ext cx="4480984" cy="3683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 b="0" i="0">
                <a:solidFill>
                  <a:schemeClr val="accent1"/>
                </a:solidFill>
                <a:latin typeface="+mn-lt"/>
                <a:cs typeface="CiscoSansTT ExtraLight" panose="020B0303020201020303" pitchFamily="34" charset="0"/>
              </a:defRPr>
            </a:lvl1pPr>
          </a:lstStyle>
          <a:p>
            <a:pPr>
              <a:lnSpc>
                <a:spcPct val="115000"/>
              </a:lnSpc>
            </a:pPr>
            <a:endParaRPr lang="en-US">
              <a:solidFill>
                <a:schemeClr val="accent1"/>
              </a:solidFill>
              <a:latin typeface="CiscoSansTT ExtraLight" panose="020B0303020201020303" pitchFamily="34" charset="0"/>
              <a:cs typeface="CiscoSansTT ExtraLight" panose="020B0303020201020303" pitchFamily="34" charset="0"/>
              <a:sym typeface="Helvetica Neue Light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9A02D8B-89F4-4618-BDD2-D9ABD27D9F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91351" y="1155699"/>
            <a:ext cx="4480984" cy="13636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E30E99D0-CB64-46C5-AB05-E49F19D237D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991350" y="4485217"/>
            <a:ext cx="4480983" cy="833967"/>
          </a:xfrm>
        </p:spPr>
        <p:txBody>
          <a:bodyPr>
            <a:noAutofit/>
          </a:bodyPr>
          <a:lstStyle>
            <a:lvl1pPr>
              <a:defRPr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FF2958B-ECB9-4474-B920-1D74DD1E8BDF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4298950" y="6121401"/>
            <a:ext cx="7173383" cy="353484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28538295"/>
      </p:ext>
    </p:extLst>
  </p:cSld>
  <p:clrMapOvr>
    <a:masterClrMapping/>
  </p:clrMapOvr>
</p:sldLayout>
</file>

<file path=ppt/slideLayouts/slideLayout2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100F3F9D-2E2B-4B92-9723-00F12CB5D7B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1989" cy="6858000"/>
          </a:xfrm>
          <a:prstGeom prst="rect">
            <a:avLst/>
          </a:prstGeom>
          <a:solidFill>
            <a:srgbClr val="EDF1F6"/>
          </a:solidFill>
        </p:spPr>
        <p:txBody>
          <a:bodyPr/>
          <a:lstStyle>
            <a:lvl1pPr>
              <a:defRPr>
                <a:noFill/>
              </a:defRPr>
            </a:lvl1pPr>
          </a:lstStyle>
          <a:p>
            <a:endParaRPr lang="en-US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51720427-F808-43DE-A913-D4F7F53E551D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" y="0"/>
            <a:ext cx="12196233" cy="6858000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>
                <a:noFill/>
              </a:defRPr>
            </a:lvl1pPr>
          </a:lstStyle>
          <a:p>
            <a:endParaRPr lang="en-US"/>
          </a:p>
        </p:txBody>
      </p:sp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5634DC94-63CE-4DDF-8051-D07C98B07344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239844" y="1094636"/>
            <a:ext cx="566661" cy="462027"/>
          </a:xfrm>
          <a:prstGeom prst="rect">
            <a:avLst/>
          </a:prstGeom>
          <a:blipFill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>
                <a:noFill/>
              </a:defRPr>
            </a:lvl1pPr>
          </a:lstStyle>
          <a:p>
            <a:endParaRPr lang="en-US"/>
          </a:p>
        </p:txBody>
      </p:sp>
      <p:sp>
        <p:nvSpPr>
          <p:cNvPr id="8" name="Text Placeholder 9">
            <a:extLst>
              <a:ext uri="{FF2B5EF4-FFF2-40B4-BE49-F238E27FC236}">
                <a16:creationId xmlns:a16="http://schemas.microsoft.com/office/drawing/2014/main" id="{7026F21A-7268-2643-AFAB-66A39B9C6E3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927045" y="1413718"/>
            <a:ext cx="5114800" cy="248494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 i="0">
                <a:solidFill>
                  <a:schemeClr val="bg1"/>
                </a:solidFill>
                <a:latin typeface="+mn-lt"/>
                <a:cs typeface="CiscoSansTT ExtraLight" panose="020B0303020201020303" pitchFamily="34" charset="0"/>
              </a:defRPr>
            </a:lvl1pPr>
          </a:lstStyle>
          <a:p>
            <a:pPr lvl="0"/>
            <a:r>
              <a:rPr lang="en-GB"/>
              <a:t>Click to add title</a:t>
            </a:r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0A1A6A2-D12D-4F94-831A-110B03FB0349}"/>
              </a:ext>
            </a:extLst>
          </p:cNvPr>
          <p:cNvSpPr/>
          <p:nvPr userDrawn="1"/>
        </p:nvSpPr>
        <p:spPr>
          <a:xfrm>
            <a:off x="-1" y="-844774"/>
            <a:ext cx="12196233" cy="749580"/>
          </a:xfrm>
          <a:prstGeom prst="rect">
            <a:avLst/>
          </a:prstGeom>
          <a:solidFill>
            <a:srgbClr val="EDF1F6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2000">
                <a:solidFill>
                  <a:schemeClr val="tx1"/>
                </a:solidFill>
              </a:rPr>
              <a:t>PLEASE NOTE:</a:t>
            </a:r>
          </a:p>
          <a:p>
            <a:pPr algn="ctr"/>
            <a:r>
              <a:rPr lang="en-US" sz="2000">
                <a:solidFill>
                  <a:schemeClr val="tx1"/>
                </a:solidFill>
              </a:rPr>
              <a:t>In order to insert an image into the background, simply drag and drop your image onto the slid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000DF17-0FE2-45AC-88F3-D7985248F79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927045" y="4170142"/>
            <a:ext cx="5114800" cy="230717"/>
          </a:xfrm>
        </p:spPr>
        <p:txBody>
          <a:bodyPr/>
          <a:lstStyle>
            <a:lvl1pPr>
              <a:defRPr b="1">
                <a:solidFill>
                  <a:schemeClr val="bg1"/>
                </a:solidFill>
                <a:latin typeface="CiscoSansTT" panose="020B0503020201020303" pitchFamily="34" charset="0"/>
                <a:cs typeface="CiscoSansTT" panose="020B0503020201020303" pitchFamily="34" charset="0"/>
              </a:defRPr>
            </a:lvl1pPr>
          </a:lstStyle>
          <a:p>
            <a:pPr lvl="0"/>
            <a:r>
              <a:rPr lang="en-US"/>
              <a:t>Insert sourc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E6418332-ECF9-4198-95C4-2DB2ACE9043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927225" y="4427064"/>
            <a:ext cx="5114620" cy="345017"/>
          </a:xfrm>
        </p:spPr>
        <p:txBody>
          <a:bodyPr/>
          <a:lstStyle>
            <a:lvl1pPr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Insert additional</a:t>
            </a:r>
          </a:p>
        </p:txBody>
      </p:sp>
    </p:spTree>
    <p:extLst>
      <p:ext uri="{BB962C8B-B14F-4D97-AF65-F5344CB8AC3E}">
        <p14:creationId xmlns:p14="http://schemas.microsoft.com/office/powerpoint/2010/main" val="3670559975"/>
      </p:ext>
    </p:extLst>
  </p:cSld>
  <p:clrMapOvr>
    <a:masterClrMapping/>
  </p:clrMapOvr>
</p:sldLayout>
</file>

<file path=ppt/slideLayouts/slideLayout2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int Lis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683FEB4F-58F8-4354-899B-D9018B1F3352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196667" y="1308100"/>
            <a:ext cx="908267" cy="908267"/>
          </a:xfrm>
          <a:prstGeom prst="ellipse">
            <a:avLst/>
          </a:prstGeom>
          <a:solidFill>
            <a:schemeClr val="bg1"/>
          </a:solidFill>
          <a:ln w="101600">
            <a:solidFill>
              <a:srgbClr val="F5F6F9"/>
            </a:solidFill>
          </a:ln>
        </p:spPr>
        <p:txBody>
          <a:bodyPr/>
          <a:lstStyle>
            <a:lvl1pPr>
              <a:defRPr>
                <a:noFill/>
              </a:defRPr>
            </a:lvl1pPr>
          </a:lstStyle>
          <a:p>
            <a:endParaRPr lang="en-US"/>
          </a:p>
        </p:txBody>
      </p:sp>
      <p:sp>
        <p:nvSpPr>
          <p:cNvPr id="17" name="Picture Placeholder 3">
            <a:extLst>
              <a:ext uri="{FF2B5EF4-FFF2-40B4-BE49-F238E27FC236}">
                <a16:creationId xmlns:a16="http://schemas.microsoft.com/office/drawing/2014/main" id="{B9C52DC1-92ED-4A1C-8323-59E017948D65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96667" y="3016251"/>
            <a:ext cx="908267" cy="908267"/>
          </a:xfrm>
          <a:prstGeom prst="ellipse">
            <a:avLst/>
          </a:prstGeom>
          <a:solidFill>
            <a:schemeClr val="bg1"/>
          </a:solidFill>
          <a:ln w="101600">
            <a:solidFill>
              <a:srgbClr val="F5F6F9"/>
            </a:solidFill>
          </a:ln>
        </p:spPr>
        <p:txBody>
          <a:bodyPr/>
          <a:lstStyle>
            <a:lvl1pPr>
              <a:defRPr>
                <a:noFill/>
              </a:defRPr>
            </a:lvl1pPr>
          </a:lstStyle>
          <a:p>
            <a:endParaRPr lang="en-US"/>
          </a:p>
        </p:txBody>
      </p:sp>
      <p:sp>
        <p:nvSpPr>
          <p:cNvPr id="18" name="Picture Placeholder 3">
            <a:extLst>
              <a:ext uri="{FF2B5EF4-FFF2-40B4-BE49-F238E27FC236}">
                <a16:creationId xmlns:a16="http://schemas.microsoft.com/office/drawing/2014/main" id="{76BB0C0A-8B0F-4ADD-8E7B-B5EA9F5B3EA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196667" y="4692651"/>
            <a:ext cx="908267" cy="908267"/>
          </a:xfrm>
          <a:prstGeom prst="ellipse">
            <a:avLst/>
          </a:prstGeom>
          <a:solidFill>
            <a:schemeClr val="bg1"/>
          </a:solidFill>
          <a:ln w="101600">
            <a:solidFill>
              <a:srgbClr val="F5F6F9"/>
            </a:solidFill>
          </a:ln>
        </p:spPr>
        <p:txBody>
          <a:bodyPr/>
          <a:lstStyle>
            <a:lvl1pPr>
              <a:defRPr>
                <a:noFill/>
              </a:defRPr>
            </a:lvl1pPr>
          </a:lstStyle>
          <a:p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F7DBFB5-9577-4ABC-B732-55CCAD4F755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667" y="1612901"/>
            <a:ext cx="4131733" cy="1354138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21EB2C73-2A86-43AD-B83E-621B8E97D29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19667" y="3416300"/>
            <a:ext cx="4138082" cy="2252663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9B7BAA6-8584-4C3A-A441-4DD27CD61957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>
          <a:xfrm>
            <a:off x="4216400" y="6121401"/>
            <a:ext cx="7255933" cy="353484"/>
          </a:xfrm>
        </p:spPr>
        <p:txBody>
          <a:bodyPr/>
          <a:lstStyle/>
          <a:p>
            <a:endParaRPr lang="en-US"/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325CD088-FBF3-445E-B378-A92C692F7273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7370291" y="1331492"/>
            <a:ext cx="4102042" cy="861483"/>
          </a:xfrm>
        </p:spPr>
        <p:txBody>
          <a:bodyPr anchor="ctr"/>
          <a:lstStyle>
            <a:lvl1pPr>
              <a:spcAft>
                <a:spcPts val="1200"/>
              </a:spcAft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Text Placeholder 4">
            <a:extLst>
              <a:ext uri="{FF2B5EF4-FFF2-40B4-BE49-F238E27FC236}">
                <a16:creationId xmlns:a16="http://schemas.microsoft.com/office/drawing/2014/main" id="{35FEC2E1-B1B6-4EEF-9532-7023EA202DAD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370291" y="3039643"/>
            <a:ext cx="4102042" cy="861483"/>
          </a:xfrm>
        </p:spPr>
        <p:txBody>
          <a:bodyPr anchor="ctr"/>
          <a:lstStyle>
            <a:lvl1pPr>
              <a:spcAft>
                <a:spcPts val="1200"/>
              </a:spcAft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ext Placeholder 4">
            <a:extLst>
              <a:ext uri="{FF2B5EF4-FFF2-40B4-BE49-F238E27FC236}">
                <a16:creationId xmlns:a16="http://schemas.microsoft.com/office/drawing/2014/main" id="{5F8341FE-A07A-4B20-81FE-0A75940B995E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7370291" y="4716043"/>
            <a:ext cx="4102042" cy="861483"/>
          </a:xfrm>
        </p:spPr>
        <p:txBody>
          <a:bodyPr anchor="ctr"/>
          <a:lstStyle>
            <a:lvl1pPr>
              <a:spcAft>
                <a:spcPts val="1200"/>
              </a:spcAft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223814310"/>
      </p:ext>
    </p:extLst>
  </p:cSld>
  <p:clrMapOvr>
    <a:masterClrMapping/>
  </p:clrMapOvr>
</p:sldLayout>
</file>

<file path=ppt/slideLayouts/slideLayout2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8882533-A64D-440E-9224-3F3A545BC47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667" y="1612901"/>
            <a:ext cx="4131733" cy="1354138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EBE1D6F3-D1FF-4C61-8EC0-77150412444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19667" y="3416300"/>
            <a:ext cx="4138082" cy="27051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FCE6FD8-63CD-478F-B0E6-070FF8365D0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98357279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13">
            <a:extLst>
              <a:ext uri="{FF2B5EF4-FFF2-40B4-BE49-F238E27FC236}">
                <a16:creationId xmlns:a16="http://schemas.microsoft.com/office/drawing/2014/main" id="{6B787457-39AA-B246-81C6-F6BAEB9A8F7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11200" y="3856567"/>
            <a:ext cx="4250267" cy="8255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2133" b="0" i="0">
                <a:solidFill>
                  <a:schemeClr val="accent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defRPr>
            </a:lvl1pPr>
            <a:lvl2pPr>
              <a:defRPr sz="2133"/>
            </a:lvl2pPr>
            <a:lvl3pPr>
              <a:defRPr sz="2133"/>
            </a:lvl3pPr>
            <a:lvl4pPr>
              <a:defRPr sz="2133"/>
            </a:lvl4pPr>
            <a:lvl5pPr>
              <a:defRPr sz="2133"/>
            </a:lvl5pPr>
          </a:lstStyle>
          <a:p>
            <a:r>
              <a:rPr lang="en-US" sz="2133">
                <a:solidFill>
                  <a:schemeClr val="accent1"/>
                </a:solidFill>
                <a:latin typeface="CiscoSansTT ExtraLight" panose="020B0303020201020303" pitchFamily="34" charset="0"/>
                <a:ea typeface="Helvetica Neue Light"/>
                <a:cs typeface="CiscoSansTT ExtraLight" panose="020B0303020201020303" pitchFamily="34" charset="0"/>
                <a:sym typeface="Helvetica Neue Light"/>
              </a:rPr>
              <a:t>Lorem ipsum dolor sit </a:t>
            </a:r>
            <a:r>
              <a:rPr lang="en-US" sz="2133" err="1">
                <a:solidFill>
                  <a:schemeClr val="accent1"/>
                </a:solidFill>
                <a:latin typeface="CiscoSansTT ExtraLight" panose="020B0303020201020303" pitchFamily="34" charset="0"/>
                <a:ea typeface="Helvetica Neue Light"/>
                <a:cs typeface="CiscoSansTT ExtraLight" panose="020B0303020201020303" pitchFamily="34" charset="0"/>
                <a:sym typeface="Helvetica Neue Light"/>
              </a:rPr>
              <a:t>amet</a:t>
            </a:r>
            <a:r>
              <a:rPr lang="en-US" sz="2133">
                <a:solidFill>
                  <a:schemeClr val="accent1"/>
                </a:solidFill>
                <a:latin typeface="CiscoSansTT ExtraLight" panose="020B0303020201020303" pitchFamily="34" charset="0"/>
                <a:ea typeface="Helvetica Neue Light"/>
                <a:cs typeface="CiscoSansTT ExtraLight" panose="020B0303020201020303" pitchFamily="34" charset="0"/>
                <a:sym typeface="Helvetica Neue Light"/>
              </a:rPr>
              <a:t> </a:t>
            </a:r>
            <a:r>
              <a:rPr lang="en-US" sz="2133" err="1">
                <a:solidFill>
                  <a:schemeClr val="accent1"/>
                </a:solidFill>
                <a:latin typeface="CiscoSansTT ExtraLight" panose="020B0303020201020303" pitchFamily="34" charset="0"/>
                <a:ea typeface="Helvetica Neue Light"/>
                <a:cs typeface="CiscoSansTT ExtraLight" panose="020B0303020201020303" pitchFamily="34" charset="0"/>
                <a:sym typeface="Helvetica Neue Light"/>
              </a:rPr>
              <a:t>consectetur</a:t>
            </a:r>
            <a:r>
              <a:rPr lang="en-US" sz="2133">
                <a:solidFill>
                  <a:schemeClr val="accent1"/>
                </a:solidFill>
                <a:latin typeface="CiscoSansTT ExtraLight" panose="020B0303020201020303" pitchFamily="34" charset="0"/>
                <a:ea typeface="Helvetica Neue Light"/>
                <a:cs typeface="CiscoSansTT ExtraLight" panose="020B0303020201020303" pitchFamily="34" charset="0"/>
                <a:sym typeface="Helvetica Neue Light"/>
              </a:rPr>
              <a:t> </a:t>
            </a:r>
            <a:r>
              <a:rPr lang="en-US" sz="2133" err="1">
                <a:solidFill>
                  <a:schemeClr val="accent1"/>
                </a:solidFill>
                <a:latin typeface="CiscoSansTT ExtraLight" panose="020B0303020201020303" pitchFamily="34" charset="0"/>
                <a:ea typeface="Helvetica Neue Light"/>
                <a:cs typeface="CiscoSansTT ExtraLight" panose="020B0303020201020303" pitchFamily="34" charset="0"/>
                <a:sym typeface="Helvetica Neue Light"/>
              </a:rPr>
              <a:t>adipiscing</a:t>
            </a:r>
            <a:r>
              <a:rPr lang="en-US" sz="2133">
                <a:solidFill>
                  <a:schemeClr val="accent1"/>
                </a:solidFill>
                <a:latin typeface="CiscoSansTT ExtraLight" panose="020B0303020201020303" pitchFamily="34" charset="0"/>
                <a:ea typeface="Helvetica Neue Light"/>
                <a:cs typeface="CiscoSansTT ExtraLight" panose="020B0303020201020303" pitchFamily="34" charset="0"/>
                <a:sym typeface="Helvetica Neue Light"/>
              </a:rPr>
              <a:t> </a:t>
            </a:r>
            <a:r>
              <a:rPr lang="en-US" sz="2133" err="1">
                <a:solidFill>
                  <a:schemeClr val="accent1"/>
                </a:solidFill>
                <a:latin typeface="CiscoSansTT ExtraLight" panose="020B0303020201020303" pitchFamily="34" charset="0"/>
                <a:ea typeface="Helvetica Neue Light"/>
                <a:cs typeface="CiscoSansTT ExtraLight" panose="020B0303020201020303" pitchFamily="34" charset="0"/>
                <a:sym typeface="Helvetica Neue Light"/>
              </a:rPr>
              <a:t>elit</a:t>
            </a:r>
            <a:r>
              <a:rPr lang="en-US" sz="2133">
                <a:solidFill>
                  <a:schemeClr val="accent1"/>
                </a:solidFill>
                <a:latin typeface="CiscoSansTT ExtraLight" panose="020B0303020201020303" pitchFamily="34" charset="0"/>
                <a:ea typeface="Helvetica Neue Light"/>
                <a:cs typeface="CiscoSansTT ExtraLight" panose="020B0303020201020303" pitchFamily="34" charset="0"/>
                <a:sym typeface="Helvetica Neue Light"/>
              </a:rPr>
              <a:t> diem</a:t>
            </a:r>
            <a:endParaRPr lang="en-US" sz="2133">
              <a:solidFill>
                <a:schemeClr val="accent1"/>
              </a:solidFill>
              <a:latin typeface="CiscoSansTT ExtraLight" panose="020B0303020201020303" pitchFamily="34" charset="0"/>
              <a:cs typeface="CiscoSansTT ExtraLight" panose="020B0303020201020303" pitchFamily="34" charset="0"/>
              <a:sym typeface="Helvetica Neue Light"/>
            </a:endParaRPr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F78856C6-C3E6-4616-8EC0-B2A24F6EC4F6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775504" y="0"/>
            <a:ext cx="7416496" cy="6857997"/>
          </a:xfrm>
          <a:custGeom>
            <a:avLst/>
            <a:gdLst>
              <a:gd name="connsiteX0" fmla="*/ 0 w 5562372"/>
              <a:gd name="connsiteY0" fmla="*/ 0 h 5143498"/>
              <a:gd name="connsiteX1" fmla="*/ 5562372 w 5562372"/>
              <a:gd name="connsiteY1" fmla="*/ 0 h 5143498"/>
              <a:gd name="connsiteX2" fmla="*/ 5562372 w 5562372"/>
              <a:gd name="connsiteY2" fmla="*/ 5143498 h 5143498"/>
              <a:gd name="connsiteX3" fmla="*/ 481628 w 5562372"/>
              <a:gd name="connsiteY3" fmla="*/ 5143498 h 5143498"/>
              <a:gd name="connsiteX4" fmla="*/ 659851 w 5562372"/>
              <a:gd name="connsiteY4" fmla="*/ 4905163 h 5143498"/>
              <a:gd name="connsiteX5" fmla="*/ 1296347 w 5562372"/>
              <a:gd name="connsiteY5" fmla="*/ 2821418 h 5143498"/>
              <a:gd name="connsiteX6" fmla="*/ 204763 w 5562372"/>
              <a:gd name="connsiteY6" fmla="*/ 186102 h 51434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562372" h="5143498">
                <a:moveTo>
                  <a:pt x="0" y="0"/>
                </a:moveTo>
                <a:lnTo>
                  <a:pt x="5562372" y="0"/>
                </a:lnTo>
                <a:lnTo>
                  <a:pt x="5562372" y="5143498"/>
                </a:lnTo>
                <a:lnTo>
                  <a:pt x="481628" y="5143498"/>
                </a:lnTo>
                <a:lnTo>
                  <a:pt x="659851" y="4905163"/>
                </a:lnTo>
                <a:cubicBezTo>
                  <a:pt x="1061702" y="4310346"/>
                  <a:pt x="1296347" y="3593284"/>
                  <a:pt x="1296347" y="2821418"/>
                </a:cubicBezTo>
                <a:cubicBezTo>
                  <a:pt x="1296347" y="1792263"/>
                  <a:pt x="879200" y="860538"/>
                  <a:pt x="204763" y="186102"/>
                </a:cubicBezTo>
                <a:close/>
              </a:path>
            </a:pathLst>
          </a:custGeom>
          <a:solidFill>
            <a:srgbClr val="EDF1F6"/>
          </a:solidFill>
        </p:spPr>
        <p:txBody>
          <a:bodyPr wrap="square">
            <a:noAutofit/>
          </a:bodyPr>
          <a:lstStyle/>
          <a:p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961E1CD-E326-4961-9A88-11E9CA33773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1200" y="2070101"/>
            <a:ext cx="4250267" cy="1638300"/>
          </a:xfrm>
        </p:spPr>
        <p:txBody>
          <a:bodyPr>
            <a:noAutofit/>
          </a:bodyPr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559478924"/>
      </p:ext>
    </p:extLst>
  </p:cSld>
  <p:clrMapOvr>
    <a:masterClrMapping/>
  </p:clrMapOvr>
</p:sldLayout>
</file>

<file path=ppt/slideLayouts/slideLayout2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EDD0B389-6141-4FE9-8448-1DBF3443ED8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967663" y="17618"/>
            <a:ext cx="6224339" cy="6840381"/>
          </a:xfrm>
          <a:custGeom>
            <a:avLst/>
            <a:gdLst>
              <a:gd name="connsiteX0" fmla="*/ 2565143 w 4668254"/>
              <a:gd name="connsiteY0" fmla="*/ 0 h 5130286"/>
              <a:gd name="connsiteX1" fmla="*/ 4668254 w 4668254"/>
              <a:gd name="connsiteY1" fmla="*/ 1 h 5130286"/>
              <a:gd name="connsiteX2" fmla="*/ 4668254 w 4668254"/>
              <a:gd name="connsiteY2" fmla="*/ 5130286 h 5130286"/>
              <a:gd name="connsiteX3" fmla="*/ 2565143 w 4668254"/>
              <a:gd name="connsiteY3" fmla="*/ 5130286 h 5130286"/>
              <a:gd name="connsiteX4" fmla="*/ 0 w 4668254"/>
              <a:gd name="connsiteY4" fmla="*/ 2565143 h 5130286"/>
              <a:gd name="connsiteX5" fmla="*/ 2565143 w 4668254"/>
              <a:gd name="connsiteY5" fmla="*/ 0 h 51302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668254" h="5130286">
                <a:moveTo>
                  <a:pt x="2565143" y="0"/>
                </a:moveTo>
                <a:lnTo>
                  <a:pt x="4668254" y="1"/>
                </a:lnTo>
                <a:lnTo>
                  <a:pt x="4668254" y="5130286"/>
                </a:lnTo>
                <a:lnTo>
                  <a:pt x="2565143" y="5130286"/>
                </a:lnTo>
                <a:cubicBezTo>
                  <a:pt x="1148454" y="5130286"/>
                  <a:pt x="0" y="3981832"/>
                  <a:pt x="0" y="2565143"/>
                </a:cubicBezTo>
                <a:cubicBezTo>
                  <a:pt x="0" y="1148454"/>
                  <a:pt x="1148454" y="0"/>
                  <a:pt x="2565143" y="0"/>
                </a:cubicBezTo>
                <a:close/>
              </a:path>
            </a:pathLst>
          </a:custGeom>
          <a:solidFill>
            <a:srgbClr val="F5F6F9"/>
          </a:solidFill>
        </p:spPr>
        <p:txBody>
          <a:bodyPr wrap="square">
            <a:noAutofit/>
          </a:bodyPr>
          <a:lstStyle/>
          <a:p>
            <a:endParaRPr lang="en-US"/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FDBE70EF-377F-4ADC-91FB-5792A2F99798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267927" y="3203620"/>
            <a:ext cx="3098800" cy="3098801"/>
          </a:xfrm>
          <a:prstGeom prst="ellipse">
            <a:avLst/>
          </a:prstGeom>
          <a:solidFill>
            <a:schemeClr val="accent1"/>
          </a:solidFill>
        </p:spPr>
        <p:txBody>
          <a:bodyPr lIns="0" tIns="0" rIns="0" bIns="0" anchor="ctr" anchorCtr="0"/>
          <a:lstStyle>
            <a:lvl1pPr algn="ctr">
              <a:defRPr>
                <a:solidFill>
                  <a:schemeClr val="tx2"/>
                </a:solidFill>
                <a:latin typeface="+mn-lt"/>
              </a:defRPr>
            </a:lvl1pPr>
            <a:lvl2pPr algn="ctr">
              <a:defRPr>
                <a:solidFill>
                  <a:schemeClr val="tx2"/>
                </a:solidFill>
                <a:latin typeface="+mn-lt"/>
              </a:defRPr>
            </a:lvl2pPr>
            <a:lvl3pPr algn="ctr">
              <a:defRPr>
                <a:solidFill>
                  <a:schemeClr val="tx2"/>
                </a:solidFill>
                <a:latin typeface="+mn-lt"/>
              </a:defRPr>
            </a:lvl3pPr>
            <a:lvl4pPr algn="ctr">
              <a:defRPr>
                <a:solidFill>
                  <a:schemeClr val="tx2"/>
                </a:solidFill>
                <a:latin typeface="+mn-lt"/>
              </a:defRPr>
            </a:lvl4pPr>
            <a:lvl5pPr algn="ctr">
              <a:defRPr>
                <a:solidFill>
                  <a:schemeClr val="tx2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Picture Placeholder 5">
            <a:extLst>
              <a:ext uri="{FF2B5EF4-FFF2-40B4-BE49-F238E27FC236}">
                <a16:creationId xmlns:a16="http://schemas.microsoft.com/office/drawing/2014/main" id="{977C4E1E-EF59-4F9B-B922-4C7C61C3BB3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5013724" y="3784539"/>
            <a:ext cx="508405" cy="414528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>
                <a:noFill/>
              </a:defRPr>
            </a:lvl1pPr>
          </a:lstStyle>
          <a:p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6476E9-FF56-4974-AD87-77B030C700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667" y="1155699"/>
            <a:ext cx="4131733" cy="1363664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Text Placeholder 3">
            <a:extLst>
              <a:ext uri="{FF2B5EF4-FFF2-40B4-BE49-F238E27FC236}">
                <a16:creationId xmlns:a16="http://schemas.microsoft.com/office/drawing/2014/main" id="{B2068A80-FE68-4865-AA94-FF151A7C956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19667" y="2960687"/>
            <a:ext cx="4138082" cy="27082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448843403"/>
      </p:ext>
    </p:extLst>
  </p:cSld>
  <p:clrMapOvr>
    <a:masterClrMapping/>
  </p:clrMapOvr>
</p:sldLayout>
</file>

<file path=ppt/slideLayouts/slideLayout2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Top Cen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E4E5C93-3A8E-4484-97CA-9286E439C1C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5AA5629-FFD1-4B28-8CB4-D5F6AAB5C4C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77659271"/>
      </p:ext>
    </p:extLst>
  </p:cSld>
  <p:clrMapOvr>
    <a:masterClrMapping/>
  </p:clrMapOvr>
</p:sldLayout>
</file>

<file path=ppt/slideLayouts/slideLayout2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5143A888-2FF7-460B-8488-88710C99F16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15160593"/>
      </p:ext>
    </p:extLst>
  </p:cSld>
  <p:clrMapOvr>
    <a:masterClrMapping/>
  </p:clrMapOvr>
</p:sldLayout>
</file>

<file path=ppt/slideLayouts/slideLayout2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left 3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8078AEEA-5B48-464E-8502-33863921396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3900" y="1612901"/>
            <a:ext cx="3067051" cy="4056062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CA60C2D7-C8EE-4910-B028-83AB4E0055E6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E3868972-9843-4CD6-BB5A-562FD5261E7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298950" y="1612901"/>
            <a:ext cx="2275600" cy="360000"/>
          </a:xfrm>
        </p:spPr>
        <p:txBody>
          <a:bodyPr/>
          <a:lstStyle>
            <a:lvl1pPr>
              <a:defRPr sz="1600">
                <a:solidFill>
                  <a:schemeClr val="accent1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Insert short heading</a:t>
            </a:r>
          </a:p>
        </p:txBody>
      </p:sp>
      <p:sp>
        <p:nvSpPr>
          <p:cNvPr id="12" name="Text Placeholder 4">
            <a:extLst>
              <a:ext uri="{FF2B5EF4-FFF2-40B4-BE49-F238E27FC236}">
                <a16:creationId xmlns:a16="http://schemas.microsoft.com/office/drawing/2014/main" id="{CE58BD52-AC6A-4560-BDE0-613D5E26C5A1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745725" y="1612901"/>
            <a:ext cx="2275600" cy="360000"/>
          </a:xfrm>
        </p:spPr>
        <p:txBody>
          <a:bodyPr/>
          <a:lstStyle>
            <a:lvl1pPr>
              <a:defRPr sz="1600">
                <a:solidFill>
                  <a:schemeClr val="accent1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Insert short heading</a:t>
            </a:r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516118FF-0C8C-4605-A22A-1E2F1B2104F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192500" y="1612901"/>
            <a:ext cx="2275600" cy="360000"/>
          </a:xfrm>
        </p:spPr>
        <p:txBody>
          <a:bodyPr/>
          <a:lstStyle>
            <a:lvl1pPr>
              <a:defRPr sz="1600">
                <a:solidFill>
                  <a:schemeClr val="accent1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Insert short heading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75DB6320-9688-413E-8D7B-0BAEBEFD45A5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302927" y="2035883"/>
            <a:ext cx="2275200" cy="3633080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0" name="Text Placeholder 6">
            <a:extLst>
              <a:ext uri="{FF2B5EF4-FFF2-40B4-BE49-F238E27FC236}">
                <a16:creationId xmlns:a16="http://schemas.microsoft.com/office/drawing/2014/main" id="{EE1F764F-7BBA-43A8-BF76-2AC8619501D3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6747714" y="2035883"/>
            <a:ext cx="2275200" cy="3633080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1" name="Text Placeholder 6">
            <a:extLst>
              <a:ext uri="{FF2B5EF4-FFF2-40B4-BE49-F238E27FC236}">
                <a16:creationId xmlns:a16="http://schemas.microsoft.com/office/drawing/2014/main" id="{195CA2B9-2276-4B6E-BBDE-F8F0487540CA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9192500" y="2035883"/>
            <a:ext cx="2275200" cy="3633080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699031295"/>
      </p:ext>
    </p:extLst>
  </p:cSld>
  <p:clrMapOvr>
    <a:masterClrMapping/>
  </p:clrMapOvr>
</p:sldLayout>
</file>

<file path=ppt/slideLayouts/slideLayout2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B6D3CFB-C854-434C-9A1F-637A0B027DD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6018" y="1612899"/>
            <a:ext cx="3321051" cy="40560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BC044539-DAE7-490B-B5E6-BC374262E05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8950" y="1612899"/>
            <a:ext cx="3439160" cy="405606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C5767B47-8446-4315-A1D6-55A50699F18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886700" y="1612899"/>
            <a:ext cx="3463290" cy="405606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961513E-9D4B-45A9-9577-19B01F670A9E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96715830"/>
      </p:ext>
    </p:extLst>
  </p:cSld>
  <p:clrMapOvr>
    <a:masterClrMapping/>
  </p:clrMapOvr>
</p:sldLayout>
</file>

<file path=ppt/slideLayouts/slideLayout2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9D843A1F-68EE-4711-A1FC-44887FE9A8F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120995" y="765065"/>
            <a:ext cx="1185333" cy="1185333"/>
          </a:xfrm>
          <a:prstGeom prst="rect">
            <a:avLst/>
          </a:prstGeo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>
                <a:noFill/>
              </a:defRPr>
            </a:lvl1pPr>
          </a:lstStyle>
          <a:p>
            <a:endParaRPr lang="en-US"/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C3F37278-F1CC-445A-8F3A-1E125B4F2140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898170" y="1"/>
            <a:ext cx="4356399" cy="5951535"/>
          </a:xfrm>
          <a:custGeom>
            <a:avLst/>
            <a:gdLst>
              <a:gd name="connsiteX0" fmla="*/ 429 w 3267299"/>
              <a:gd name="connsiteY0" fmla="*/ 0 h 4463651"/>
              <a:gd name="connsiteX1" fmla="*/ 3266870 w 3267299"/>
              <a:gd name="connsiteY1" fmla="*/ 0 h 4463651"/>
              <a:gd name="connsiteX2" fmla="*/ 3267299 w 3267299"/>
              <a:gd name="connsiteY2" fmla="*/ 8501 h 4463651"/>
              <a:gd name="connsiteX3" fmla="*/ 3267299 w 3267299"/>
              <a:gd name="connsiteY3" fmla="*/ 2830001 h 4463651"/>
              <a:gd name="connsiteX4" fmla="*/ 1633649 w 3267299"/>
              <a:gd name="connsiteY4" fmla="*/ 4463651 h 4463651"/>
              <a:gd name="connsiteX5" fmla="*/ 8434 w 3267299"/>
              <a:gd name="connsiteY5" fmla="*/ 2997032 h 4463651"/>
              <a:gd name="connsiteX6" fmla="*/ 0 w 3267299"/>
              <a:gd name="connsiteY6" fmla="*/ 2830020 h 4463651"/>
              <a:gd name="connsiteX7" fmla="*/ 0 w 3267299"/>
              <a:gd name="connsiteY7" fmla="*/ 8482 h 44636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267299" h="4463651">
                <a:moveTo>
                  <a:pt x="429" y="0"/>
                </a:moveTo>
                <a:lnTo>
                  <a:pt x="3266870" y="0"/>
                </a:lnTo>
                <a:lnTo>
                  <a:pt x="3267299" y="8501"/>
                </a:lnTo>
                <a:lnTo>
                  <a:pt x="3267299" y="2830001"/>
                </a:lnTo>
                <a:cubicBezTo>
                  <a:pt x="3267299" y="3732241"/>
                  <a:pt x="2535889" y="4463651"/>
                  <a:pt x="1633649" y="4463651"/>
                </a:cubicBezTo>
                <a:cubicBezTo>
                  <a:pt x="787799" y="4463651"/>
                  <a:pt x="92093" y="3820810"/>
                  <a:pt x="8434" y="2997032"/>
                </a:cubicBezTo>
                <a:lnTo>
                  <a:pt x="0" y="2830020"/>
                </a:lnTo>
                <a:lnTo>
                  <a:pt x="0" y="8482"/>
                </a:lnTo>
                <a:close/>
              </a:path>
            </a:pathLst>
          </a:custGeom>
          <a:solidFill>
            <a:srgbClr val="F5F6F9"/>
          </a:solidFill>
        </p:spPr>
        <p:txBody>
          <a:bodyPr wrap="square">
            <a:noAutofit/>
          </a:bodyPr>
          <a:lstStyle/>
          <a:p>
            <a:endParaRPr lang="en-US"/>
          </a:p>
        </p:txBody>
      </p:sp>
      <p:sp>
        <p:nvSpPr>
          <p:cNvPr id="10" name="Picture Placeholder 5">
            <a:extLst>
              <a:ext uri="{FF2B5EF4-FFF2-40B4-BE49-F238E27FC236}">
                <a16:creationId xmlns:a16="http://schemas.microsoft.com/office/drawing/2014/main" id="{3AAA969E-541E-4362-A952-8DCC98596A30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711200" y="1602317"/>
            <a:ext cx="508405" cy="414528"/>
          </a:xfrm>
          <a:prstGeom prst="rect">
            <a:avLst/>
          </a:prstGeom>
          <a:blipFill>
            <a:blip r:embed="rId3"/>
            <a:stretch>
              <a:fillRect/>
            </a:stretch>
          </a:blipFill>
        </p:spPr>
        <p:txBody>
          <a:bodyPr/>
          <a:lstStyle>
            <a:lvl1pPr>
              <a:defRPr>
                <a:noFill/>
              </a:defRPr>
            </a:lvl1pPr>
          </a:lstStyle>
          <a:p>
            <a:endParaRPr lang="en-US"/>
          </a:p>
        </p:txBody>
      </p:sp>
      <p:sp>
        <p:nvSpPr>
          <p:cNvPr id="15" name="Picture Placeholder 7">
            <a:extLst>
              <a:ext uri="{FF2B5EF4-FFF2-40B4-BE49-F238E27FC236}">
                <a16:creationId xmlns:a16="http://schemas.microsoft.com/office/drawing/2014/main" id="{66B402A7-F12D-4EB2-92F5-1E7AF5E4E4CD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10069235" y="4543999"/>
            <a:ext cx="1185333" cy="1185333"/>
          </a:xfrm>
          <a:prstGeom prst="rect">
            <a:avLst/>
          </a:prstGeom>
          <a:blipFill>
            <a:blip r:embed="rId4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>
                <a:noFill/>
              </a:defRPr>
            </a:lvl1pPr>
          </a:lstStyle>
          <a:p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E260AB85-3D05-4181-91C9-23B40E5C8EE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332840" y="1613116"/>
            <a:ext cx="4641850" cy="2958883"/>
          </a:xfrm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US"/>
              <a:t>Insert quote here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C4992B7A-C23B-4833-8772-F6C0C4E7CC2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332840" y="4770438"/>
            <a:ext cx="4641850" cy="366227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  <a:lvl5pPr>
              <a:defRPr/>
            </a:lvl5pPr>
          </a:lstStyle>
          <a:p>
            <a:pPr lvl="0"/>
            <a:r>
              <a:rPr lang="en-US"/>
              <a:t>Insert Source</a:t>
            </a:r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E0E889EA-2BA1-47C6-967E-4A254E16FD2C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332840" y="5219699"/>
            <a:ext cx="4641850" cy="366227"/>
          </a:xfrm>
        </p:spPr>
        <p:txBody>
          <a:bodyPr/>
          <a:lstStyle>
            <a:lvl1pPr>
              <a:defRPr sz="1200">
                <a:solidFill>
                  <a:schemeClr val="bg2"/>
                </a:solidFill>
              </a:defRPr>
            </a:lvl1pPr>
            <a:lvl5pPr>
              <a:defRPr/>
            </a:lvl5pPr>
          </a:lstStyle>
          <a:p>
            <a:pPr lvl="0"/>
            <a:r>
              <a:rPr lang="en-US"/>
              <a:t>Insert additional information</a:t>
            </a:r>
          </a:p>
        </p:txBody>
      </p:sp>
    </p:spTree>
    <p:extLst>
      <p:ext uri="{BB962C8B-B14F-4D97-AF65-F5344CB8AC3E}">
        <p14:creationId xmlns:p14="http://schemas.microsoft.com/office/powerpoint/2010/main" val="4185286053"/>
      </p:ext>
    </p:extLst>
  </p:cSld>
  <p:clrMapOvr>
    <a:masterClrMapping/>
  </p:clrMapOvr>
</p:sldLayout>
</file>

<file path=ppt/slideLayouts/slideLayout2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 Centred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75365CB-F72B-40B5-9B75-1F540092C24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27561759-DDC3-41CC-AD23-F7F9987A388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719138" y="2070100"/>
            <a:ext cx="2407858" cy="360000"/>
          </a:xfrm>
        </p:spPr>
        <p:txBody>
          <a:bodyPr/>
          <a:lstStyle>
            <a:lvl1pPr>
              <a:defRPr sz="1600">
                <a:solidFill>
                  <a:schemeClr val="accent1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Insert short heading</a:t>
            </a:r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40873BA0-D07F-48FC-BFDC-D0EFFD9B8BE9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723114" y="2493082"/>
            <a:ext cx="2407435" cy="3175881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D886E29-59DD-4CD6-A692-67361AAFABF1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5B19CAED-121F-4390-AA15-F16FCBF32B65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411538" y="2070100"/>
            <a:ext cx="2407858" cy="360000"/>
          </a:xfrm>
        </p:spPr>
        <p:txBody>
          <a:bodyPr/>
          <a:lstStyle>
            <a:lvl1pPr>
              <a:defRPr sz="1600">
                <a:solidFill>
                  <a:schemeClr val="accent1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Insert short heading</a:t>
            </a:r>
          </a:p>
        </p:txBody>
      </p:sp>
      <p:sp>
        <p:nvSpPr>
          <p:cNvPr id="20" name="Text Placeholder 6">
            <a:extLst>
              <a:ext uri="{FF2B5EF4-FFF2-40B4-BE49-F238E27FC236}">
                <a16:creationId xmlns:a16="http://schemas.microsoft.com/office/drawing/2014/main" id="{D06A3DA3-2AD3-4755-9C01-284E8E2680C8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3415514" y="2493082"/>
            <a:ext cx="2407435" cy="3175881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1" name="Text Placeholder 4">
            <a:extLst>
              <a:ext uri="{FF2B5EF4-FFF2-40B4-BE49-F238E27FC236}">
                <a16:creationId xmlns:a16="http://schemas.microsoft.com/office/drawing/2014/main" id="{9B58E007-1B1A-4D92-8233-5C9B66AF357F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097588" y="2070100"/>
            <a:ext cx="2407858" cy="360000"/>
          </a:xfrm>
        </p:spPr>
        <p:txBody>
          <a:bodyPr/>
          <a:lstStyle>
            <a:lvl1pPr>
              <a:defRPr sz="1600">
                <a:solidFill>
                  <a:schemeClr val="accent1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Insert short heading</a:t>
            </a:r>
          </a:p>
        </p:txBody>
      </p:sp>
      <p:sp>
        <p:nvSpPr>
          <p:cNvPr id="22" name="Text Placeholder 6">
            <a:extLst>
              <a:ext uri="{FF2B5EF4-FFF2-40B4-BE49-F238E27FC236}">
                <a16:creationId xmlns:a16="http://schemas.microsoft.com/office/drawing/2014/main" id="{35434B15-7A76-465B-A38A-9225667A4F49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6101564" y="2493082"/>
            <a:ext cx="2407435" cy="3175881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3" name="Text Placeholder 4">
            <a:extLst>
              <a:ext uri="{FF2B5EF4-FFF2-40B4-BE49-F238E27FC236}">
                <a16:creationId xmlns:a16="http://schemas.microsoft.com/office/drawing/2014/main" id="{4879DFFD-4D03-4930-84D1-53995BA1AD88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789988" y="2070100"/>
            <a:ext cx="2407858" cy="360000"/>
          </a:xfrm>
        </p:spPr>
        <p:txBody>
          <a:bodyPr/>
          <a:lstStyle>
            <a:lvl1pPr>
              <a:defRPr sz="1600">
                <a:solidFill>
                  <a:schemeClr val="accent1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Insert short heading</a:t>
            </a:r>
          </a:p>
        </p:txBody>
      </p:sp>
      <p:sp>
        <p:nvSpPr>
          <p:cNvPr id="24" name="Text Placeholder 6">
            <a:extLst>
              <a:ext uri="{FF2B5EF4-FFF2-40B4-BE49-F238E27FC236}">
                <a16:creationId xmlns:a16="http://schemas.microsoft.com/office/drawing/2014/main" id="{EAD87999-1ED1-4D34-B607-F39EC3945FD8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8793964" y="2493082"/>
            <a:ext cx="2407435" cy="3175881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531248483"/>
      </p:ext>
    </p:extLst>
  </p:cSld>
  <p:clrMapOvr>
    <a:masterClrMapping/>
  </p:clrMapOvr>
</p:sldLayout>
</file>

<file path=ppt/slideLayouts/slideLayout2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Picture Placeholder 19">
            <a:extLst>
              <a:ext uri="{FF2B5EF4-FFF2-40B4-BE49-F238E27FC236}">
                <a16:creationId xmlns:a16="http://schemas.microsoft.com/office/drawing/2014/main" id="{86194C40-6E11-4DA3-B3BE-A6141D676B1F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120995" y="765998"/>
            <a:ext cx="1184400" cy="1184400"/>
          </a:xfrm>
          <a:prstGeom prst="rect">
            <a:avLst/>
          </a:prstGeo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>
                <a:noFill/>
              </a:defRPr>
            </a:lvl1pPr>
          </a:lstStyle>
          <a:p>
            <a:endParaRPr lang="en-US"/>
          </a:p>
        </p:txBody>
      </p:sp>
      <p:sp>
        <p:nvSpPr>
          <p:cNvPr id="9" name="Picture Placeholder 11">
            <a:extLst>
              <a:ext uri="{FF2B5EF4-FFF2-40B4-BE49-F238E27FC236}">
                <a16:creationId xmlns:a16="http://schemas.microsoft.com/office/drawing/2014/main" id="{F7693863-04EF-4469-A36B-290B4E4326A5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6898170" y="1"/>
            <a:ext cx="4356399" cy="5951535"/>
          </a:xfrm>
          <a:custGeom>
            <a:avLst/>
            <a:gdLst>
              <a:gd name="connsiteX0" fmla="*/ 429 w 3267299"/>
              <a:gd name="connsiteY0" fmla="*/ 0 h 4463651"/>
              <a:gd name="connsiteX1" fmla="*/ 3266870 w 3267299"/>
              <a:gd name="connsiteY1" fmla="*/ 0 h 4463651"/>
              <a:gd name="connsiteX2" fmla="*/ 3267299 w 3267299"/>
              <a:gd name="connsiteY2" fmla="*/ 8501 h 4463651"/>
              <a:gd name="connsiteX3" fmla="*/ 3267299 w 3267299"/>
              <a:gd name="connsiteY3" fmla="*/ 2830001 h 4463651"/>
              <a:gd name="connsiteX4" fmla="*/ 1633649 w 3267299"/>
              <a:gd name="connsiteY4" fmla="*/ 4463651 h 4463651"/>
              <a:gd name="connsiteX5" fmla="*/ 8434 w 3267299"/>
              <a:gd name="connsiteY5" fmla="*/ 2997032 h 4463651"/>
              <a:gd name="connsiteX6" fmla="*/ 0 w 3267299"/>
              <a:gd name="connsiteY6" fmla="*/ 2830020 h 4463651"/>
              <a:gd name="connsiteX7" fmla="*/ 0 w 3267299"/>
              <a:gd name="connsiteY7" fmla="*/ 8482 h 44636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267299" h="4463651">
                <a:moveTo>
                  <a:pt x="429" y="0"/>
                </a:moveTo>
                <a:lnTo>
                  <a:pt x="3266870" y="0"/>
                </a:lnTo>
                <a:lnTo>
                  <a:pt x="3267299" y="8501"/>
                </a:lnTo>
                <a:lnTo>
                  <a:pt x="3267299" y="2830001"/>
                </a:lnTo>
                <a:cubicBezTo>
                  <a:pt x="3267299" y="3732241"/>
                  <a:pt x="2535889" y="4463651"/>
                  <a:pt x="1633649" y="4463651"/>
                </a:cubicBezTo>
                <a:cubicBezTo>
                  <a:pt x="787799" y="4463651"/>
                  <a:pt x="92093" y="3820810"/>
                  <a:pt x="8434" y="2997032"/>
                </a:cubicBezTo>
                <a:lnTo>
                  <a:pt x="0" y="2830020"/>
                </a:lnTo>
                <a:lnTo>
                  <a:pt x="0" y="8482"/>
                </a:lnTo>
                <a:close/>
              </a:path>
            </a:pathLst>
          </a:custGeom>
          <a:solidFill>
            <a:srgbClr val="F5F6F9"/>
          </a:solidFill>
        </p:spPr>
        <p:txBody>
          <a:bodyPr wrap="square">
            <a:noAutofit/>
          </a:bodyPr>
          <a:lstStyle/>
          <a:p>
            <a:endParaRPr lang="en-US"/>
          </a:p>
        </p:txBody>
      </p:sp>
      <p:sp>
        <p:nvSpPr>
          <p:cNvPr id="21" name="Picture Placeholder 19">
            <a:extLst>
              <a:ext uri="{FF2B5EF4-FFF2-40B4-BE49-F238E27FC236}">
                <a16:creationId xmlns:a16="http://schemas.microsoft.com/office/drawing/2014/main" id="{C43F95A5-2533-4A68-8ED4-1D3CF60825C6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0069235" y="4543999"/>
            <a:ext cx="1184400" cy="1185333"/>
          </a:xfrm>
          <a:prstGeom prst="rect">
            <a:avLst/>
          </a:prstGeom>
          <a:blipFill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>
                <a:noFill/>
              </a:defRPr>
            </a:lvl1pPr>
          </a:lstStyle>
          <a:p>
            <a:endParaRPr lang="en-US"/>
          </a:p>
        </p:txBody>
      </p:sp>
      <p:sp>
        <p:nvSpPr>
          <p:cNvPr id="13" name="Picture Placeholder 5">
            <a:extLst>
              <a:ext uri="{FF2B5EF4-FFF2-40B4-BE49-F238E27FC236}">
                <a16:creationId xmlns:a16="http://schemas.microsoft.com/office/drawing/2014/main" id="{D487B088-C7EB-400A-8256-45F802B3487A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711200" y="1602317"/>
            <a:ext cx="508405" cy="414528"/>
          </a:xfrm>
          <a:prstGeom prst="rect">
            <a:avLst/>
          </a:prstGeom>
          <a:blipFill>
            <a:blip r:embed="rId4"/>
            <a:stretch>
              <a:fillRect/>
            </a:stretch>
          </a:blipFill>
        </p:spPr>
        <p:txBody>
          <a:bodyPr/>
          <a:lstStyle>
            <a:lvl1pPr>
              <a:defRPr>
                <a:noFill/>
              </a:defRPr>
            </a:lvl1pPr>
          </a:lstStyle>
          <a:p>
            <a:endParaRPr lang="en-US"/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896670A8-7100-41F8-9184-7138AACF2E2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332840" y="1613116"/>
            <a:ext cx="4641850" cy="2958883"/>
          </a:xfrm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US"/>
              <a:t>Insert quote here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0E4957E7-DFB6-4FFF-A638-21D68F72EBD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332840" y="4770438"/>
            <a:ext cx="4641850" cy="366227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  <a:lvl5pPr>
              <a:defRPr/>
            </a:lvl5pPr>
          </a:lstStyle>
          <a:p>
            <a:pPr lvl="0"/>
            <a:r>
              <a:rPr lang="en-US"/>
              <a:t>Insert Source</a:t>
            </a:r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A0CC1390-2D91-4A0D-8002-1AB3ECC857BA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332840" y="5219699"/>
            <a:ext cx="4641850" cy="366227"/>
          </a:xfrm>
        </p:spPr>
        <p:txBody>
          <a:bodyPr/>
          <a:lstStyle>
            <a:lvl1pPr>
              <a:defRPr sz="1200">
                <a:solidFill>
                  <a:schemeClr val="bg2"/>
                </a:solidFill>
              </a:defRPr>
            </a:lvl1pPr>
            <a:lvl5pPr>
              <a:defRPr/>
            </a:lvl5pPr>
          </a:lstStyle>
          <a:p>
            <a:pPr lvl="0"/>
            <a:r>
              <a:rPr lang="en-US"/>
              <a:t>Insert additional information</a:t>
            </a:r>
          </a:p>
        </p:txBody>
      </p:sp>
    </p:spTree>
    <p:extLst>
      <p:ext uri="{BB962C8B-B14F-4D97-AF65-F5344CB8AC3E}">
        <p14:creationId xmlns:p14="http://schemas.microsoft.com/office/powerpoint/2010/main" val="3574757067"/>
      </p:ext>
    </p:extLst>
  </p:cSld>
  <p:clrMapOvr>
    <a:masterClrMapping/>
  </p:clrMapOvr>
</p:sldLayout>
</file>

<file path=ppt/slideLayouts/slideLayout2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E4054473-44C8-4070-9A14-FBB58406A2B4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267282" y="1612900"/>
            <a:ext cx="3217747" cy="819150"/>
          </a:xfrm>
        </p:spPr>
        <p:txBody>
          <a:bodyPr/>
          <a:lstStyle>
            <a:lvl1pPr>
              <a:defRPr sz="2000">
                <a:solidFill>
                  <a:schemeClr val="accent1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Insert short heading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F628C63-1E02-449F-8A5E-FA326608991D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8254585" y="2519363"/>
            <a:ext cx="3217745" cy="316177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Picture Placeholder 9">
            <a:extLst>
              <a:ext uri="{FF2B5EF4-FFF2-40B4-BE49-F238E27FC236}">
                <a16:creationId xmlns:a16="http://schemas.microsoft.com/office/drawing/2014/main" id="{9226CD76-62DA-4A5C-9D4C-5E233D954AD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6813964" y="5157338"/>
            <a:ext cx="1146096" cy="1146097"/>
          </a:xfrm>
          <a:prstGeom prst="rect">
            <a:avLst/>
          </a:prstGeo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>
                <a:noFill/>
              </a:defRPr>
            </a:lvl1pPr>
          </a:lstStyle>
          <a:p>
            <a:endParaRPr lang="en-US"/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D770774F-BDA5-44BF-87A9-ACAC27D30E7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937415" y="965200"/>
            <a:ext cx="1146096" cy="1146097"/>
          </a:xfrm>
          <a:prstGeom prst="rect">
            <a:avLst/>
          </a:prstGeom>
          <a:blipFill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>
                <a:noFill/>
              </a:defRPr>
            </a:lvl1pPr>
          </a:lstStyle>
          <a:p>
            <a:endParaRPr lang="en-US"/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2D989DD8-307B-4044-B0AD-5914C955D76D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359000" y="745001"/>
            <a:ext cx="3474000" cy="5403900"/>
          </a:xfrm>
          <a:prstGeom prst="roundRect">
            <a:avLst>
              <a:gd name="adj" fmla="val 50000"/>
            </a:avLst>
          </a:prstGeom>
          <a:solidFill>
            <a:srgbClr val="F5F6F9"/>
          </a:solidFill>
        </p:spPr>
        <p:txBody>
          <a:bodyPr/>
          <a:lstStyle/>
          <a:p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3159506-874E-41B2-AA58-92FF0184A76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666" y="2070101"/>
            <a:ext cx="2895601" cy="251883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676893136"/>
      </p:ext>
    </p:extLst>
  </p:cSld>
  <p:clrMapOvr>
    <a:masterClrMapping/>
  </p:clrMapOvr>
</p:sldLayout>
</file>

<file path=ppt/slideLayouts/slideLayout2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Text Placeholder 6">
            <a:extLst>
              <a:ext uri="{FF2B5EF4-FFF2-40B4-BE49-F238E27FC236}">
                <a16:creationId xmlns:a16="http://schemas.microsoft.com/office/drawing/2014/main" id="{7DFABFB1-2D0D-493D-9ACD-0E104EE16057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8234226" y="2336677"/>
            <a:ext cx="3238638" cy="128602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ext Placeholder 4">
            <a:extLst>
              <a:ext uri="{FF2B5EF4-FFF2-40B4-BE49-F238E27FC236}">
                <a16:creationId xmlns:a16="http://schemas.microsoft.com/office/drawing/2014/main" id="{649F3A8B-A23D-41AF-A676-89E541E928A9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237478" y="1888066"/>
            <a:ext cx="3237237" cy="360000"/>
          </a:xfrm>
        </p:spPr>
        <p:txBody>
          <a:bodyPr/>
          <a:lstStyle>
            <a:lvl1pPr>
              <a:defRPr sz="1800">
                <a:solidFill>
                  <a:schemeClr val="accent1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Insert short heading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A8D9963-BF99-4C17-86D4-9D7B037EED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0102" y="1612900"/>
            <a:ext cx="4114800" cy="11557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02B006D3-C5BB-455C-A6FF-E9CBF94C2D3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719138" y="2967038"/>
            <a:ext cx="4114800" cy="360000"/>
          </a:xfrm>
        </p:spPr>
        <p:txBody>
          <a:bodyPr/>
          <a:lstStyle>
            <a:lvl1pPr>
              <a:defRPr sz="1800">
                <a:solidFill>
                  <a:schemeClr val="accent1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Insert short heading</a:t>
            </a:r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766512B3-51A4-4806-AC05-D7402CAC3662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723114" y="3416300"/>
            <a:ext cx="4114077" cy="2252663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587CB38-4B3C-4FD8-9170-7441294FAFE9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9" name="Text Placeholder 34">
            <a:extLst>
              <a:ext uri="{FF2B5EF4-FFF2-40B4-BE49-F238E27FC236}">
                <a16:creationId xmlns:a16="http://schemas.microsoft.com/office/drawing/2014/main" id="{7754A821-3029-4BDD-AAD3-908F2D8A8664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510575" y="2124021"/>
            <a:ext cx="1131616" cy="711200"/>
          </a:xfrm>
          <a:prstGeom prst="rect">
            <a:avLst/>
          </a:prstGeom>
        </p:spPr>
        <p:txBody>
          <a:bodyPr/>
          <a:lstStyle>
            <a:lvl1pPr>
              <a:defRPr sz="3200" b="0" i="0">
                <a:solidFill>
                  <a:schemeClr val="accent1"/>
                </a:solidFill>
                <a:latin typeface="CiscoSansTT Light" panose="020B0503020201020303" pitchFamily="34" charset="0"/>
                <a:cs typeface="CiscoSansTT Light" panose="020B0503020201020303" pitchFamily="34" charset="0"/>
              </a:defRPr>
            </a:lvl1pPr>
          </a:lstStyle>
          <a:p>
            <a:pPr lvl="0"/>
            <a:r>
              <a:rPr lang="en-GB"/>
              <a:t>XX%</a:t>
            </a:r>
            <a:endParaRPr lang="en-US"/>
          </a:p>
        </p:txBody>
      </p:sp>
      <p:sp>
        <p:nvSpPr>
          <p:cNvPr id="28" name="Text Placeholder 4">
            <a:extLst>
              <a:ext uri="{FF2B5EF4-FFF2-40B4-BE49-F238E27FC236}">
                <a16:creationId xmlns:a16="http://schemas.microsoft.com/office/drawing/2014/main" id="{48B92931-8EDF-49B6-8C0C-243F15A910EB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237478" y="4358216"/>
            <a:ext cx="3237237" cy="360000"/>
          </a:xfrm>
        </p:spPr>
        <p:txBody>
          <a:bodyPr/>
          <a:lstStyle>
            <a:lvl1pPr>
              <a:defRPr sz="1800">
                <a:solidFill>
                  <a:schemeClr val="accent5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Insert short heading</a:t>
            </a:r>
          </a:p>
        </p:txBody>
      </p:sp>
      <p:sp>
        <p:nvSpPr>
          <p:cNvPr id="29" name="Text Placeholder 34">
            <a:extLst>
              <a:ext uri="{FF2B5EF4-FFF2-40B4-BE49-F238E27FC236}">
                <a16:creationId xmlns:a16="http://schemas.microsoft.com/office/drawing/2014/main" id="{BD766710-0ABE-4624-8CA1-DC26EB21DB37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568693" y="4591337"/>
            <a:ext cx="1131616" cy="711200"/>
          </a:xfrm>
          <a:prstGeom prst="rect">
            <a:avLst/>
          </a:prstGeom>
        </p:spPr>
        <p:txBody>
          <a:bodyPr/>
          <a:lstStyle>
            <a:lvl1pPr>
              <a:defRPr sz="3200" b="0" i="0">
                <a:solidFill>
                  <a:schemeClr val="accent5"/>
                </a:solidFill>
                <a:latin typeface="CiscoSansTT Light" panose="020B0503020201020303" pitchFamily="34" charset="0"/>
                <a:cs typeface="CiscoSansTT Light" panose="020B0503020201020303" pitchFamily="34" charset="0"/>
              </a:defRPr>
            </a:lvl1pPr>
          </a:lstStyle>
          <a:p>
            <a:pPr lvl="0"/>
            <a:r>
              <a:rPr lang="en-GB"/>
              <a:t>XX%</a:t>
            </a:r>
            <a:endParaRPr lang="en-US"/>
          </a:p>
        </p:txBody>
      </p:sp>
      <p:sp>
        <p:nvSpPr>
          <p:cNvPr id="30" name="Text Placeholder 6">
            <a:extLst>
              <a:ext uri="{FF2B5EF4-FFF2-40B4-BE49-F238E27FC236}">
                <a16:creationId xmlns:a16="http://schemas.microsoft.com/office/drawing/2014/main" id="{00A91EDB-D2C4-4B6A-A163-A9A9B57EA5BA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8234226" y="4834467"/>
            <a:ext cx="3238638" cy="1286024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494058096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8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Picture Placeholder 36">
            <a:extLst>
              <a:ext uri="{FF2B5EF4-FFF2-40B4-BE49-F238E27FC236}">
                <a16:creationId xmlns:a16="http://schemas.microsoft.com/office/drawing/2014/main" id="{A09742A7-0B5E-4F47-A95F-532A0AB3B278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393167" y="1"/>
            <a:ext cx="1322400" cy="5676899"/>
          </a:xfrm>
          <a:custGeom>
            <a:avLst/>
            <a:gdLst>
              <a:gd name="connsiteX0" fmla="*/ 0 w 991800"/>
              <a:gd name="connsiteY0" fmla="*/ 0 h 4257674"/>
              <a:gd name="connsiteX1" fmla="*/ 991800 w 991800"/>
              <a:gd name="connsiteY1" fmla="*/ 0 h 4257674"/>
              <a:gd name="connsiteX2" fmla="*/ 991800 w 991800"/>
              <a:gd name="connsiteY2" fmla="*/ 3771573 h 4257674"/>
              <a:gd name="connsiteX3" fmla="*/ 505699 w 991800"/>
              <a:gd name="connsiteY3" fmla="*/ 4257674 h 4257674"/>
              <a:gd name="connsiteX4" fmla="*/ 486101 w 991800"/>
              <a:gd name="connsiteY4" fmla="*/ 4257674 h 4257674"/>
              <a:gd name="connsiteX5" fmla="*/ 0 w 991800"/>
              <a:gd name="connsiteY5" fmla="*/ 3771573 h 42576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991800" h="4257674">
                <a:moveTo>
                  <a:pt x="0" y="0"/>
                </a:moveTo>
                <a:lnTo>
                  <a:pt x="991800" y="0"/>
                </a:lnTo>
                <a:lnTo>
                  <a:pt x="991800" y="3771573"/>
                </a:lnTo>
                <a:cubicBezTo>
                  <a:pt x="991800" y="4040039"/>
                  <a:pt x="774165" y="4257674"/>
                  <a:pt x="505699" y="4257674"/>
                </a:cubicBezTo>
                <a:lnTo>
                  <a:pt x="486101" y="4257674"/>
                </a:lnTo>
                <a:cubicBezTo>
                  <a:pt x="217635" y="4257674"/>
                  <a:pt x="0" y="4040039"/>
                  <a:pt x="0" y="3771573"/>
                </a:cubicBezTo>
                <a:close/>
              </a:path>
            </a:pathLst>
          </a:custGeom>
          <a:solidFill>
            <a:srgbClr val="EDF1F6"/>
          </a:solidFill>
        </p:spPr>
        <p:txBody>
          <a:bodyPr wrap="square">
            <a:noAutofit/>
          </a:bodyPr>
          <a:lstStyle>
            <a:lvl1pPr>
              <a:defRPr>
                <a:noFill/>
              </a:defRPr>
            </a:lvl1pPr>
          </a:lstStyle>
          <a:p>
            <a:endParaRPr lang="en-US"/>
          </a:p>
        </p:txBody>
      </p:sp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B14E011C-C076-4297-993A-6269B12CEC8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715336" y="3215366"/>
            <a:ext cx="2421200" cy="3642633"/>
          </a:xfrm>
          <a:prstGeom prst="round2SameRect">
            <a:avLst>
              <a:gd name="adj1" fmla="val 50000"/>
              <a:gd name="adj2" fmla="val 0"/>
            </a:avLst>
          </a:prstGeom>
          <a:solidFill>
            <a:srgbClr val="EDF1F6"/>
          </a:solidFill>
        </p:spPr>
        <p:txBody>
          <a:bodyPr>
            <a:noAutofit/>
          </a:bodyPr>
          <a:lstStyle/>
          <a:p>
            <a:endParaRPr lang="en-US"/>
          </a:p>
        </p:txBody>
      </p:sp>
      <p:sp>
        <p:nvSpPr>
          <p:cNvPr id="24" name="Picture Placeholder 17">
            <a:extLst>
              <a:ext uri="{FF2B5EF4-FFF2-40B4-BE49-F238E27FC236}">
                <a16:creationId xmlns:a16="http://schemas.microsoft.com/office/drawing/2014/main" id="{799C6E57-0A19-4334-AAAF-08B6BB2F2833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704633" y="1595780"/>
            <a:ext cx="699467" cy="688637"/>
          </a:xfrm>
          <a:prstGeom prst="ellipse">
            <a:avLst/>
          </a:prstGeom>
          <a:solidFill>
            <a:schemeClr val="bg1"/>
          </a:solidFill>
          <a:ln w="101600">
            <a:solidFill>
              <a:schemeClr val="bg1"/>
            </a:solidFill>
          </a:ln>
        </p:spPr>
        <p:txBody>
          <a:bodyPr>
            <a:noAutofit/>
          </a:bodyPr>
          <a:lstStyle>
            <a:lvl1pPr>
              <a:defRPr>
                <a:noFill/>
              </a:defRPr>
            </a:lvl1pPr>
          </a:lstStyle>
          <a:p>
            <a:endParaRPr lang="en-US"/>
          </a:p>
        </p:txBody>
      </p:sp>
      <p:sp>
        <p:nvSpPr>
          <p:cNvPr id="26" name="Picture Placeholder 17">
            <a:extLst>
              <a:ext uri="{FF2B5EF4-FFF2-40B4-BE49-F238E27FC236}">
                <a16:creationId xmlns:a16="http://schemas.microsoft.com/office/drawing/2014/main" id="{1877A2FE-9F23-45BF-8D2A-03B5C0097EBB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6704633" y="3098740"/>
            <a:ext cx="699467" cy="688637"/>
          </a:xfrm>
          <a:prstGeom prst="ellipse">
            <a:avLst/>
          </a:prstGeom>
          <a:solidFill>
            <a:schemeClr val="bg1"/>
          </a:solidFill>
          <a:ln w="101600">
            <a:solidFill>
              <a:schemeClr val="bg1"/>
            </a:solidFill>
          </a:ln>
        </p:spPr>
        <p:txBody>
          <a:bodyPr>
            <a:noAutofit/>
          </a:bodyPr>
          <a:lstStyle>
            <a:lvl1pPr>
              <a:defRPr>
                <a:noFill/>
              </a:defRPr>
            </a:lvl1pPr>
          </a:lstStyle>
          <a:p>
            <a:endParaRPr lang="en-US"/>
          </a:p>
        </p:txBody>
      </p:sp>
      <p:sp>
        <p:nvSpPr>
          <p:cNvPr id="28" name="Picture Placeholder 17">
            <a:extLst>
              <a:ext uri="{FF2B5EF4-FFF2-40B4-BE49-F238E27FC236}">
                <a16:creationId xmlns:a16="http://schemas.microsoft.com/office/drawing/2014/main" id="{46FA405D-A3C1-4D33-8B98-57D1F3B32004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6704633" y="4601700"/>
            <a:ext cx="699467" cy="688637"/>
          </a:xfrm>
          <a:prstGeom prst="ellipse">
            <a:avLst/>
          </a:prstGeom>
          <a:solidFill>
            <a:schemeClr val="bg1"/>
          </a:solidFill>
          <a:ln w="101600">
            <a:solidFill>
              <a:schemeClr val="bg1"/>
            </a:solidFill>
          </a:ln>
        </p:spPr>
        <p:txBody>
          <a:bodyPr>
            <a:noAutofit/>
          </a:bodyPr>
          <a:lstStyle>
            <a:lvl1pPr>
              <a:defRPr>
                <a:noFill/>
              </a:defRPr>
            </a:lvl1pPr>
          </a:lstStyle>
          <a:p>
            <a:endParaRPr lang="en-US"/>
          </a:p>
        </p:txBody>
      </p:sp>
      <p:sp>
        <p:nvSpPr>
          <p:cNvPr id="33" name="Text Placeholder 12">
            <a:extLst>
              <a:ext uri="{FF2B5EF4-FFF2-40B4-BE49-F238E27FC236}">
                <a16:creationId xmlns:a16="http://schemas.microsoft.com/office/drawing/2014/main" id="{7E1499F1-B302-4244-9F4B-E961677B8CF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833841" y="1509357"/>
            <a:ext cx="2766483" cy="861483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 marL="0" marR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67" b="0" i="0">
                <a:solidFill>
                  <a:schemeClr val="tx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defRPr>
            </a:lvl1pPr>
            <a:lvl2pPr>
              <a:defRPr sz="1867"/>
            </a:lvl2pPr>
            <a:lvl3pPr>
              <a:defRPr sz="1867"/>
            </a:lvl3pPr>
            <a:lvl4pPr>
              <a:defRPr sz="1867"/>
            </a:lvl4pPr>
            <a:lvl5pPr>
              <a:defRPr sz="1867"/>
            </a:lvl5pPr>
          </a:lstStyle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lang="en-US" u="none" strike="noStrike" cap="none">
              <a:solidFill>
                <a:schemeClr val="tx1"/>
              </a:solidFill>
              <a:latin typeface="CiscoSansTT ExtraLight" panose="020B0303020201020303" pitchFamily="34" charset="0"/>
              <a:ea typeface="Helvetica Neue Light"/>
              <a:cs typeface="CiscoSansTT ExtraLight" panose="020B0303020201020303" pitchFamily="34" charset="0"/>
              <a:sym typeface="Helvetica Neue Light"/>
            </a:endParaRPr>
          </a:p>
        </p:txBody>
      </p:sp>
      <p:sp>
        <p:nvSpPr>
          <p:cNvPr id="34" name="Text Placeholder 12">
            <a:extLst>
              <a:ext uri="{FF2B5EF4-FFF2-40B4-BE49-F238E27FC236}">
                <a16:creationId xmlns:a16="http://schemas.microsoft.com/office/drawing/2014/main" id="{B0D407D6-7492-4E30-AEE9-8213712AA5D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33841" y="2998259"/>
            <a:ext cx="2766483" cy="861483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 marL="0" marR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67" b="0" i="0">
                <a:solidFill>
                  <a:schemeClr val="tx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defRPr>
            </a:lvl1pPr>
            <a:lvl2pPr>
              <a:defRPr sz="1867"/>
            </a:lvl2pPr>
            <a:lvl3pPr>
              <a:defRPr sz="1867"/>
            </a:lvl3pPr>
            <a:lvl4pPr>
              <a:defRPr sz="1867"/>
            </a:lvl4pPr>
            <a:lvl5pPr>
              <a:defRPr sz="1867"/>
            </a:lvl5pPr>
          </a:lstStyle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lang="en-US" u="none" strike="noStrike" cap="none">
              <a:solidFill>
                <a:schemeClr val="tx1"/>
              </a:solidFill>
              <a:latin typeface="CiscoSansTT ExtraLight" panose="020B0303020201020303" pitchFamily="34" charset="0"/>
              <a:ea typeface="Helvetica Neue Light"/>
              <a:cs typeface="CiscoSansTT ExtraLight" panose="020B0303020201020303" pitchFamily="34" charset="0"/>
              <a:sym typeface="Helvetica Neue Light"/>
            </a:endParaRPr>
          </a:p>
        </p:txBody>
      </p:sp>
      <p:sp>
        <p:nvSpPr>
          <p:cNvPr id="35" name="Text Placeholder 12">
            <a:extLst>
              <a:ext uri="{FF2B5EF4-FFF2-40B4-BE49-F238E27FC236}">
                <a16:creationId xmlns:a16="http://schemas.microsoft.com/office/drawing/2014/main" id="{316ECD5F-A89A-4519-8234-D410807D88C4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7833841" y="4515277"/>
            <a:ext cx="2766483" cy="861483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 marL="0" marR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67" b="0" i="0">
                <a:solidFill>
                  <a:schemeClr val="tx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defRPr>
            </a:lvl1pPr>
            <a:lvl2pPr>
              <a:defRPr sz="1867"/>
            </a:lvl2pPr>
            <a:lvl3pPr>
              <a:defRPr sz="1867"/>
            </a:lvl3pPr>
            <a:lvl4pPr>
              <a:defRPr sz="1867"/>
            </a:lvl4pPr>
            <a:lvl5pPr>
              <a:defRPr sz="1867"/>
            </a:lvl5pPr>
          </a:lstStyle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lang="en-US" u="none" strike="noStrike" cap="none">
              <a:solidFill>
                <a:schemeClr val="tx1"/>
              </a:solidFill>
              <a:latin typeface="CiscoSansTT ExtraLight" panose="020B0303020201020303" pitchFamily="34" charset="0"/>
              <a:ea typeface="Helvetica Neue Light"/>
              <a:cs typeface="CiscoSansTT ExtraLight" panose="020B0303020201020303" pitchFamily="34" charset="0"/>
              <a:sym typeface="Helvetica Neue Light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58FD7D9-142A-4FD6-9261-E6EE8E9A36D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1200" y="709084"/>
            <a:ext cx="4106333" cy="2161115"/>
          </a:xfrm>
        </p:spPr>
        <p:txBody>
          <a:bodyPr>
            <a:noAutofit/>
          </a:bodyPr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830980261"/>
      </p:ext>
    </p:extLst>
  </p:cSld>
  <p:clrMapOvr>
    <a:masterClrMapping/>
  </p:clrMapOvr>
</p:sldLayout>
</file>

<file path=ppt/slideLayouts/slideLayout2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21">
            <a:extLst>
              <a:ext uri="{FF2B5EF4-FFF2-40B4-BE49-F238E27FC236}">
                <a16:creationId xmlns:a16="http://schemas.microsoft.com/office/drawing/2014/main" id="{60AFAD34-CFFF-EF48-B99C-F11DFD70F0B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583450" y="1043471"/>
            <a:ext cx="1914801" cy="1038091"/>
          </a:xfrm>
          <a:prstGeom prst="rect">
            <a:avLst/>
          </a:prstGeom>
        </p:spPr>
        <p:txBody>
          <a:bodyPr/>
          <a:lstStyle>
            <a:lvl1pPr>
              <a:defRPr sz="1400" b="0" i="0">
                <a:solidFill>
                  <a:schemeClr val="bg2"/>
                </a:solidFill>
                <a:latin typeface="+mn-lt"/>
                <a:cs typeface="CiscoSansTT ExtraLight" panose="020B0303020201020303" pitchFamily="34" charset="0"/>
              </a:defRPr>
            </a:lvl1pPr>
          </a:lstStyle>
          <a:p>
            <a:pPr lvl="0"/>
            <a:r>
              <a:rPr lang="en-GB"/>
              <a:t>Click to add text</a:t>
            </a:r>
            <a:endParaRPr lang="en-US"/>
          </a:p>
        </p:txBody>
      </p:sp>
      <p:sp>
        <p:nvSpPr>
          <p:cNvPr id="18" name="Text Placeholder 21">
            <a:extLst>
              <a:ext uri="{FF2B5EF4-FFF2-40B4-BE49-F238E27FC236}">
                <a16:creationId xmlns:a16="http://schemas.microsoft.com/office/drawing/2014/main" id="{5DED0708-F6D0-9247-BBE1-821405FF823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583450" y="2909339"/>
            <a:ext cx="1914801" cy="1038091"/>
          </a:xfrm>
          <a:prstGeom prst="rect">
            <a:avLst/>
          </a:prstGeom>
        </p:spPr>
        <p:txBody>
          <a:bodyPr/>
          <a:lstStyle>
            <a:lvl1pPr>
              <a:defRPr sz="1400" b="0" i="0">
                <a:solidFill>
                  <a:schemeClr val="bg2"/>
                </a:solidFill>
                <a:latin typeface="+mn-lt"/>
                <a:cs typeface="CiscoSansTT ExtraLight" panose="020B0303020201020303" pitchFamily="34" charset="0"/>
              </a:defRPr>
            </a:lvl1pPr>
          </a:lstStyle>
          <a:p>
            <a:pPr lvl="0"/>
            <a:r>
              <a:rPr lang="en-GB"/>
              <a:t>Click to add text</a:t>
            </a:r>
            <a:endParaRPr lang="en-US"/>
          </a:p>
        </p:txBody>
      </p:sp>
      <p:sp>
        <p:nvSpPr>
          <p:cNvPr id="19" name="Text Placeholder 21">
            <a:extLst>
              <a:ext uri="{FF2B5EF4-FFF2-40B4-BE49-F238E27FC236}">
                <a16:creationId xmlns:a16="http://schemas.microsoft.com/office/drawing/2014/main" id="{5CCA10A3-3B40-D248-9C55-B94F50E7383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583450" y="4776439"/>
            <a:ext cx="1914801" cy="1038091"/>
          </a:xfrm>
          <a:prstGeom prst="rect">
            <a:avLst/>
          </a:prstGeom>
        </p:spPr>
        <p:txBody>
          <a:bodyPr/>
          <a:lstStyle>
            <a:lvl1pPr>
              <a:defRPr sz="1400" b="0" i="0">
                <a:solidFill>
                  <a:schemeClr val="bg2"/>
                </a:solidFill>
                <a:latin typeface="+mn-lt"/>
                <a:cs typeface="CiscoSansTT ExtraLight" panose="020B0303020201020303" pitchFamily="34" charset="0"/>
              </a:defRPr>
            </a:lvl1pPr>
          </a:lstStyle>
          <a:p>
            <a:pPr lvl="0"/>
            <a:r>
              <a:rPr lang="en-GB"/>
              <a:t>Click to add text</a:t>
            </a:r>
            <a:endParaRPr lang="en-US"/>
          </a:p>
        </p:txBody>
      </p:sp>
      <p:sp>
        <p:nvSpPr>
          <p:cNvPr id="20" name="Text Placeholder 21">
            <a:extLst>
              <a:ext uri="{FF2B5EF4-FFF2-40B4-BE49-F238E27FC236}">
                <a16:creationId xmlns:a16="http://schemas.microsoft.com/office/drawing/2014/main" id="{BC3462B6-4CC9-5145-9E61-C762FD2757B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9120152" y="1042988"/>
            <a:ext cx="1914801" cy="1038091"/>
          </a:xfrm>
          <a:prstGeom prst="rect">
            <a:avLst/>
          </a:prstGeom>
        </p:spPr>
        <p:txBody>
          <a:bodyPr/>
          <a:lstStyle>
            <a:lvl1pPr>
              <a:defRPr sz="1400" b="0" i="0">
                <a:solidFill>
                  <a:schemeClr val="bg2"/>
                </a:solidFill>
                <a:latin typeface="+mn-lt"/>
                <a:cs typeface="CiscoSansTT ExtraLight" panose="020B0303020201020303" pitchFamily="34" charset="0"/>
              </a:defRPr>
            </a:lvl1pPr>
          </a:lstStyle>
          <a:p>
            <a:pPr lvl="0"/>
            <a:r>
              <a:rPr lang="en-GB"/>
              <a:t>Click to add text</a:t>
            </a:r>
            <a:endParaRPr lang="en-US"/>
          </a:p>
        </p:txBody>
      </p:sp>
      <p:sp>
        <p:nvSpPr>
          <p:cNvPr id="21" name="Text Placeholder 21">
            <a:extLst>
              <a:ext uri="{FF2B5EF4-FFF2-40B4-BE49-F238E27FC236}">
                <a16:creationId xmlns:a16="http://schemas.microsoft.com/office/drawing/2014/main" id="{294218C0-ED14-EF44-B6DB-22164D388251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120152" y="2909339"/>
            <a:ext cx="1914801" cy="1038091"/>
          </a:xfrm>
          <a:prstGeom prst="rect">
            <a:avLst/>
          </a:prstGeom>
        </p:spPr>
        <p:txBody>
          <a:bodyPr/>
          <a:lstStyle>
            <a:lvl1pPr>
              <a:defRPr sz="1400" b="0" i="0">
                <a:solidFill>
                  <a:schemeClr val="bg2"/>
                </a:solidFill>
                <a:latin typeface="+mn-lt"/>
                <a:cs typeface="CiscoSansTT ExtraLight" panose="020B0303020201020303" pitchFamily="34" charset="0"/>
              </a:defRPr>
            </a:lvl1pPr>
          </a:lstStyle>
          <a:p>
            <a:pPr lvl="0"/>
            <a:r>
              <a:rPr lang="en-GB"/>
              <a:t>Click to add text</a:t>
            </a:r>
            <a:endParaRPr lang="en-US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29440408-FB70-0E48-9191-949F57EAAB2E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120152" y="4776439"/>
            <a:ext cx="1914801" cy="1038091"/>
          </a:xfrm>
          <a:prstGeom prst="rect">
            <a:avLst/>
          </a:prstGeom>
        </p:spPr>
        <p:txBody>
          <a:bodyPr/>
          <a:lstStyle>
            <a:lvl1pPr>
              <a:defRPr sz="1400" b="0" i="0">
                <a:solidFill>
                  <a:schemeClr val="bg2"/>
                </a:solidFill>
                <a:latin typeface="+mn-lt"/>
                <a:cs typeface="CiscoSansTT ExtraLight" panose="020B0303020201020303" pitchFamily="34" charset="0"/>
              </a:defRPr>
            </a:lvl1pPr>
          </a:lstStyle>
          <a:p>
            <a:pPr lvl="0"/>
            <a:r>
              <a:rPr lang="en-GB"/>
              <a:t>Click to add text</a:t>
            </a:r>
            <a:endParaRPr lang="en-US"/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C70EEDD5-22F0-4197-9E2C-65520A44FC04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5218531" y="1042989"/>
            <a:ext cx="364671" cy="303561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>
                <a:noFill/>
              </a:defRPr>
            </a:lvl1pPr>
          </a:lstStyle>
          <a:p>
            <a:endParaRPr lang="en-US"/>
          </a:p>
        </p:txBody>
      </p:sp>
      <p:sp>
        <p:nvSpPr>
          <p:cNvPr id="31" name="Picture Placeholder 3">
            <a:extLst>
              <a:ext uri="{FF2B5EF4-FFF2-40B4-BE49-F238E27FC236}">
                <a16:creationId xmlns:a16="http://schemas.microsoft.com/office/drawing/2014/main" id="{6BCA35DD-4B2E-4B0C-BCE1-27728E5A158F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5218531" y="2909340"/>
            <a:ext cx="364671" cy="303561"/>
          </a:xfrm>
          <a:prstGeom prst="rect">
            <a:avLst/>
          </a:prstGeom>
          <a:blipFill>
            <a:blip r:embed="rId3"/>
            <a:stretch>
              <a:fillRect/>
            </a:stretch>
          </a:blipFill>
        </p:spPr>
        <p:txBody>
          <a:bodyPr/>
          <a:lstStyle>
            <a:lvl1pPr>
              <a:defRPr>
                <a:noFill/>
              </a:defRPr>
            </a:lvl1pPr>
          </a:lstStyle>
          <a:p>
            <a:endParaRPr lang="en-US"/>
          </a:p>
        </p:txBody>
      </p:sp>
      <p:sp>
        <p:nvSpPr>
          <p:cNvPr id="32" name="Picture Placeholder 3">
            <a:extLst>
              <a:ext uri="{FF2B5EF4-FFF2-40B4-BE49-F238E27FC236}">
                <a16:creationId xmlns:a16="http://schemas.microsoft.com/office/drawing/2014/main" id="{B54AF328-4AF7-4607-93A0-00EC4947C5D6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5218531" y="4776440"/>
            <a:ext cx="364671" cy="303561"/>
          </a:xfrm>
          <a:prstGeom prst="rect">
            <a:avLst/>
          </a:prstGeom>
          <a:blipFill>
            <a:blip r:embed="rId4"/>
            <a:stretch>
              <a:fillRect/>
            </a:stretch>
          </a:blipFill>
        </p:spPr>
        <p:txBody>
          <a:bodyPr/>
          <a:lstStyle>
            <a:lvl1pPr>
              <a:defRPr>
                <a:noFill/>
              </a:defRPr>
            </a:lvl1pPr>
          </a:lstStyle>
          <a:p>
            <a:endParaRPr lang="en-US"/>
          </a:p>
        </p:txBody>
      </p:sp>
      <p:sp>
        <p:nvSpPr>
          <p:cNvPr id="33" name="Picture Placeholder 3">
            <a:extLst>
              <a:ext uri="{FF2B5EF4-FFF2-40B4-BE49-F238E27FC236}">
                <a16:creationId xmlns:a16="http://schemas.microsoft.com/office/drawing/2014/main" id="{7F4A1470-088E-40A3-A20F-C4DCAFFA3E7A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8755481" y="1042989"/>
            <a:ext cx="364671" cy="303561"/>
          </a:xfrm>
          <a:prstGeom prst="rect">
            <a:avLst/>
          </a:prstGeom>
          <a:blipFill>
            <a:blip r:embed="rId4"/>
            <a:stretch>
              <a:fillRect/>
            </a:stretch>
          </a:blipFill>
        </p:spPr>
        <p:txBody>
          <a:bodyPr/>
          <a:lstStyle>
            <a:lvl1pPr>
              <a:defRPr>
                <a:noFill/>
              </a:defRPr>
            </a:lvl1pPr>
          </a:lstStyle>
          <a:p>
            <a:endParaRPr lang="en-US"/>
          </a:p>
        </p:txBody>
      </p:sp>
      <p:sp>
        <p:nvSpPr>
          <p:cNvPr id="34" name="Picture Placeholder 3">
            <a:extLst>
              <a:ext uri="{FF2B5EF4-FFF2-40B4-BE49-F238E27FC236}">
                <a16:creationId xmlns:a16="http://schemas.microsoft.com/office/drawing/2014/main" id="{CF7DF77F-E020-4816-9E4B-754165D11DC2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8755481" y="2909340"/>
            <a:ext cx="364671" cy="303561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>
                <a:noFill/>
              </a:defRPr>
            </a:lvl1pPr>
          </a:lstStyle>
          <a:p>
            <a:endParaRPr lang="en-US"/>
          </a:p>
        </p:txBody>
      </p:sp>
      <p:sp>
        <p:nvSpPr>
          <p:cNvPr id="35" name="Picture Placeholder 3">
            <a:extLst>
              <a:ext uri="{FF2B5EF4-FFF2-40B4-BE49-F238E27FC236}">
                <a16:creationId xmlns:a16="http://schemas.microsoft.com/office/drawing/2014/main" id="{30737A6D-65C2-418D-AE2D-216451A7AE90}"/>
              </a:ext>
            </a:extLst>
          </p:cNvPr>
          <p:cNvSpPr>
            <a:spLocks noGrp="1"/>
          </p:cNvSpPr>
          <p:nvPr>
            <p:ph type="pic" sz="quarter" idx="28"/>
          </p:nvPr>
        </p:nvSpPr>
        <p:spPr>
          <a:xfrm>
            <a:off x="8755481" y="4776440"/>
            <a:ext cx="364671" cy="303561"/>
          </a:xfrm>
          <a:prstGeom prst="rect">
            <a:avLst/>
          </a:prstGeom>
          <a:blipFill>
            <a:blip r:embed="rId3"/>
            <a:stretch>
              <a:fillRect/>
            </a:stretch>
          </a:blipFill>
        </p:spPr>
        <p:txBody>
          <a:bodyPr/>
          <a:lstStyle>
            <a:lvl1pPr>
              <a:defRPr>
                <a:noFill/>
              </a:defRPr>
            </a:lvl1pPr>
          </a:lstStyle>
          <a:p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6B9A303-9952-43D3-9853-F92C20413C0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138" y="1612901"/>
            <a:ext cx="3302529" cy="3598862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68A0084-9DC5-457E-A8B4-A1B54C736B85}"/>
              </a:ext>
            </a:extLst>
          </p:cNvPr>
          <p:cNvSpPr>
            <a:spLocks noGrp="1"/>
          </p:cNvSpPr>
          <p:nvPr>
            <p:ph type="ftr" sz="quarter" idx="29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52424511"/>
      </p:ext>
    </p:extLst>
  </p:cSld>
  <p:clrMapOvr>
    <a:masterClrMapping/>
  </p:clrMapOvr>
</p:sldLayout>
</file>

<file path=ppt/slideLayouts/slideLayout2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F78856C6-C3E6-4616-8EC0-B2A24F6EC4F6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775504" y="0"/>
            <a:ext cx="7416496" cy="6857997"/>
          </a:xfrm>
          <a:custGeom>
            <a:avLst/>
            <a:gdLst>
              <a:gd name="connsiteX0" fmla="*/ 0 w 5562372"/>
              <a:gd name="connsiteY0" fmla="*/ 0 h 5143498"/>
              <a:gd name="connsiteX1" fmla="*/ 5562372 w 5562372"/>
              <a:gd name="connsiteY1" fmla="*/ 0 h 5143498"/>
              <a:gd name="connsiteX2" fmla="*/ 5562372 w 5562372"/>
              <a:gd name="connsiteY2" fmla="*/ 5143498 h 5143498"/>
              <a:gd name="connsiteX3" fmla="*/ 481628 w 5562372"/>
              <a:gd name="connsiteY3" fmla="*/ 5143498 h 5143498"/>
              <a:gd name="connsiteX4" fmla="*/ 659851 w 5562372"/>
              <a:gd name="connsiteY4" fmla="*/ 4905163 h 5143498"/>
              <a:gd name="connsiteX5" fmla="*/ 1296347 w 5562372"/>
              <a:gd name="connsiteY5" fmla="*/ 2821418 h 5143498"/>
              <a:gd name="connsiteX6" fmla="*/ 204763 w 5562372"/>
              <a:gd name="connsiteY6" fmla="*/ 186102 h 51434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562372" h="5143498">
                <a:moveTo>
                  <a:pt x="0" y="0"/>
                </a:moveTo>
                <a:lnTo>
                  <a:pt x="5562372" y="0"/>
                </a:lnTo>
                <a:lnTo>
                  <a:pt x="5562372" y="5143498"/>
                </a:lnTo>
                <a:lnTo>
                  <a:pt x="481628" y="5143498"/>
                </a:lnTo>
                <a:lnTo>
                  <a:pt x="659851" y="4905163"/>
                </a:lnTo>
                <a:cubicBezTo>
                  <a:pt x="1061702" y="4310346"/>
                  <a:pt x="1296347" y="3593284"/>
                  <a:pt x="1296347" y="2821418"/>
                </a:cubicBezTo>
                <a:cubicBezTo>
                  <a:pt x="1296347" y="1792263"/>
                  <a:pt x="879200" y="860538"/>
                  <a:pt x="204763" y="186102"/>
                </a:cubicBezTo>
                <a:close/>
              </a:path>
            </a:pathLst>
          </a:custGeom>
          <a:solidFill>
            <a:srgbClr val="F5F6F9"/>
          </a:solidFill>
        </p:spPr>
        <p:txBody>
          <a:bodyPr wrap="square">
            <a:noAutofit/>
          </a:bodyPr>
          <a:lstStyle/>
          <a:p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961E1CD-E326-4961-9A88-11E9CA33773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138" y="1619250"/>
            <a:ext cx="4250267" cy="16383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7C65FE1-788D-4584-AD0B-0A2BE92452E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719138" y="3416299"/>
            <a:ext cx="4250266" cy="1795463"/>
          </a:xfrm>
        </p:spPr>
        <p:txBody>
          <a:bodyPr/>
          <a:lstStyle>
            <a:lvl1pPr>
              <a:defRPr sz="2000">
                <a:solidFill>
                  <a:schemeClr val="accent1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Insert short heading</a:t>
            </a:r>
          </a:p>
        </p:txBody>
      </p:sp>
    </p:spTree>
    <p:extLst>
      <p:ext uri="{BB962C8B-B14F-4D97-AF65-F5344CB8AC3E}">
        <p14:creationId xmlns:p14="http://schemas.microsoft.com/office/powerpoint/2010/main" val="2395342038"/>
      </p:ext>
    </p:extLst>
  </p:cSld>
  <p:clrMapOvr>
    <a:masterClrMapping/>
  </p:clrMapOvr>
</p:sldLayout>
</file>

<file path=ppt/slideLayouts/slideLayout2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8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Picture Placeholder 36">
            <a:extLst>
              <a:ext uri="{FF2B5EF4-FFF2-40B4-BE49-F238E27FC236}">
                <a16:creationId xmlns:a16="http://schemas.microsoft.com/office/drawing/2014/main" id="{A09742A7-0B5E-4F47-A95F-532A0AB3B278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393167" y="1"/>
            <a:ext cx="1322400" cy="5676899"/>
          </a:xfrm>
          <a:custGeom>
            <a:avLst/>
            <a:gdLst>
              <a:gd name="connsiteX0" fmla="*/ 0 w 991800"/>
              <a:gd name="connsiteY0" fmla="*/ 0 h 4257674"/>
              <a:gd name="connsiteX1" fmla="*/ 991800 w 991800"/>
              <a:gd name="connsiteY1" fmla="*/ 0 h 4257674"/>
              <a:gd name="connsiteX2" fmla="*/ 991800 w 991800"/>
              <a:gd name="connsiteY2" fmla="*/ 3771573 h 4257674"/>
              <a:gd name="connsiteX3" fmla="*/ 505699 w 991800"/>
              <a:gd name="connsiteY3" fmla="*/ 4257674 h 4257674"/>
              <a:gd name="connsiteX4" fmla="*/ 486101 w 991800"/>
              <a:gd name="connsiteY4" fmla="*/ 4257674 h 4257674"/>
              <a:gd name="connsiteX5" fmla="*/ 0 w 991800"/>
              <a:gd name="connsiteY5" fmla="*/ 3771573 h 42576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991800" h="4257674">
                <a:moveTo>
                  <a:pt x="0" y="0"/>
                </a:moveTo>
                <a:lnTo>
                  <a:pt x="991800" y="0"/>
                </a:lnTo>
                <a:lnTo>
                  <a:pt x="991800" y="3771573"/>
                </a:lnTo>
                <a:cubicBezTo>
                  <a:pt x="991800" y="4040039"/>
                  <a:pt x="774165" y="4257674"/>
                  <a:pt x="505699" y="4257674"/>
                </a:cubicBezTo>
                <a:lnTo>
                  <a:pt x="486101" y="4257674"/>
                </a:lnTo>
                <a:cubicBezTo>
                  <a:pt x="217635" y="4257674"/>
                  <a:pt x="0" y="4040039"/>
                  <a:pt x="0" y="3771573"/>
                </a:cubicBezTo>
                <a:close/>
              </a:path>
            </a:pathLst>
          </a:custGeom>
          <a:solidFill>
            <a:srgbClr val="F5F6F9"/>
          </a:solidFill>
        </p:spPr>
        <p:txBody>
          <a:bodyPr wrap="square">
            <a:noAutofit/>
          </a:bodyPr>
          <a:lstStyle>
            <a:lvl1pPr>
              <a:defRPr>
                <a:noFill/>
              </a:defRPr>
            </a:lvl1pPr>
          </a:lstStyle>
          <a:p>
            <a:endParaRPr lang="en-US"/>
          </a:p>
        </p:txBody>
      </p:sp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B14E011C-C076-4297-993A-6269B12CEC8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715336" y="3215366"/>
            <a:ext cx="2421200" cy="3642633"/>
          </a:xfrm>
          <a:prstGeom prst="round2SameRect">
            <a:avLst>
              <a:gd name="adj1" fmla="val 50000"/>
              <a:gd name="adj2" fmla="val 0"/>
            </a:avLst>
          </a:prstGeom>
          <a:solidFill>
            <a:srgbClr val="F5F6F9"/>
          </a:solidFill>
        </p:spPr>
        <p:txBody>
          <a:bodyPr/>
          <a:lstStyle/>
          <a:p>
            <a:endParaRPr lang="en-US"/>
          </a:p>
        </p:txBody>
      </p:sp>
      <p:sp>
        <p:nvSpPr>
          <p:cNvPr id="24" name="Picture Placeholder 17">
            <a:extLst>
              <a:ext uri="{FF2B5EF4-FFF2-40B4-BE49-F238E27FC236}">
                <a16:creationId xmlns:a16="http://schemas.microsoft.com/office/drawing/2014/main" id="{799C6E57-0A19-4334-AAAF-08B6BB2F2833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704633" y="1590898"/>
            <a:ext cx="699467" cy="698400"/>
          </a:xfrm>
          <a:prstGeom prst="ellipse">
            <a:avLst/>
          </a:prstGeom>
          <a:solidFill>
            <a:schemeClr val="bg1"/>
          </a:solidFill>
          <a:ln w="101600">
            <a:solidFill>
              <a:schemeClr val="bg1"/>
            </a:solidFill>
          </a:ln>
        </p:spPr>
        <p:txBody>
          <a:bodyPr/>
          <a:lstStyle>
            <a:lvl1pPr>
              <a:defRPr>
                <a:noFill/>
              </a:defRPr>
            </a:lvl1pPr>
          </a:lstStyle>
          <a:p>
            <a:endParaRPr lang="en-US"/>
          </a:p>
        </p:txBody>
      </p:sp>
      <p:sp>
        <p:nvSpPr>
          <p:cNvPr id="26" name="Picture Placeholder 17">
            <a:extLst>
              <a:ext uri="{FF2B5EF4-FFF2-40B4-BE49-F238E27FC236}">
                <a16:creationId xmlns:a16="http://schemas.microsoft.com/office/drawing/2014/main" id="{1877A2FE-9F23-45BF-8D2A-03B5C0097EBB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6704633" y="3079800"/>
            <a:ext cx="699467" cy="698400"/>
          </a:xfrm>
          <a:prstGeom prst="ellipse">
            <a:avLst/>
          </a:prstGeom>
          <a:solidFill>
            <a:schemeClr val="bg1"/>
          </a:solidFill>
          <a:ln w="101600">
            <a:solidFill>
              <a:schemeClr val="bg1"/>
            </a:solidFill>
          </a:ln>
        </p:spPr>
        <p:txBody>
          <a:bodyPr/>
          <a:lstStyle>
            <a:lvl1pPr>
              <a:defRPr>
                <a:noFill/>
              </a:defRPr>
            </a:lvl1pPr>
          </a:lstStyle>
          <a:p>
            <a:endParaRPr lang="en-US"/>
          </a:p>
        </p:txBody>
      </p:sp>
      <p:sp>
        <p:nvSpPr>
          <p:cNvPr id="28" name="Picture Placeholder 17">
            <a:extLst>
              <a:ext uri="{FF2B5EF4-FFF2-40B4-BE49-F238E27FC236}">
                <a16:creationId xmlns:a16="http://schemas.microsoft.com/office/drawing/2014/main" id="{46FA405D-A3C1-4D33-8B98-57D1F3B32004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6704633" y="4601699"/>
            <a:ext cx="699467" cy="698400"/>
          </a:xfrm>
          <a:prstGeom prst="ellipse">
            <a:avLst/>
          </a:prstGeom>
          <a:solidFill>
            <a:schemeClr val="bg1"/>
          </a:solidFill>
          <a:ln w="101600">
            <a:solidFill>
              <a:schemeClr val="bg1"/>
            </a:solidFill>
          </a:ln>
        </p:spPr>
        <p:txBody>
          <a:bodyPr/>
          <a:lstStyle>
            <a:lvl1pPr>
              <a:defRPr>
                <a:noFill/>
              </a:defRPr>
            </a:lvl1pPr>
          </a:lstStyle>
          <a:p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58FD7D9-142A-4FD6-9261-E6EE8E9A36D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138" y="1155700"/>
            <a:ext cx="4106333" cy="17145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1" name="Text Placeholder 12">
            <a:extLst>
              <a:ext uri="{FF2B5EF4-FFF2-40B4-BE49-F238E27FC236}">
                <a16:creationId xmlns:a16="http://schemas.microsoft.com/office/drawing/2014/main" id="{BB5F2F62-0794-46CB-A9EB-2A581CF795B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886699" y="1612900"/>
            <a:ext cx="3586163" cy="654396"/>
          </a:xfrm>
          <a:prstGeom prst="rect">
            <a:avLst/>
          </a:prstGeom>
        </p:spPr>
        <p:txBody>
          <a:bodyPr anchor="ctr" anchorCtr="0">
            <a:normAutofit/>
          </a:bodyPr>
          <a:lstStyle>
            <a:lvl1pPr marL="0" marR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bg2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defRPr>
            </a:lvl1pPr>
            <a:lvl2pPr>
              <a:defRPr sz="1867"/>
            </a:lvl2pPr>
            <a:lvl3pPr>
              <a:defRPr sz="1867"/>
            </a:lvl3pPr>
            <a:lvl4pPr>
              <a:defRPr sz="1867"/>
            </a:lvl4pPr>
            <a:lvl5pPr>
              <a:defRPr sz="1867"/>
            </a:lvl5pPr>
          </a:lstStyle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lang="en-US" u="none" strike="noStrike" cap="none">
              <a:solidFill>
                <a:schemeClr val="tx1"/>
              </a:solidFill>
              <a:latin typeface="CiscoSansTT ExtraLight" panose="020B0303020201020303" pitchFamily="34" charset="0"/>
              <a:ea typeface="Helvetica Neue Light"/>
              <a:cs typeface="CiscoSansTT ExtraLight" panose="020B0303020201020303" pitchFamily="34" charset="0"/>
              <a:sym typeface="Helvetica Neue Light"/>
            </a:endParaRPr>
          </a:p>
        </p:txBody>
      </p:sp>
      <p:sp>
        <p:nvSpPr>
          <p:cNvPr id="12" name="Text Placeholder 12">
            <a:extLst>
              <a:ext uri="{FF2B5EF4-FFF2-40B4-BE49-F238E27FC236}">
                <a16:creationId xmlns:a16="http://schemas.microsoft.com/office/drawing/2014/main" id="{F84798DA-E9A3-4A59-970C-C9BA43FC8C76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7886699" y="3115860"/>
            <a:ext cx="3586163" cy="654396"/>
          </a:xfrm>
          <a:prstGeom prst="rect">
            <a:avLst/>
          </a:prstGeom>
        </p:spPr>
        <p:txBody>
          <a:bodyPr anchor="ctr" anchorCtr="0">
            <a:normAutofit/>
          </a:bodyPr>
          <a:lstStyle>
            <a:lvl1pPr marL="0" marR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bg2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defRPr>
            </a:lvl1pPr>
            <a:lvl2pPr>
              <a:defRPr sz="1867"/>
            </a:lvl2pPr>
            <a:lvl3pPr>
              <a:defRPr sz="1867"/>
            </a:lvl3pPr>
            <a:lvl4pPr>
              <a:defRPr sz="1867"/>
            </a:lvl4pPr>
            <a:lvl5pPr>
              <a:defRPr sz="1867"/>
            </a:lvl5pPr>
          </a:lstStyle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lang="en-US" u="none" strike="noStrike" cap="none">
              <a:solidFill>
                <a:schemeClr val="tx1"/>
              </a:solidFill>
              <a:latin typeface="CiscoSansTT ExtraLight" panose="020B0303020201020303" pitchFamily="34" charset="0"/>
              <a:ea typeface="Helvetica Neue Light"/>
              <a:cs typeface="CiscoSansTT ExtraLight" panose="020B0303020201020303" pitchFamily="34" charset="0"/>
              <a:sym typeface="Helvetica Neue Light"/>
            </a:endParaRP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08F896D1-2CF5-49F5-BBA2-BAC147867491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7886699" y="4618820"/>
            <a:ext cx="3586163" cy="654396"/>
          </a:xfrm>
          <a:prstGeom prst="rect">
            <a:avLst/>
          </a:prstGeom>
        </p:spPr>
        <p:txBody>
          <a:bodyPr anchor="ctr" anchorCtr="0">
            <a:normAutofit/>
          </a:bodyPr>
          <a:lstStyle>
            <a:lvl1pPr marL="0" marR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bg2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defRPr>
            </a:lvl1pPr>
            <a:lvl2pPr>
              <a:defRPr sz="1867"/>
            </a:lvl2pPr>
            <a:lvl3pPr>
              <a:defRPr sz="1867"/>
            </a:lvl3pPr>
            <a:lvl4pPr>
              <a:defRPr sz="1867"/>
            </a:lvl4pPr>
            <a:lvl5pPr>
              <a:defRPr sz="1867"/>
            </a:lvl5pPr>
          </a:lstStyle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lang="en-US" u="none" strike="noStrike" cap="none">
              <a:solidFill>
                <a:schemeClr val="tx1"/>
              </a:solidFill>
              <a:latin typeface="CiscoSansTT ExtraLight" panose="020B0303020201020303" pitchFamily="34" charset="0"/>
              <a:ea typeface="Helvetica Neue Light"/>
              <a:cs typeface="CiscoSansTT ExtraLight" panose="020B0303020201020303" pitchFamily="34" charset="0"/>
              <a:sym typeface="Helvetica Neue Light"/>
            </a:endParaRP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BA88107-D85B-4102-99BA-0504C34B915E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11753153"/>
      </p:ext>
    </p:extLst>
  </p:cSld>
  <p:clrMapOvr>
    <a:masterClrMapping/>
  </p:clrMapOvr>
</p:sldLayout>
</file>

<file path=ppt/slideLayouts/slideLayout2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4">
            <a:extLst>
              <a:ext uri="{FF2B5EF4-FFF2-40B4-BE49-F238E27FC236}">
                <a16:creationId xmlns:a16="http://schemas.microsoft.com/office/drawing/2014/main" id="{E533B4C3-00C3-4EE9-9CE8-212AE8648688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1989" cy="6858000"/>
          </a:xfrm>
          <a:prstGeom prst="rect">
            <a:avLst/>
          </a:prstGeom>
          <a:solidFill>
            <a:srgbClr val="EDF1F6"/>
          </a:solidFill>
        </p:spPr>
        <p:txBody>
          <a:bodyPr/>
          <a:lstStyle>
            <a:lvl1pPr>
              <a:defRPr>
                <a:noFill/>
              </a:defRPr>
            </a:lvl1pPr>
          </a:lstStyle>
          <a:p>
            <a:endParaRPr lang="en-US"/>
          </a:p>
        </p:txBody>
      </p:sp>
      <p:sp>
        <p:nvSpPr>
          <p:cNvPr id="9" name="Picture Placeholder 6">
            <a:extLst>
              <a:ext uri="{FF2B5EF4-FFF2-40B4-BE49-F238E27FC236}">
                <a16:creationId xmlns:a16="http://schemas.microsoft.com/office/drawing/2014/main" id="{D6741ED8-910C-4652-B7B9-9AAF0CBFA206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" y="0"/>
            <a:ext cx="12196233" cy="6858000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>
                <a:noFill/>
              </a:defRPr>
            </a:lvl1pPr>
          </a:lstStyle>
          <a:p>
            <a:endParaRPr lang="en-US"/>
          </a:p>
        </p:txBody>
      </p:sp>
      <p:sp>
        <p:nvSpPr>
          <p:cNvPr id="12" name="Text Placeholder 21">
            <a:extLst>
              <a:ext uri="{FF2B5EF4-FFF2-40B4-BE49-F238E27FC236}">
                <a16:creationId xmlns:a16="http://schemas.microsoft.com/office/drawing/2014/main" id="{265E67DC-0D39-434C-8F32-63A1AD0CD7F3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5275350" y="4999433"/>
            <a:ext cx="1641299" cy="361041"/>
          </a:xfrm>
          <a:prstGeom prst="rect">
            <a:avLst/>
          </a:prstGeom>
        </p:spPr>
        <p:txBody>
          <a:bodyPr/>
          <a:lstStyle>
            <a:lvl1pPr algn="ctr">
              <a:defRPr sz="1600" b="0" i="0">
                <a:solidFill>
                  <a:schemeClr val="bg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defRPr>
            </a:lvl1pPr>
          </a:lstStyle>
          <a:p>
            <a:pPr lvl="0"/>
            <a:r>
              <a:rPr lang="en-GB"/>
              <a:t>Person Name</a:t>
            </a:r>
            <a:endParaRPr lang="en-US"/>
          </a:p>
        </p:txBody>
      </p:sp>
      <p:sp>
        <p:nvSpPr>
          <p:cNvPr id="15" name="Text Placeholder 9">
            <a:extLst>
              <a:ext uri="{FF2B5EF4-FFF2-40B4-BE49-F238E27FC236}">
                <a16:creationId xmlns:a16="http://schemas.microsoft.com/office/drawing/2014/main" id="{970925D7-95D9-DE4C-8670-93C1A5195C5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050886" y="1612900"/>
            <a:ext cx="8090227" cy="2764029"/>
          </a:xfrm>
          <a:prstGeom prst="rect">
            <a:avLst/>
          </a:prstGeom>
        </p:spPr>
        <p:txBody>
          <a:bodyPr/>
          <a:lstStyle>
            <a:lvl1pPr algn="ctr">
              <a:defRPr sz="2933" b="0" i="0">
                <a:solidFill>
                  <a:schemeClr val="bg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defRPr>
            </a:lvl1pPr>
            <a:lvl2pPr>
              <a:defRPr sz="2933" b="0" i="0">
                <a:solidFill>
                  <a:schemeClr val="tx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defRPr>
            </a:lvl2pPr>
            <a:lvl3pPr>
              <a:defRPr sz="2933" b="0" i="0">
                <a:solidFill>
                  <a:schemeClr val="tx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defRPr>
            </a:lvl3pPr>
            <a:lvl4pPr>
              <a:defRPr sz="2933" b="0" i="0">
                <a:solidFill>
                  <a:schemeClr val="tx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defRPr>
            </a:lvl4pPr>
            <a:lvl5pPr>
              <a:defRPr sz="2933" b="0" i="0">
                <a:solidFill>
                  <a:schemeClr val="tx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defRPr>
            </a:lvl5pPr>
          </a:lstStyle>
          <a:p>
            <a:pPr lvl="0"/>
            <a:r>
              <a:rPr lang="en-US" sz="3200">
                <a:solidFill>
                  <a:srgbClr val="FFFFFF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  <a:sym typeface="Helvetica Neue Light"/>
              </a:rPr>
              <a:t>Insert text here</a:t>
            </a:r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B6836383-F45D-47B3-ADBF-08BDF7D3AABD}"/>
              </a:ext>
            </a:extLst>
          </p:cNvPr>
          <p:cNvSpPr/>
          <p:nvPr userDrawn="1"/>
        </p:nvSpPr>
        <p:spPr>
          <a:xfrm>
            <a:off x="-1" y="-844774"/>
            <a:ext cx="12196233" cy="749580"/>
          </a:xfrm>
          <a:prstGeom prst="rect">
            <a:avLst/>
          </a:prstGeom>
          <a:solidFill>
            <a:srgbClr val="EDF1F6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2400">
                <a:solidFill>
                  <a:schemeClr val="tx1"/>
                </a:solidFill>
              </a:rPr>
              <a:t>PLEASE NOTE:</a:t>
            </a:r>
          </a:p>
          <a:p>
            <a:pPr algn="ctr"/>
            <a:r>
              <a:rPr lang="en-US" sz="2000">
                <a:solidFill>
                  <a:schemeClr val="tx1"/>
                </a:solidFill>
              </a:rPr>
              <a:t>In order to insert an image into the background, simply drag and drop your image onto the slide</a:t>
            </a:r>
          </a:p>
        </p:txBody>
      </p:sp>
    </p:spTree>
    <p:extLst>
      <p:ext uri="{BB962C8B-B14F-4D97-AF65-F5344CB8AC3E}">
        <p14:creationId xmlns:p14="http://schemas.microsoft.com/office/powerpoint/2010/main" val="2751671847"/>
      </p:ext>
    </p:extLst>
  </p:cSld>
  <p:clrMapOvr>
    <a:masterClrMapping/>
  </p:clrMapOvr>
</p:sldLayout>
</file>

<file path=ppt/slideLayouts/slideLayout2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able Placeholder 2">
            <a:extLst>
              <a:ext uri="{FF2B5EF4-FFF2-40B4-BE49-F238E27FC236}">
                <a16:creationId xmlns:a16="http://schemas.microsoft.com/office/drawing/2014/main" id="{291315C8-5372-429E-98A3-1CFB19671AA6}"/>
              </a:ext>
            </a:extLst>
          </p:cNvPr>
          <p:cNvSpPr>
            <a:spLocks noGrp="1"/>
          </p:cNvSpPr>
          <p:nvPr>
            <p:ph type="tbl" sz="quarter" idx="15"/>
          </p:nvPr>
        </p:nvSpPr>
        <p:spPr>
          <a:xfrm>
            <a:off x="4729167" y="1602317"/>
            <a:ext cx="6743167" cy="1152727"/>
          </a:xfrm>
          <a:prstGeom prst="rect">
            <a:avLst/>
          </a:prstGeom>
          <a:solidFill>
            <a:srgbClr val="F5F6F9"/>
          </a:solidFill>
        </p:spPr>
        <p:txBody>
          <a:bodyPr lIns="72000" tIns="72000" rIns="72000" bIns="72000" anchor="ctr" anchorCtr="0"/>
          <a:lstStyle>
            <a:lvl1pPr>
              <a:spcAft>
                <a:spcPts val="800"/>
              </a:spcAft>
              <a:defRPr sz="1600">
                <a:latin typeface="+mn-lt"/>
              </a:defRPr>
            </a:lvl1pPr>
          </a:lstStyle>
          <a:p>
            <a:endParaRPr lang="en-US"/>
          </a:p>
        </p:txBody>
      </p:sp>
      <p:sp>
        <p:nvSpPr>
          <p:cNvPr id="33" name="Table Placeholder 32">
            <a:extLst>
              <a:ext uri="{FF2B5EF4-FFF2-40B4-BE49-F238E27FC236}">
                <a16:creationId xmlns:a16="http://schemas.microsoft.com/office/drawing/2014/main" id="{76374512-DC03-4B83-BB85-85A3FBF236B1}"/>
              </a:ext>
            </a:extLst>
          </p:cNvPr>
          <p:cNvSpPr>
            <a:spLocks noGrp="1"/>
          </p:cNvSpPr>
          <p:nvPr>
            <p:ph type="tbl" sz="quarter" idx="16"/>
          </p:nvPr>
        </p:nvSpPr>
        <p:spPr>
          <a:xfrm>
            <a:off x="4729166" y="2949998"/>
            <a:ext cx="6743167" cy="1152727"/>
          </a:xfrm>
          <a:prstGeom prst="rect">
            <a:avLst/>
          </a:prstGeom>
          <a:solidFill>
            <a:srgbClr val="F5F6F9"/>
          </a:solidFill>
        </p:spPr>
        <p:txBody>
          <a:bodyPr lIns="72000" tIns="72000" rIns="72000" bIns="72000" anchor="ctr" anchorCtr="0"/>
          <a:lstStyle>
            <a:lvl1pPr>
              <a:spcAft>
                <a:spcPts val="800"/>
              </a:spcAft>
              <a:defRPr lang="en-US" sz="1600">
                <a:latin typeface="+mn-lt"/>
              </a:defRPr>
            </a:lvl1pPr>
          </a:lstStyle>
          <a:p>
            <a:pPr lvl="0"/>
            <a:endParaRPr lang="en-US"/>
          </a:p>
        </p:txBody>
      </p:sp>
      <p:sp>
        <p:nvSpPr>
          <p:cNvPr id="36" name="Table Placeholder 35">
            <a:extLst>
              <a:ext uri="{FF2B5EF4-FFF2-40B4-BE49-F238E27FC236}">
                <a16:creationId xmlns:a16="http://schemas.microsoft.com/office/drawing/2014/main" id="{80CAC521-2683-4449-93C6-87F52104BE7A}"/>
              </a:ext>
            </a:extLst>
          </p:cNvPr>
          <p:cNvSpPr>
            <a:spLocks noGrp="1"/>
          </p:cNvSpPr>
          <p:nvPr>
            <p:ph type="tbl" sz="quarter" idx="17"/>
          </p:nvPr>
        </p:nvSpPr>
        <p:spPr>
          <a:xfrm>
            <a:off x="4729166" y="4297681"/>
            <a:ext cx="6743165" cy="1152727"/>
          </a:xfrm>
          <a:prstGeom prst="rect">
            <a:avLst/>
          </a:prstGeom>
          <a:solidFill>
            <a:srgbClr val="F5F6F9"/>
          </a:solidFill>
        </p:spPr>
        <p:txBody>
          <a:bodyPr lIns="72000" tIns="72000" rIns="72000" bIns="72000" anchor="ctr" anchorCtr="0"/>
          <a:lstStyle>
            <a:lvl1pPr>
              <a:spcAft>
                <a:spcPts val="800"/>
              </a:spcAft>
              <a:defRPr lang="en-US" sz="1600">
                <a:latin typeface="+mn-lt"/>
              </a:defRPr>
            </a:lvl1pPr>
          </a:lstStyle>
          <a:p>
            <a:pPr lvl="0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BD9AED8-6A3B-4418-8A35-72D2020889F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138" y="1608139"/>
            <a:ext cx="3793067" cy="1358899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A186C41-9705-4836-9BFB-C8F747EB9D5F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723114" y="3416301"/>
            <a:ext cx="3789091" cy="2034108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60DD964-6AEA-4168-B2B4-C81AC8DEAC6C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95250931"/>
      </p:ext>
    </p:extLst>
  </p:cSld>
  <p:clrMapOvr>
    <a:masterClrMapping/>
  </p:clrMapOvr>
</p:sldLayout>
</file>

<file path=ppt/slideLayouts/slideLayout2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C7ACAD07-0E9D-41D1-BC32-C16D2E362C07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14300" y="408213"/>
            <a:ext cx="1193801" cy="1194105"/>
          </a:xfrm>
          <a:prstGeom prst="rect">
            <a:avLst/>
          </a:prstGeo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>
                <a:noFill/>
              </a:defRPr>
            </a:lvl1pPr>
          </a:lstStyle>
          <a:p>
            <a:endParaRPr lang="en-US"/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54B24C29-5325-4B17-B777-A01160F2BFEF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996000"/>
            <a:ext cx="5846533" cy="4672800"/>
          </a:xfrm>
          <a:custGeom>
            <a:avLst/>
            <a:gdLst>
              <a:gd name="connsiteX0" fmla="*/ 127600 w 4384900"/>
              <a:gd name="connsiteY0" fmla="*/ 0 h 3504600"/>
              <a:gd name="connsiteX1" fmla="*/ 2632600 w 4384900"/>
              <a:gd name="connsiteY1" fmla="*/ 0 h 3504600"/>
              <a:gd name="connsiteX2" fmla="*/ 4384900 w 4384900"/>
              <a:gd name="connsiteY2" fmla="*/ 1752300 h 3504600"/>
              <a:gd name="connsiteX3" fmla="*/ 2632600 w 4384900"/>
              <a:gd name="connsiteY3" fmla="*/ 3504600 h 3504600"/>
              <a:gd name="connsiteX4" fmla="*/ 127600 w 4384900"/>
              <a:gd name="connsiteY4" fmla="*/ 3504600 h 3504600"/>
              <a:gd name="connsiteX5" fmla="*/ 0 w 4384900"/>
              <a:gd name="connsiteY5" fmla="*/ 3498157 h 3504600"/>
              <a:gd name="connsiteX6" fmla="*/ 0 w 4384900"/>
              <a:gd name="connsiteY6" fmla="*/ 6443 h 3504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384900" h="3504600">
                <a:moveTo>
                  <a:pt x="127600" y="0"/>
                </a:moveTo>
                <a:lnTo>
                  <a:pt x="2632600" y="0"/>
                </a:lnTo>
                <a:cubicBezTo>
                  <a:pt x="3600369" y="0"/>
                  <a:pt x="4384900" y="784531"/>
                  <a:pt x="4384900" y="1752300"/>
                </a:cubicBezTo>
                <a:cubicBezTo>
                  <a:pt x="4384900" y="2720069"/>
                  <a:pt x="3600369" y="3504600"/>
                  <a:pt x="2632600" y="3504600"/>
                </a:cubicBezTo>
                <a:lnTo>
                  <a:pt x="127600" y="3504600"/>
                </a:lnTo>
                <a:lnTo>
                  <a:pt x="0" y="3498157"/>
                </a:lnTo>
                <a:lnTo>
                  <a:pt x="0" y="6443"/>
                </a:lnTo>
                <a:close/>
              </a:path>
            </a:pathLst>
          </a:custGeom>
          <a:solidFill>
            <a:srgbClr val="F5F6F9"/>
          </a:solidFill>
        </p:spPr>
        <p:txBody>
          <a:bodyPr wrap="square">
            <a:noAutofit/>
          </a:bodyPr>
          <a:lstStyle/>
          <a:p>
            <a:endParaRPr lang="en-US"/>
          </a:p>
        </p:txBody>
      </p:sp>
      <p:sp>
        <p:nvSpPr>
          <p:cNvPr id="13" name="Picture Placeholder 11">
            <a:extLst>
              <a:ext uri="{FF2B5EF4-FFF2-40B4-BE49-F238E27FC236}">
                <a16:creationId xmlns:a16="http://schemas.microsoft.com/office/drawing/2014/main" id="{415A6F53-7A2A-446D-BE6F-72DFEBE1D528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3841748" y="4719861"/>
            <a:ext cx="1401181" cy="1401539"/>
          </a:xfrm>
          <a:prstGeom prst="rect">
            <a:avLst/>
          </a:prstGeom>
          <a:blipFill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>
                <a:noFill/>
              </a:defRPr>
            </a:lvl1pPr>
          </a:lstStyle>
          <a:p>
            <a:endParaRPr lang="en-US"/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5A865319-7E1E-4C7D-8F3D-C11C5F581DE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7004045" y="1612900"/>
            <a:ext cx="4480984" cy="819150"/>
          </a:xfrm>
        </p:spPr>
        <p:txBody>
          <a:bodyPr/>
          <a:lstStyle>
            <a:lvl1pPr>
              <a:defRPr sz="2000">
                <a:solidFill>
                  <a:schemeClr val="accent1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Insert short heading</a:t>
            </a:r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5008E675-2EF0-4050-B6BF-BA9467F9E5EA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6991349" y="2519363"/>
            <a:ext cx="4480981" cy="316177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A06037A2-F671-486F-93D2-B3874D8B347F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14990366"/>
      </p:ext>
    </p:extLst>
  </p:cSld>
  <p:clrMapOvr>
    <a:masterClrMapping/>
  </p:clrMapOvr>
</p:sldLayout>
</file>

<file path=ppt/slideLayouts/slideLayout2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628178E9-5DA9-44DD-AADF-420059B1CD5D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10591799" y="488950"/>
            <a:ext cx="1301751" cy="1301751"/>
          </a:xfrm>
          <a:prstGeom prst="rect">
            <a:avLst/>
          </a:prstGeo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>
                <a:noFill/>
              </a:defRPr>
            </a:lvl1pPr>
          </a:lstStyle>
          <a:p>
            <a:endParaRPr lang="en-US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F78B2954-CFD9-4530-9B20-E3B0177074C0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21434" y="1044900"/>
            <a:ext cx="6670565" cy="4873997"/>
          </a:xfrm>
          <a:custGeom>
            <a:avLst/>
            <a:gdLst>
              <a:gd name="connsiteX0" fmla="*/ 1827750 w 5002924"/>
              <a:gd name="connsiteY0" fmla="*/ 0 h 3655498"/>
              <a:gd name="connsiteX1" fmla="*/ 5002924 w 5002924"/>
              <a:gd name="connsiteY1" fmla="*/ 0 h 3655498"/>
              <a:gd name="connsiteX2" fmla="*/ 5002924 w 5002924"/>
              <a:gd name="connsiteY2" fmla="*/ 3655498 h 3655498"/>
              <a:gd name="connsiteX3" fmla="*/ 1827711 w 5002924"/>
              <a:gd name="connsiteY3" fmla="*/ 3655498 h 3655498"/>
              <a:gd name="connsiteX4" fmla="*/ 1640874 w 5002924"/>
              <a:gd name="connsiteY4" fmla="*/ 3646064 h 3655498"/>
              <a:gd name="connsiteX5" fmla="*/ 0 w 5002924"/>
              <a:gd name="connsiteY5" fmla="*/ 1827750 h 3655498"/>
              <a:gd name="connsiteX6" fmla="*/ 1827750 w 5002924"/>
              <a:gd name="connsiteY6" fmla="*/ 0 h 36554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002924" h="3655498">
                <a:moveTo>
                  <a:pt x="1827750" y="0"/>
                </a:moveTo>
                <a:lnTo>
                  <a:pt x="5002924" y="0"/>
                </a:lnTo>
                <a:lnTo>
                  <a:pt x="5002924" y="3655498"/>
                </a:lnTo>
                <a:lnTo>
                  <a:pt x="1827711" y="3655498"/>
                </a:lnTo>
                <a:lnTo>
                  <a:pt x="1640874" y="3646064"/>
                </a:lnTo>
                <a:cubicBezTo>
                  <a:pt x="719220" y="3552465"/>
                  <a:pt x="0" y="2774098"/>
                  <a:pt x="0" y="1827750"/>
                </a:cubicBezTo>
                <a:cubicBezTo>
                  <a:pt x="0" y="818312"/>
                  <a:pt x="818312" y="0"/>
                  <a:pt x="1827750" y="0"/>
                </a:cubicBezTo>
                <a:close/>
              </a:path>
            </a:pathLst>
          </a:custGeom>
          <a:solidFill>
            <a:srgbClr val="F5F6F9"/>
          </a:solidFill>
        </p:spPr>
        <p:txBody>
          <a:bodyPr wrap="square">
            <a:noAutofit/>
          </a:bodyPr>
          <a:lstStyle/>
          <a:p>
            <a:endParaRPr lang="en-US"/>
          </a:p>
        </p:txBody>
      </p:sp>
      <p:sp>
        <p:nvSpPr>
          <p:cNvPr id="12" name="Picture Placeholder 10">
            <a:extLst>
              <a:ext uri="{FF2B5EF4-FFF2-40B4-BE49-F238E27FC236}">
                <a16:creationId xmlns:a16="http://schemas.microsoft.com/office/drawing/2014/main" id="{0CCB00C6-BCBD-452F-819F-42406F8787EE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629399" y="5283200"/>
            <a:ext cx="984253" cy="984251"/>
          </a:xfrm>
          <a:prstGeom prst="rect">
            <a:avLst/>
          </a:prstGeom>
          <a:blipFill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>
                <a:noFill/>
              </a:defRPr>
            </a:lvl1pPr>
          </a:lstStyle>
          <a:p>
            <a:endParaRPr lang="en-US"/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41E0EB8A-C974-4157-ACB5-9C435793D71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719667" y="2967568"/>
            <a:ext cx="4029048" cy="2701396"/>
          </a:xfrm>
          <a:prstGeom prst="rect">
            <a:avLst/>
          </a:prstGeom>
        </p:spPr>
        <p:txBody>
          <a:bodyPr/>
          <a:lstStyle>
            <a:lvl1pPr marL="0" indent="0">
              <a:spcAft>
                <a:spcPts val="1600"/>
              </a:spcAft>
              <a:buFont typeface="Arial" panose="020B0604020202020204" pitchFamily="34" charset="0"/>
              <a:buNone/>
              <a:defRPr>
                <a:solidFill>
                  <a:schemeClr val="bg2"/>
                </a:solidFill>
                <a:latin typeface="+mn-lt"/>
              </a:defRPr>
            </a:lvl1pPr>
            <a:lvl2pPr marL="0" indent="0">
              <a:spcAft>
                <a:spcPts val="1600"/>
              </a:spcAft>
              <a:buFont typeface="Arial" panose="020B0604020202020204" pitchFamily="34" charset="0"/>
              <a:buNone/>
              <a:defRPr>
                <a:solidFill>
                  <a:schemeClr val="bg2"/>
                </a:solidFill>
                <a:latin typeface="+mn-lt"/>
              </a:defRPr>
            </a:lvl2pPr>
            <a:lvl3pPr marL="0" indent="0">
              <a:spcAft>
                <a:spcPts val="1600"/>
              </a:spcAft>
              <a:buFont typeface="Arial" panose="020B0604020202020204" pitchFamily="34" charset="0"/>
              <a:buNone/>
              <a:defRPr>
                <a:solidFill>
                  <a:schemeClr val="bg2"/>
                </a:solidFill>
                <a:latin typeface="+mn-lt"/>
              </a:defRPr>
            </a:lvl3pPr>
            <a:lvl4pPr marL="0" indent="0">
              <a:spcAft>
                <a:spcPts val="1600"/>
              </a:spcAft>
              <a:buFont typeface="Arial" panose="020B0604020202020204" pitchFamily="34" charset="0"/>
              <a:buNone/>
              <a:defRPr>
                <a:solidFill>
                  <a:schemeClr val="bg2"/>
                </a:solidFill>
                <a:latin typeface="+mn-lt"/>
              </a:defRPr>
            </a:lvl4pPr>
            <a:lvl5pPr marL="0" indent="0">
              <a:spcAft>
                <a:spcPts val="1600"/>
              </a:spcAft>
              <a:buFont typeface="Arial" panose="020B0604020202020204" pitchFamily="34" charset="0"/>
              <a:buNone/>
              <a:defRPr>
                <a:solidFill>
                  <a:schemeClr val="bg2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3FB6EE8-88E3-4BE5-841A-466E49FAAF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667" y="1155702"/>
            <a:ext cx="4029047" cy="136313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962314253"/>
      </p:ext>
    </p:extLst>
  </p:cSld>
  <p:clrMapOvr>
    <a:masterClrMapping/>
  </p:clrMapOvr>
</p:sldLayout>
</file>

<file path=ppt/slideLayouts/slideLayout2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Text Placeholder 2">
            <a:extLst>
              <a:ext uri="{FF2B5EF4-FFF2-40B4-BE49-F238E27FC236}">
                <a16:creationId xmlns:a16="http://schemas.microsoft.com/office/drawing/2014/main" id="{78F8D08E-BDEF-4257-B4AF-8D45C9769B8D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400180" y="1719170"/>
            <a:ext cx="1974556" cy="756855"/>
          </a:xfrm>
        </p:spPr>
        <p:txBody>
          <a:bodyPr/>
          <a:lstStyle>
            <a:lvl1pPr>
              <a:defRPr sz="1200">
                <a:solidFill>
                  <a:schemeClr val="bg2"/>
                </a:solidFill>
              </a:defRPr>
            </a:lvl1pPr>
            <a:lvl5pPr>
              <a:defRPr/>
            </a:lvl5pPr>
          </a:lstStyle>
          <a:p>
            <a:pPr lvl="0"/>
            <a:r>
              <a:rPr lang="en-US"/>
              <a:t>Insert short description here</a:t>
            </a:r>
          </a:p>
        </p:txBody>
      </p:sp>
      <p:cxnSp>
        <p:nvCxnSpPr>
          <p:cNvPr id="6" name="Google Shape;1224;p213">
            <a:extLst>
              <a:ext uri="{FF2B5EF4-FFF2-40B4-BE49-F238E27FC236}">
                <a16:creationId xmlns:a16="http://schemas.microsoft.com/office/drawing/2014/main" id="{68C67C1E-F7FA-5548-8B9F-05D1053DB46A}"/>
              </a:ext>
            </a:extLst>
          </p:cNvPr>
          <p:cNvCxnSpPr/>
          <p:nvPr userDrawn="1"/>
        </p:nvCxnSpPr>
        <p:spPr>
          <a:xfrm>
            <a:off x="6400180" y="1170769"/>
            <a:ext cx="638000" cy="0"/>
          </a:xfrm>
          <a:prstGeom prst="straightConnector1">
            <a:avLst/>
          </a:prstGeom>
          <a:noFill/>
          <a:ln w="28575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</p:cxnSp>
      <p:cxnSp>
        <p:nvCxnSpPr>
          <p:cNvPr id="11" name="Google Shape;1229;p213">
            <a:extLst>
              <a:ext uri="{FF2B5EF4-FFF2-40B4-BE49-F238E27FC236}">
                <a16:creationId xmlns:a16="http://schemas.microsoft.com/office/drawing/2014/main" id="{FE8EF11A-BCE2-694B-9DCE-BD54298E5B40}"/>
              </a:ext>
            </a:extLst>
          </p:cNvPr>
          <p:cNvCxnSpPr/>
          <p:nvPr userDrawn="1"/>
        </p:nvCxnSpPr>
        <p:spPr>
          <a:xfrm>
            <a:off x="6400180" y="2883469"/>
            <a:ext cx="638000" cy="0"/>
          </a:xfrm>
          <a:prstGeom prst="straightConnector1">
            <a:avLst/>
          </a:prstGeom>
          <a:noFill/>
          <a:ln w="28575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</p:cxnSp>
      <p:cxnSp>
        <p:nvCxnSpPr>
          <p:cNvPr id="17" name="Google Shape;1235;p213">
            <a:extLst>
              <a:ext uri="{FF2B5EF4-FFF2-40B4-BE49-F238E27FC236}">
                <a16:creationId xmlns:a16="http://schemas.microsoft.com/office/drawing/2014/main" id="{C0F4385B-5632-1248-B982-AE73BA738930}"/>
              </a:ext>
            </a:extLst>
          </p:cNvPr>
          <p:cNvCxnSpPr/>
          <p:nvPr userDrawn="1"/>
        </p:nvCxnSpPr>
        <p:spPr>
          <a:xfrm>
            <a:off x="9258924" y="1170769"/>
            <a:ext cx="638000" cy="0"/>
          </a:xfrm>
          <a:prstGeom prst="straightConnector1">
            <a:avLst/>
          </a:prstGeom>
          <a:noFill/>
          <a:ln w="28575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</p:cxnSp>
      <p:cxnSp>
        <p:nvCxnSpPr>
          <p:cNvPr id="20" name="Google Shape;1238;p213">
            <a:extLst>
              <a:ext uri="{FF2B5EF4-FFF2-40B4-BE49-F238E27FC236}">
                <a16:creationId xmlns:a16="http://schemas.microsoft.com/office/drawing/2014/main" id="{EEF9B179-41FC-8140-81B8-5373ECB284D4}"/>
              </a:ext>
            </a:extLst>
          </p:cNvPr>
          <p:cNvCxnSpPr/>
          <p:nvPr userDrawn="1"/>
        </p:nvCxnSpPr>
        <p:spPr>
          <a:xfrm>
            <a:off x="9258924" y="2883469"/>
            <a:ext cx="638000" cy="0"/>
          </a:xfrm>
          <a:prstGeom prst="straightConnector1">
            <a:avLst/>
          </a:prstGeom>
          <a:noFill/>
          <a:ln w="28575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34" name="Text Placeholder 33">
            <a:extLst>
              <a:ext uri="{FF2B5EF4-FFF2-40B4-BE49-F238E27FC236}">
                <a16:creationId xmlns:a16="http://schemas.microsoft.com/office/drawing/2014/main" id="{E4F1703F-FD14-2747-80D3-F176B49F55A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400180" y="1321922"/>
            <a:ext cx="1974851" cy="383116"/>
          </a:xfrm>
          <a:prstGeom prst="rect">
            <a:avLst/>
          </a:prstGeom>
        </p:spPr>
        <p:txBody>
          <a:bodyPr/>
          <a:lstStyle>
            <a:lvl1pPr>
              <a:defRPr b="0" i="0">
                <a:solidFill>
                  <a:schemeClr val="tx1"/>
                </a:solidFill>
                <a:latin typeface="CiscoSansTT" panose="020B0503020201020303" pitchFamily="34" charset="0"/>
                <a:cs typeface="CiscoSansTT" panose="020B0503020201020303" pitchFamily="34" charset="0"/>
              </a:defRPr>
            </a:lvl1pPr>
          </a:lstStyle>
          <a:p>
            <a:pPr lvl="0"/>
            <a:r>
              <a:rPr lang="en-GB"/>
              <a:t>Lorem</a:t>
            </a:r>
            <a:endParaRPr lang="en-US"/>
          </a:p>
        </p:txBody>
      </p:sp>
      <p:sp>
        <p:nvSpPr>
          <p:cNvPr id="36" name="Text Placeholder 33">
            <a:extLst>
              <a:ext uri="{FF2B5EF4-FFF2-40B4-BE49-F238E27FC236}">
                <a16:creationId xmlns:a16="http://schemas.microsoft.com/office/drawing/2014/main" id="{738D0011-FE5C-6641-AED1-0F6D9B42410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258924" y="1316567"/>
            <a:ext cx="1974851" cy="383116"/>
          </a:xfrm>
          <a:prstGeom prst="rect">
            <a:avLst/>
          </a:prstGeom>
        </p:spPr>
        <p:txBody>
          <a:bodyPr/>
          <a:lstStyle>
            <a:lvl1pPr>
              <a:defRPr b="0" i="0">
                <a:solidFill>
                  <a:schemeClr val="tx1"/>
                </a:solidFill>
                <a:latin typeface="CiscoSansTT" panose="020B0503020201020303" pitchFamily="34" charset="0"/>
                <a:cs typeface="CiscoSansTT" panose="020B0503020201020303" pitchFamily="34" charset="0"/>
              </a:defRPr>
            </a:lvl1pPr>
          </a:lstStyle>
          <a:p>
            <a:pPr lvl="0"/>
            <a:r>
              <a:rPr lang="en-GB"/>
              <a:t>Lorem</a:t>
            </a:r>
            <a:endParaRPr lang="en-US"/>
          </a:p>
        </p:txBody>
      </p:sp>
      <p:sp>
        <p:nvSpPr>
          <p:cNvPr id="37" name="Text Placeholder 33">
            <a:extLst>
              <a:ext uri="{FF2B5EF4-FFF2-40B4-BE49-F238E27FC236}">
                <a16:creationId xmlns:a16="http://schemas.microsoft.com/office/drawing/2014/main" id="{0C772D10-64AC-0A46-AC66-15F55CB301D4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400180" y="3033309"/>
            <a:ext cx="1974851" cy="383116"/>
          </a:xfrm>
          <a:prstGeom prst="rect">
            <a:avLst/>
          </a:prstGeom>
        </p:spPr>
        <p:txBody>
          <a:bodyPr/>
          <a:lstStyle>
            <a:lvl1pPr>
              <a:defRPr b="0" i="0">
                <a:solidFill>
                  <a:schemeClr val="tx1"/>
                </a:solidFill>
                <a:latin typeface="CiscoSansTT" panose="020B0503020201020303" pitchFamily="34" charset="0"/>
                <a:cs typeface="CiscoSansTT" panose="020B0503020201020303" pitchFamily="34" charset="0"/>
              </a:defRPr>
            </a:lvl1pPr>
          </a:lstStyle>
          <a:p>
            <a:pPr lvl="0"/>
            <a:r>
              <a:rPr lang="en-GB"/>
              <a:t>Lorem</a:t>
            </a:r>
            <a:endParaRPr lang="en-US"/>
          </a:p>
        </p:txBody>
      </p:sp>
      <p:sp>
        <p:nvSpPr>
          <p:cNvPr id="38" name="Text Placeholder 33">
            <a:extLst>
              <a:ext uri="{FF2B5EF4-FFF2-40B4-BE49-F238E27FC236}">
                <a16:creationId xmlns:a16="http://schemas.microsoft.com/office/drawing/2014/main" id="{AFD5C6FC-1D6D-804C-B9DB-5C348B87BB43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9258924" y="3027954"/>
            <a:ext cx="1974851" cy="383116"/>
          </a:xfrm>
          <a:prstGeom prst="rect">
            <a:avLst/>
          </a:prstGeom>
        </p:spPr>
        <p:txBody>
          <a:bodyPr/>
          <a:lstStyle>
            <a:lvl1pPr>
              <a:defRPr b="0" i="0">
                <a:solidFill>
                  <a:schemeClr val="tx1"/>
                </a:solidFill>
                <a:latin typeface="CiscoSansTT" panose="020B0503020201020303" pitchFamily="34" charset="0"/>
                <a:cs typeface="CiscoSansTT" panose="020B0503020201020303" pitchFamily="34" charset="0"/>
              </a:defRPr>
            </a:lvl1pPr>
          </a:lstStyle>
          <a:p>
            <a:pPr lvl="0"/>
            <a:r>
              <a:rPr lang="en-GB"/>
              <a:t>Lorem</a:t>
            </a:r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B2D0F69-DC62-4D67-8A64-70C1D1EC982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138" y="1612900"/>
            <a:ext cx="4318000" cy="1287516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21" name="Google Shape;1229;p213">
            <a:extLst>
              <a:ext uri="{FF2B5EF4-FFF2-40B4-BE49-F238E27FC236}">
                <a16:creationId xmlns:a16="http://schemas.microsoft.com/office/drawing/2014/main" id="{CEA0F091-302A-4927-A8DD-577AC767374D}"/>
              </a:ext>
            </a:extLst>
          </p:cNvPr>
          <p:cNvCxnSpPr/>
          <p:nvPr userDrawn="1"/>
        </p:nvCxnSpPr>
        <p:spPr>
          <a:xfrm>
            <a:off x="6400180" y="4585269"/>
            <a:ext cx="638000" cy="0"/>
          </a:xfrm>
          <a:prstGeom prst="straightConnector1">
            <a:avLst/>
          </a:prstGeom>
          <a:noFill/>
          <a:ln w="28575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</p:cxnSp>
      <p:cxnSp>
        <p:nvCxnSpPr>
          <p:cNvPr id="22" name="Google Shape;1238;p213">
            <a:extLst>
              <a:ext uri="{FF2B5EF4-FFF2-40B4-BE49-F238E27FC236}">
                <a16:creationId xmlns:a16="http://schemas.microsoft.com/office/drawing/2014/main" id="{A868F961-DC9F-4B48-8F97-A1686F674246}"/>
              </a:ext>
            </a:extLst>
          </p:cNvPr>
          <p:cNvCxnSpPr/>
          <p:nvPr userDrawn="1"/>
        </p:nvCxnSpPr>
        <p:spPr>
          <a:xfrm>
            <a:off x="9258924" y="4585269"/>
            <a:ext cx="638000" cy="0"/>
          </a:xfrm>
          <a:prstGeom prst="straightConnector1">
            <a:avLst/>
          </a:prstGeom>
          <a:noFill/>
          <a:ln w="28575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23" name="Text Placeholder 33">
            <a:extLst>
              <a:ext uri="{FF2B5EF4-FFF2-40B4-BE49-F238E27FC236}">
                <a16:creationId xmlns:a16="http://schemas.microsoft.com/office/drawing/2014/main" id="{83E8820D-8E81-4A56-9485-BB161CE50651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400180" y="4735109"/>
            <a:ext cx="1974851" cy="383116"/>
          </a:xfrm>
          <a:prstGeom prst="rect">
            <a:avLst/>
          </a:prstGeom>
        </p:spPr>
        <p:txBody>
          <a:bodyPr/>
          <a:lstStyle>
            <a:lvl1pPr>
              <a:defRPr b="0" i="0">
                <a:solidFill>
                  <a:schemeClr val="tx1"/>
                </a:solidFill>
                <a:latin typeface="CiscoSansTT" panose="020B0503020201020303" pitchFamily="34" charset="0"/>
                <a:cs typeface="CiscoSansTT" panose="020B0503020201020303" pitchFamily="34" charset="0"/>
              </a:defRPr>
            </a:lvl1pPr>
          </a:lstStyle>
          <a:p>
            <a:pPr lvl="0"/>
            <a:r>
              <a:rPr lang="en-GB"/>
              <a:t>Lorem</a:t>
            </a:r>
            <a:endParaRPr lang="en-US"/>
          </a:p>
        </p:txBody>
      </p:sp>
      <p:sp>
        <p:nvSpPr>
          <p:cNvPr id="24" name="Text Placeholder 33">
            <a:extLst>
              <a:ext uri="{FF2B5EF4-FFF2-40B4-BE49-F238E27FC236}">
                <a16:creationId xmlns:a16="http://schemas.microsoft.com/office/drawing/2014/main" id="{964F4B52-8FE5-47F3-A1CA-2A5857DF7364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9258924" y="4729754"/>
            <a:ext cx="1974851" cy="383116"/>
          </a:xfrm>
          <a:prstGeom prst="rect">
            <a:avLst/>
          </a:prstGeom>
        </p:spPr>
        <p:txBody>
          <a:bodyPr/>
          <a:lstStyle>
            <a:lvl1pPr>
              <a:defRPr b="0" i="0">
                <a:solidFill>
                  <a:schemeClr val="tx1"/>
                </a:solidFill>
                <a:latin typeface="CiscoSansTT" panose="020B0503020201020303" pitchFamily="34" charset="0"/>
                <a:cs typeface="CiscoSansTT" panose="020B0503020201020303" pitchFamily="34" charset="0"/>
              </a:defRPr>
            </a:lvl1pPr>
          </a:lstStyle>
          <a:p>
            <a:pPr lvl="0"/>
            <a:r>
              <a:rPr lang="en-GB"/>
              <a:t>Lorem</a:t>
            </a:r>
            <a:endParaRPr lang="en-US"/>
          </a:p>
        </p:txBody>
      </p:sp>
      <p:sp>
        <p:nvSpPr>
          <p:cNvPr id="27" name="Text Placeholder 4">
            <a:extLst>
              <a:ext uri="{FF2B5EF4-FFF2-40B4-BE49-F238E27FC236}">
                <a16:creationId xmlns:a16="http://schemas.microsoft.com/office/drawing/2014/main" id="{7E5ABB63-A528-43FA-881E-D107DD2EE06D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719138" y="2967039"/>
            <a:ext cx="4318000" cy="2244724"/>
          </a:xfrm>
        </p:spPr>
        <p:txBody>
          <a:bodyPr/>
          <a:lstStyle>
            <a:lvl1pPr>
              <a:defRPr sz="1800">
                <a:solidFill>
                  <a:schemeClr val="accent1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Insert short heading</a:t>
            </a:r>
          </a:p>
        </p:txBody>
      </p:sp>
      <p:sp>
        <p:nvSpPr>
          <p:cNvPr id="29" name="Text Placeholder 2">
            <a:extLst>
              <a:ext uri="{FF2B5EF4-FFF2-40B4-BE49-F238E27FC236}">
                <a16:creationId xmlns:a16="http://schemas.microsoft.com/office/drawing/2014/main" id="{4C7B152B-019D-4E76-9537-028F94E0CDA7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9258924" y="1719170"/>
            <a:ext cx="1974556" cy="756855"/>
          </a:xfrm>
        </p:spPr>
        <p:txBody>
          <a:bodyPr/>
          <a:lstStyle>
            <a:lvl1pPr>
              <a:defRPr sz="1200">
                <a:solidFill>
                  <a:schemeClr val="bg2"/>
                </a:solidFill>
              </a:defRPr>
            </a:lvl1pPr>
            <a:lvl5pPr>
              <a:defRPr/>
            </a:lvl5pPr>
          </a:lstStyle>
          <a:p>
            <a:pPr lvl="0"/>
            <a:r>
              <a:rPr lang="en-US"/>
              <a:t>Insert short description here</a:t>
            </a:r>
          </a:p>
        </p:txBody>
      </p:sp>
      <p:sp>
        <p:nvSpPr>
          <p:cNvPr id="30" name="Text Placeholder 2">
            <a:extLst>
              <a:ext uri="{FF2B5EF4-FFF2-40B4-BE49-F238E27FC236}">
                <a16:creationId xmlns:a16="http://schemas.microsoft.com/office/drawing/2014/main" id="{2451295A-018C-4213-AD54-3E6A0B68ADBE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400180" y="3425868"/>
            <a:ext cx="1974556" cy="756855"/>
          </a:xfrm>
        </p:spPr>
        <p:txBody>
          <a:bodyPr/>
          <a:lstStyle>
            <a:lvl1pPr>
              <a:defRPr sz="1200">
                <a:solidFill>
                  <a:schemeClr val="bg2"/>
                </a:solidFill>
              </a:defRPr>
            </a:lvl1pPr>
            <a:lvl5pPr>
              <a:defRPr/>
            </a:lvl5pPr>
          </a:lstStyle>
          <a:p>
            <a:pPr lvl="0"/>
            <a:r>
              <a:rPr lang="en-US"/>
              <a:t>Insert short description here</a:t>
            </a:r>
          </a:p>
        </p:txBody>
      </p:sp>
      <p:sp>
        <p:nvSpPr>
          <p:cNvPr id="31" name="Text Placeholder 2">
            <a:extLst>
              <a:ext uri="{FF2B5EF4-FFF2-40B4-BE49-F238E27FC236}">
                <a16:creationId xmlns:a16="http://schemas.microsoft.com/office/drawing/2014/main" id="{4DC19EF5-D238-4EDE-8372-F96F6D145E12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9258924" y="3425868"/>
            <a:ext cx="1974556" cy="756855"/>
          </a:xfrm>
        </p:spPr>
        <p:txBody>
          <a:bodyPr/>
          <a:lstStyle>
            <a:lvl1pPr>
              <a:defRPr sz="1200">
                <a:solidFill>
                  <a:schemeClr val="bg2"/>
                </a:solidFill>
              </a:defRPr>
            </a:lvl1pPr>
            <a:lvl5pPr>
              <a:defRPr/>
            </a:lvl5pPr>
          </a:lstStyle>
          <a:p>
            <a:pPr lvl="0"/>
            <a:r>
              <a:rPr lang="en-US"/>
              <a:t>Insert short description here</a:t>
            </a:r>
          </a:p>
        </p:txBody>
      </p:sp>
      <p:sp>
        <p:nvSpPr>
          <p:cNvPr id="39" name="Text Placeholder 2">
            <a:extLst>
              <a:ext uri="{FF2B5EF4-FFF2-40B4-BE49-F238E27FC236}">
                <a16:creationId xmlns:a16="http://schemas.microsoft.com/office/drawing/2014/main" id="{74C80095-E327-4754-A961-951C33E82A14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6400180" y="5124024"/>
            <a:ext cx="1974556" cy="756855"/>
          </a:xfrm>
        </p:spPr>
        <p:txBody>
          <a:bodyPr/>
          <a:lstStyle>
            <a:lvl1pPr>
              <a:defRPr sz="1200">
                <a:solidFill>
                  <a:schemeClr val="bg2"/>
                </a:solidFill>
              </a:defRPr>
            </a:lvl1pPr>
            <a:lvl5pPr>
              <a:defRPr/>
            </a:lvl5pPr>
          </a:lstStyle>
          <a:p>
            <a:pPr lvl="0"/>
            <a:r>
              <a:rPr lang="en-US"/>
              <a:t>Insert short description here</a:t>
            </a:r>
          </a:p>
        </p:txBody>
      </p:sp>
      <p:sp>
        <p:nvSpPr>
          <p:cNvPr id="42" name="Text Placeholder 2">
            <a:extLst>
              <a:ext uri="{FF2B5EF4-FFF2-40B4-BE49-F238E27FC236}">
                <a16:creationId xmlns:a16="http://schemas.microsoft.com/office/drawing/2014/main" id="{51CC7C50-6BB9-4426-8656-99F7CB1F1F14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9258924" y="5124024"/>
            <a:ext cx="1974556" cy="756855"/>
          </a:xfrm>
        </p:spPr>
        <p:txBody>
          <a:bodyPr/>
          <a:lstStyle>
            <a:lvl1pPr>
              <a:defRPr sz="1200">
                <a:solidFill>
                  <a:schemeClr val="bg2"/>
                </a:solidFill>
              </a:defRPr>
            </a:lvl1pPr>
            <a:lvl5pPr>
              <a:defRPr/>
            </a:lvl5pPr>
          </a:lstStyle>
          <a:p>
            <a:pPr lvl="0"/>
            <a:r>
              <a:rPr lang="en-US"/>
              <a:t>Insert short description here</a:t>
            </a:r>
          </a:p>
        </p:txBody>
      </p:sp>
    </p:spTree>
    <p:extLst>
      <p:ext uri="{BB962C8B-B14F-4D97-AF65-F5344CB8AC3E}">
        <p14:creationId xmlns:p14="http://schemas.microsoft.com/office/powerpoint/2010/main" val="73338928"/>
      </p:ext>
    </p:extLst>
  </p:cSld>
  <p:clrMapOvr>
    <a:masterClrMapping/>
  </p:clrMapOvr>
</p:sldLayout>
</file>

<file path=ppt/slideLayouts/slideLayout2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Closing Slide" preserve="1">
  <p:cSld name="Closing Slide">
    <p:bg>
      <p:bgRef idx="1001">
        <a:schemeClr val="bg2"/>
      </p:bgRef>
    </p:bg>
    <p:spTree>
      <p:nvGrpSpPr>
        <p:cNvPr id="1" name="Shape 17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" name="Graphic 29">
            <a:extLst>
              <a:ext uri="{FF2B5EF4-FFF2-40B4-BE49-F238E27FC236}">
                <a16:creationId xmlns:a16="http://schemas.microsoft.com/office/drawing/2014/main" id="{D8BD1AEB-DE24-4015-B55E-144DF087C5B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522511" y="3066700"/>
            <a:ext cx="5145421" cy="7126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8737705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Closing Slide" preserve="1">
  <p:cSld name="1_Closing Slide">
    <p:bg>
      <p:bgRef idx="1001">
        <a:schemeClr val="bg2"/>
      </p:bgRef>
    </p:bg>
    <p:spTree>
      <p:nvGrpSpPr>
        <p:cNvPr id="1" name="Shape 17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phic 2">
            <a:extLst>
              <a:ext uri="{FF2B5EF4-FFF2-40B4-BE49-F238E27FC236}">
                <a16:creationId xmlns:a16="http://schemas.microsoft.com/office/drawing/2014/main" id="{A767A2BD-3F38-49B6-B5B3-323EBCAB899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189066" y="2912022"/>
            <a:ext cx="1821332" cy="10551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4715713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4">
            <a:extLst>
              <a:ext uri="{FF2B5EF4-FFF2-40B4-BE49-F238E27FC236}">
                <a16:creationId xmlns:a16="http://schemas.microsoft.com/office/drawing/2014/main" id="{E533B4C3-00C3-4EE9-9CE8-212AE8648688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1989" cy="6858000"/>
          </a:xfrm>
          <a:prstGeom prst="rect">
            <a:avLst/>
          </a:prstGeom>
          <a:solidFill>
            <a:srgbClr val="EDF1F6"/>
          </a:solidFill>
        </p:spPr>
        <p:txBody>
          <a:bodyPr/>
          <a:lstStyle>
            <a:lvl1pPr>
              <a:defRPr>
                <a:noFill/>
              </a:defRPr>
            </a:lvl1pPr>
          </a:lstStyle>
          <a:p>
            <a:endParaRPr lang="en-US"/>
          </a:p>
        </p:txBody>
      </p:sp>
      <p:sp>
        <p:nvSpPr>
          <p:cNvPr id="9" name="Picture Placeholder 6">
            <a:extLst>
              <a:ext uri="{FF2B5EF4-FFF2-40B4-BE49-F238E27FC236}">
                <a16:creationId xmlns:a16="http://schemas.microsoft.com/office/drawing/2014/main" id="{D6741ED8-910C-4652-B7B9-9AAF0CBFA206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" y="0"/>
            <a:ext cx="12196233" cy="6858000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>
                <a:noFill/>
              </a:defRPr>
            </a:lvl1pPr>
          </a:lstStyle>
          <a:p>
            <a:endParaRPr lang="en-US"/>
          </a:p>
        </p:txBody>
      </p:sp>
      <p:sp>
        <p:nvSpPr>
          <p:cNvPr id="12" name="Text Placeholder 21">
            <a:extLst>
              <a:ext uri="{FF2B5EF4-FFF2-40B4-BE49-F238E27FC236}">
                <a16:creationId xmlns:a16="http://schemas.microsoft.com/office/drawing/2014/main" id="{265E67DC-0D39-434C-8F32-63A1AD0CD7F3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5334823" y="4999433"/>
            <a:ext cx="1641299" cy="361041"/>
          </a:xfrm>
          <a:prstGeom prst="rect">
            <a:avLst/>
          </a:prstGeom>
        </p:spPr>
        <p:txBody>
          <a:bodyPr/>
          <a:lstStyle>
            <a:lvl1pPr algn="ctr">
              <a:defRPr sz="1600" b="0" i="0">
                <a:solidFill>
                  <a:schemeClr val="bg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defRPr>
            </a:lvl1pPr>
          </a:lstStyle>
          <a:p>
            <a:pPr lvl="0"/>
            <a:r>
              <a:rPr lang="en-GB"/>
              <a:t>Person Name</a:t>
            </a:r>
            <a:endParaRPr lang="en-US"/>
          </a:p>
        </p:txBody>
      </p:sp>
      <p:sp>
        <p:nvSpPr>
          <p:cNvPr id="15" name="Text Placeholder 9">
            <a:extLst>
              <a:ext uri="{FF2B5EF4-FFF2-40B4-BE49-F238E27FC236}">
                <a16:creationId xmlns:a16="http://schemas.microsoft.com/office/drawing/2014/main" id="{970925D7-95D9-DE4C-8670-93C1A5195C5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166400" y="1645377"/>
            <a:ext cx="8090227" cy="2731552"/>
          </a:xfrm>
          <a:prstGeom prst="rect">
            <a:avLst/>
          </a:prstGeom>
        </p:spPr>
        <p:txBody>
          <a:bodyPr/>
          <a:lstStyle>
            <a:lvl1pPr algn="ctr">
              <a:defRPr sz="2933" b="0" i="0">
                <a:solidFill>
                  <a:schemeClr val="bg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defRPr>
            </a:lvl1pPr>
            <a:lvl2pPr>
              <a:defRPr sz="2933" b="0" i="0">
                <a:solidFill>
                  <a:schemeClr val="tx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defRPr>
            </a:lvl2pPr>
            <a:lvl3pPr>
              <a:defRPr sz="2933" b="0" i="0">
                <a:solidFill>
                  <a:schemeClr val="tx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defRPr>
            </a:lvl3pPr>
            <a:lvl4pPr>
              <a:defRPr sz="2933" b="0" i="0">
                <a:solidFill>
                  <a:schemeClr val="tx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defRPr>
            </a:lvl4pPr>
            <a:lvl5pPr>
              <a:defRPr sz="2933" b="0" i="0">
                <a:solidFill>
                  <a:schemeClr val="tx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defRPr>
            </a:lvl5pPr>
          </a:lstStyle>
          <a:p>
            <a:pPr lvl="0"/>
            <a:r>
              <a:rPr lang="en-US" sz="3200">
                <a:solidFill>
                  <a:srgbClr val="FFFFFF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  <a:sym typeface="Helvetica Neue Light"/>
              </a:rPr>
              <a:t>Insert text here</a:t>
            </a:r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B6836383-F45D-47B3-ADBF-08BDF7D3AABD}"/>
              </a:ext>
            </a:extLst>
          </p:cNvPr>
          <p:cNvSpPr/>
          <p:nvPr userDrawn="1"/>
        </p:nvSpPr>
        <p:spPr>
          <a:xfrm>
            <a:off x="-1" y="-844774"/>
            <a:ext cx="12196233" cy="749580"/>
          </a:xfrm>
          <a:prstGeom prst="rect">
            <a:avLst/>
          </a:prstGeom>
          <a:solidFill>
            <a:srgbClr val="EDF1F6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2489">
                <a:solidFill>
                  <a:schemeClr val="tx1"/>
                </a:solidFill>
              </a:rPr>
              <a:t>PLEASE NOTE:</a:t>
            </a:r>
          </a:p>
          <a:p>
            <a:pPr algn="ctr"/>
            <a:r>
              <a:rPr lang="en-US" sz="2489">
                <a:solidFill>
                  <a:schemeClr val="tx1"/>
                </a:solidFill>
              </a:rPr>
              <a:t>In order to insert an image into the background, simply drag and drop your image onto the slide</a:t>
            </a:r>
          </a:p>
        </p:txBody>
      </p:sp>
    </p:spTree>
    <p:extLst>
      <p:ext uri="{BB962C8B-B14F-4D97-AF65-F5344CB8AC3E}">
        <p14:creationId xmlns:p14="http://schemas.microsoft.com/office/powerpoint/2010/main" val="1381049780"/>
      </p:ext>
    </p:extLst>
  </p:cSld>
  <p:clrMapOvr>
    <a:masterClrMapping/>
  </p:clrMapOvr>
</p:sldLayout>
</file>

<file path=ppt/slideLayouts/slideLayout2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Closing Slide" preserve="1">
  <p:cSld name="1_Closing Slide">
    <p:bg>
      <p:bgRef idx="1001">
        <a:schemeClr val="bg2"/>
      </p:bgRef>
    </p:bg>
    <p:spTree>
      <p:nvGrpSpPr>
        <p:cNvPr id="1" name="Shape 17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Google Shape;2135;p235">
            <a:extLst>
              <a:ext uri="{FF2B5EF4-FFF2-40B4-BE49-F238E27FC236}">
                <a16:creationId xmlns:a16="http://schemas.microsoft.com/office/drawing/2014/main" id="{E55ECE54-192C-4ABC-80B2-E44ABE20292F}"/>
              </a:ext>
            </a:extLst>
          </p:cNvPr>
          <p:cNvSpPr/>
          <p:nvPr userDrawn="1"/>
        </p:nvSpPr>
        <p:spPr>
          <a:xfrm>
            <a:off x="5168268" y="2918968"/>
            <a:ext cx="1855469" cy="985701"/>
          </a:xfrm>
          <a:custGeom>
            <a:avLst/>
            <a:gdLst/>
            <a:ahLst/>
            <a:cxnLst/>
            <a:rect l="l" t="t" r="r" b="b"/>
            <a:pathLst>
              <a:path w="3456" h="1834" extrusionOk="0">
                <a:moveTo>
                  <a:pt x="2828" y="1362"/>
                </a:moveTo>
                <a:lnTo>
                  <a:pt x="2798" y="1364"/>
                </a:lnTo>
                <a:lnTo>
                  <a:pt x="2771" y="1371"/>
                </a:lnTo>
                <a:lnTo>
                  <a:pt x="2747" y="1384"/>
                </a:lnTo>
                <a:lnTo>
                  <a:pt x="2725" y="1400"/>
                </a:lnTo>
                <a:lnTo>
                  <a:pt x="2706" y="1419"/>
                </a:lnTo>
                <a:lnTo>
                  <a:pt x="2691" y="1441"/>
                </a:lnTo>
                <a:lnTo>
                  <a:pt x="2680" y="1465"/>
                </a:lnTo>
                <a:lnTo>
                  <a:pt x="2674" y="1492"/>
                </a:lnTo>
                <a:lnTo>
                  <a:pt x="2671" y="1521"/>
                </a:lnTo>
                <a:lnTo>
                  <a:pt x="2674" y="1549"/>
                </a:lnTo>
                <a:lnTo>
                  <a:pt x="2680" y="1577"/>
                </a:lnTo>
                <a:lnTo>
                  <a:pt x="2691" y="1601"/>
                </a:lnTo>
                <a:lnTo>
                  <a:pt x="2706" y="1623"/>
                </a:lnTo>
                <a:lnTo>
                  <a:pt x="2725" y="1642"/>
                </a:lnTo>
                <a:lnTo>
                  <a:pt x="2747" y="1658"/>
                </a:lnTo>
                <a:lnTo>
                  <a:pt x="2771" y="1669"/>
                </a:lnTo>
                <a:lnTo>
                  <a:pt x="2798" y="1677"/>
                </a:lnTo>
                <a:lnTo>
                  <a:pt x="2828" y="1680"/>
                </a:lnTo>
                <a:lnTo>
                  <a:pt x="2857" y="1677"/>
                </a:lnTo>
                <a:lnTo>
                  <a:pt x="2883" y="1669"/>
                </a:lnTo>
                <a:lnTo>
                  <a:pt x="2908" y="1658"/>
                </a:lnTo>
                <a:lnTo>
                  <a:pt x="2930" y="1642"/>
                </a:lnTo>
                <a:lnTo>
                  <a:pt x="2948" y="1623"/>
                </a:lnTo>
                <a:lnTo>
                  <a:pt x="2964" y="1601"/>
                </a:lnTo>
                <a:lnTo>
                  <a:pt x="2975" y="1577"/>
                </a:lnTo>
                <a:lnTo>
                  <a:pt x="2982" y="1549"/>
                </a:lnTo>
                <a:lnTo>
                  <a:pt x="2985" y="1521"/>
                </a:lnTo>
                <a:lnTo>
                  <a:pt x="2982" y="1492"/>
                </a:lnTo>
                <a:lnTo>
                  <a:pt x="2975" y="1465"/>
                </a:lnTo>
                <a:lnTo>
                  <a:pt x="2964" y="1441"/>
                </a:lnTo>
                <a:lnTo>
                  <a:pt x="2948" y="1419"/>
                </a:lnTo>
                <a:lnTo>
                  <a:pt x="2930" y="1400"/>
                </a:lnTo>
                <a:lnTo>
                  <a:pt x="2908" y="1384"/>
                </a:lnTo>
                <a:lnTo>
                  <a:pt x="2883" y="1371"/>
                </a:lnTo>
                <a:lnTo>
                  <a:pt x="2857" y="1364"/>
                </a:lnTo>
                <a:lnTo>
                  <a:pt x="2828" y="1362"/>
                </a:lnTo>
                <a:close/>
                <a:moveTo>
                  <a:pt x="977" y="1218"/>
                </a:moveTo>
                <a:lnTo>
                  <a:pt x="1129" y="1218"/>
                </a:lnTo>
                <a:lnTo>
                  <a:pt x="1129" y="1823"/>
                </a:lnTo>
                <a:lnTo>
                  <a:pt x="977" y="1823"/>
                </a:lnTo>
                <a:lnTo>
                  <a:pt x="977" y="1218"/>
                </a:lnTo>
                <a:close/>
                <a:moveTo>
                  <a:pt x="2828" y="1208"/>
                </a:moveTo>
                <a:lnTo>
                  <a:pt x="2873" y="1211"/>
                </a:lnTo>
                <a:lnTo>
                  <a:pt x="2916" y="1219"/>
                </a:lnTo>
                <a:lnTo>
                  <a:pt x="2955" y="1232"/>
                </a:lnTo>
                <a:lnTo>
                  <a:pt x="2992" y="1251"/>
                </a:lnTo>
                <a:lnTo>
                  <a:pt x="3026" y="1273"/>
                </a:lnTo>
                <a:lnTo>
                  <a:pt x="3056" y="1299"/>
                </a:lnTo>
                <a:lnTo>
                  <a:pt x="3082" y="1330"/>
                </a:lnTo>
                <a:lnTo>
                  <a:pt x="3104" y="1363"/>
                </a:lnTo>
                <a:lnTo>
                  <a:pt x="3121" y="1398"/>
                </a:lnTo>
                <a:lnTo>
                  <a:pt x="3134" y="1437"/>
                </a:lnTo>
                <a:lnTo>
                  <a:pt x="3142" y="1479"/>
                </a:lnTo>
                <a:lnTo>
                  <a:pt x="3145" y="1521"/>
                </a:lnTo>
                <a:lnTo>
                  <a:pt x="3142" y="1563"/>
                </a:lnTo>
                <a:lnTo>
                  <a:pt x="3134" y="1604"/>
                </a:lnTo>
                <a:lnTo>
                  <a:pt x="3121" y="1642"/>
                </a:lnTo>
                <a:lnTo>
                  <a:pt x="3104" y="1679"/>
                </a:lnTo>
                <a:lnTo>
                  <a:pt x="3082" y="1712"/>
                </a:lnTo>
                <a:lnTo>
                  <a:pt x="3056" y="1742"/>
                </a:lnTo>
                <a:lnTo>
                  <a:pt x="3026" y="1769"/>
                </a:lnTo>
                <a:lnTo>
                  <a:pt x="2992" y="1791"/>
                </a:lnTo>
                <a:lnTo>
                  <a:pt x="2955" y="1809"/>
                </a:lnTo>
                <a:lnTo>
                  <a:pt x="2916" y="1822"/>
                </a:lnTo>
                <a:lnTo>
                  <a:pt x="2873" y="1831"/>
                </a:lnTo>
                <a:lnTo>
                  <a:pt x="2828" y="1834"/>
                </a:lnTo>
                <a:lnTo>
                  <a:pt x="2783" y="1831"/>
                </a:lnTo>
                <a:lnTo>
                  <a:pt x="2740" y="1822"/>
                </a:lnTo>
                <a:lnTo>
                  <a:pt x="2700" y="1809"/>
                </a:lnTo>
                <a:lnTo>
                  <a:pt x="2663" y="1791"/>
                </a:lnTo>
                <a:lnTo>
                  <a:pt x="2630" y="1769"/>
                </a:lnTo>
                <a:lnTo>
                  <a:pt x="2599" y="1742"/>
                </a:lnTo>
                <a:lnTo>
                  <a:pt x="2573" y="1712"/>
                </a:lnTo>
                <a:lnTo>
                  <a:pt x="2551" y="1679"/>
                </a:lnTo>
                <a:lnTo>
                  <a:pt x="2534" y="1642"/>
                </a:lnTo>
                <a:lnTo>
                  <a:pt x="2521" y="1604"/>
                </a:lnTo>
                <a:lnTo>
                  <a:pt x="2513" y="1563"/>
                </a:lnTo>
                <a:lnTo>
                  <a:pt x="2510" y="1521"/>
                </a:lnTo>
                <a:lnTo>
                  <a:pt x="2513" y="1479"/>
                </a:lnTo>
                <a:lnTo>
                  <a:pt x="2521" y="1437"/>
                </a:lnTo>
                <a:lnTo>
                  <a:pt x="2534" y="1398"/>
                </a:lnTo>
                <a:lnTo>
                  <a:pt x="2551" y="1363"/>
                </a:lnTo>
                <a:lnTo>
                  <a:pt x="2573" y="1330"/>
                </a:lnTo>
                <a:lnTo>
                  <a:pt x="2599" y="1299"/>
                </a:lnTo>
                <a:lnTo>
                  <a:pt x="2630" y="1273"/>
                </a:lnTo>
                <a:lnTo>
                  <a:pt x="2663" y="1251"/>
                </a:lnTo>
                <a:lnTo>
                  <a:pt x="2700" y="1232"/>
                </a:lnTo>
                <a:lnTo>
                  <a:pt x="2740" y="1219"/>
                </a:lnTo>
                <a:lnTo>
                  <a:pt x="2783" y="1211"/>
                </a:lnTo>
                <a:lnTo>
                  <a:pt x="2828" y="1208"/>
                </a:lnTo>
                <a:close/>
                <a:moveTo>
                  <a:pt x="2213" y="1208"/>
                </a:moveTo>
                <a:lnTo>
                  <a:pt x="2242" y="1209"/>
                </a:lnTo>
                <a:lnTo>
                  <a:pt x="2268" y="1211"/>
                </a:lnTo>
                <a:lnTo>
                  <a:pt x="2292" y="1215"/>
                </a:lnTo>
                <a:lnTo>
                  <a:pt x="2312" y="1219"/>
                </a:lnTo>
                <a:lnTo>
                  <a:pt x="2329" y="1223"/>
                </a:lnTo>
                <a:lnTo>
                  <a:pt x="2343" y="1227"/>
                </a:lnTo>
                <a:lnTo>
                  <a:pt x="2351" y="1230"/>
                </a:lnTo>
                <a:lnTo>
                  <a:pt x="2351" y="1392"/>
                </a:lnTo>
                <a:lnTo>
                  <a:pt x="2346" y="1389"/>
                </a:lnTo>
                <a:lnTo>
                  <a:pt x="2335" y="1384"/>
                </a:lnTo>
                <a:lnTo>
                  <a:pt x="2321" y="1377"/>
                </a:lnTo>
                <a:lnTo>
                  <a:pt x="2302" y="1371"/>
                </a:lnTo>
                <a:lnTo>
                  <a:pt x="2279" y="1365"/>
                </a:lnTo>
                <a:lnTo>
                  <a:pt x="2253" y="1360"/>
                </a:lnTo>
                <a:lnTo>
                  <a:pt x="2223" y="1359"/>
                </a:lnTo>
                <a:lnTo>
                  <a:pt x="2192" y="1362"/>
                </a:lnTo>
                <a:lnTo>
                  <a:pt x="2163" y="1369"/>
                </a:lnTo>
                <a:lnTo>
                  <a:pt x="2136" y="1381"/>
                </a:lnTo>
                <a:lnTo>
                  <a:pt x="2113" y="1396"/>
                </a:lnTo>
                <a:lnTo>
                  <a:pt x="2095" y="1415"/>
                </a:lnTo>
                <a:lnTo>
                  <a:pt x="2079" y="1437"/>
                </a:lnTo>
                <a:lnTo>
                  <a:pt x="2067" y="1463"/>
                </a:lnTo>
                <a:lnTo>
                  <a:pt x="2060" y="1490"/>
                </a:lnTo>
                <a:lnTo>
                  <a:pt x="2058" y="1521"/>
                </a:lnTo>
                <a:lnTo>
                  <a:pt x="2060" y="1550"/>
                </a:lnTo>
                <a:lnTo>
                  <a:pt x="2066" y="1578"/>
                </a:lnTo>
                <a:lnTo>
                  <a:pt x="2078" y="1602"/>
                </a:lnTo>
                <a:lnTo>
                  <a:pt x="2093" y="1625"/>
                </a:lnTo>
                <a:lnTo>
                  <a:pt x="2112" y="1644"/>
                </a:lnTo>
                <a:lnTo>
                  <a:pt x="2135" y="1660"/>
                </a:lnTo>
                <a:lnTo>
                  <a:pt x="2162" y="1672"/>
                </a:lnTo>
                <a:lnTo>
                  <a:pt x="2191" y="1679"/>
                </a:lnTo>
                <a:lnTo>
                  <a:pt x="2223" y="1682"/>
                </a:lnTo>
                <a:lnTo>
                  <a:pt x="2253" y="1680"/>
                </a:lnTo>
                <a:lnTo>
                  <a:pt x="2279" y="1676"/>
                </a:lnTo>
                <a:lnTo>
                  <a:pt x="2301" y="1671"/>
                </a:lnTo>
                <a:lnTo>
                  <a:pt x="2321" y="1664"/>
                </a:lnTo>
                <a:lnTo>
                  <a:pt x="2335" y="1658"/>
                </a:lnTo>
                <a:lnTo>
                  <a:pt x="2346" y="1653"/>
                </a:lnTo>
                <a:lnTo>
                  <a:pt x="2351" y="1649"/>
                </a:lnTo>
                <a:lnTo>
                  <a:pt x="2351" y="1812"/>
                </a:lnTo>
                <a:lnTo>
                  <a:pt x="2339" y="1816"/>
                </a:lnTo>
                <a:lnTo>
                  <a:pt x="2322" y="1820"/>
                </a:lnTo>
                <a:lnTo>
                  <a:pt x="2300" y="1826"/>
                </a:lnTo>
                <a:lnTo>
                  <a:pt x="2275" y="1830"/>
                </a:lnTo>
                <a:lnTo>
                  <a:pt x="2245" y="1833"/>
                </a:lnTo>
                <a:lnTo>
                  <a:pt x="2213" y="1834"/>
                </a:lnTo>
                <a:lnTo>
                  <a:pt x="2174" y="1832"/>
                </a:lnTo>
                <a:lnTo>
                  <a:pt x="2136" y="1826"/>
                </a:lnTo>
                <a:lnTo>
                  <a:pt x="2100" y="1815"/>
                </a:lnTo>
                <a:lnTo>
                  <a:pt x="2065" y="1801"/>
                </a:lnTo>
                <a:lnTo>
                  <a:pt x="2033" y="1783"/>
                </a:lnTo>
                <a:lnTo>
                  <a:pt x="2002" y="1762"/>
                </a:lnTo>
                <a:lnTo>
                  <a:pt x="1975" y="1737"/>
                </a:lnTo>
                <a:lnTo>
                  <a:pt x="1952" y="1710"/>
                </a:lnTo>
                <a:lnTo>
                  <a:pt x="1931" y="1678"/>
                </a:lnTo>
                <a:lnTo>
                  <a:pt x="1915" y="1643"/>
                </a:lnTo>
                <a:lnTo>
                  <a:pt x="1903" y="1605"/>
                </a:lnTo>
                <a:lnTo>
                  <a:pt x="1896" y="1564"/>
                </a:lnTo>
                <a:lnTo>
                  <a:pt x="1892" y="1521"/>
                </a:lnTo>
                <a:lnTo>
                  <a:pt x="1896" y="1477"/>
                </a:lnTo>
                <a:lnTo>
                  <a:pt x="1904" y="1434"/>
                </a:lnTo>
                <a:lnTo>
                  <a:pt x="1917" y="1395"/>
                </a:lnTo>
                <a:lnTo>
                  <a:pt x="1934" y="1359"/>
                </a:lnTo>
                <a:lnTo>
                  <a:pt x="1957" y="1326"/>
                </a:lnTo>
                <a:lnTo>
                  <a:pt x="1984" y="1296"/>
                </a:lnTo>
                <a:lnTo>
                  <a:pt x="2014" y="1271"/>
                </a:lnTo>
                <a:lnTo>
                  <a:pt x="2047" y="1249"/>
                </a:lnTo>
                <a:lnTo>
                  <a:pt x="2085" y="1231"/>
                </a:lnTo>
                <a:lnTo>
                  <a:pt x="2125" y="1218"/>
                </a:lnTo>
                <a:lnTo>
                  <a:pt x="2168" y="1211"/>
                </a:lnTo>
                <a:lnTo>
                  <a:pt x="2213" y="1208"/>
                </a:lnTo>
                <a:close/>
                <a:moveTo>
                  <a:pt x="630" y="1208"/>
                </a:moveTo>
                <a:lnTo>
                  <a:pt x="660" y="1209"/>
                </a:lnTo>
                <a:lnTo>
                  <a:pt x="687" y="1211"/>
                </a:lnTo>
                <a:lnTo>
                  <a:pt x="711" y="1215"/>
                </a:lnTo>
                <a:lnTo>
                  <a:pt x="731" y="1219"/>
                </a:lnTo>
                <a:lnTo>
                  <a:pt x="748" y="1223"/>
                </a:lnTo>
                <a:lnTo>
                  <a:pt x="760" y="1227"/>
                </a:lnTo>
                <a:lnTo>
                  <a:pt x="769" y="1230"/>
                </a:lnTo>
                <a:lnTo>
                  <a:pt x="769" y="1392"/>
                </a:lnTo>
                <a:lnTo>
                  <a:pt x="763" y="1389"/>
                </a:lnTo>
                <a:lnTo>
                  <a:pt x="754" y="1384"/>
                </a:lnTo>
                <a:lnTo>
                  <a:pt x="739" y="1377"/>
                </a:lnTo>
                <a:lnTo>
                  <a:pt x="721" y="1371"/>
                </a:lnTo>
                <a:lnTo>
                  <a:pt x="697" y="1365"/>
                </a:lnTo>
                <a:lnTo>
                  <a:pt x="671" y="1360"/>
                </a:lnTo>
                <a:lnTo>
                  <a:pt x="642" y="1359"/>
                </a:lnTo>
                <a:lnTo>
                  <a:pt x="611" y="1362"/>
                </a:lnTo>
                <a:lnTo>
                  <a:pt x="581" y="1369"/>
                </a:lnTo>
                <a:lnTo>
                  <a:pt x="555" y="1381"/>
                </a:lnTo>
                <a:lnTo>
                  <a:pt x="532" y="1396"/>
                </a:lnTo>
                <a:lnTo>
                  <a:pt x="513" y="1415"/>
                </a:lnTo>
                <a:lnTo>
                  <a:pt x="497" y="1437"/>
                </a:lnTo>
                <a:lnTo>
                  <a:pt x="485" y="1463"/>
                </a:lnTo>
                <a:lnTo>
                  <a:pt x="479" y="1490"/>
                </a:lnTo>
                <a:lnTo>
                  <a:pt x="475" y="1521"/>
                </a:lnTo>
                <a:lnTo>
                  <a:pt x="479" y="1550"/>
                </a:lnTo>
                <a:lnTo>
                  <a:pt x="485" y="1578"/>
                </a:lnTo>
                <a:lnTo>
                  <a:pt x="496" y="1602"/>
                </a:lnTo>
                <a:lnTo>
                  <a:pt x="512" y="1625"/>
                </a:lnTo>
                <a:lnTo>
                  <a:pt x="531" y="1644"/>
                </a:lnTo>
                <a:lnTo>
                  <a:pt x="554" y="1660"/>
                </a:lnTo>
                <a:lnTo>
                  <a:pt x="580" y="1672"/>
                </a:lnTo>
                <a:lnTo>
                  <a:pt x="610" y="1679"/>
                </a:lnTo>
                <a:lnTo>
                  <a:pt x="642" y="1682"/>
                </a:lnTo>
                <a:lnTo>
                  <a:pt x="671" y="1680"/>
                </a:lnTo>
                <a:lnTo>
                  <a:pt x="697" y="1676"/>
                </a:lnTo>
                <a:lnTo>
                  <a:pt x="719" y="1671"/>
                </a:lnTo>
                <a:lnTo>
                  <a:pt x="738" y="1664"/>
                </a:lnTo>
                <a:lnTo>
                  <a:pt x="753" y="1658"/>
                </a:lnTo>
                <a:lnTo>
                  <a:pt x="763" y="1653"/>
                </a:lnTo>
                <a:lnTo>
                  <a:pt x="769" y="1649"/>
                </a:lnTo>
                <a:lnTo>
                  <a:pt x="769" y="1812"/>
                </a:lnTo>
                <a:lnTo>
                  <a:pt x="757" y="1816"/>
                </a:lnTo>
                <a:lnTo>
                  <a:pt x="740" y="1820"/>
                </a:lnTo>
                <a:lnTo>
                  <a:pt x="718" y="1826"/>
                </a:lnTo>
                <a:lnTo>
                  <a:pt x="692" y="1830"/>
                </a:lnTo>
                <a:lnTo>
                  <a:pt x="663" y="1833"/>
                </a:lnTo>
                <a:lnTo>
                  <a:pt x="630" y="1834"/>
                </a:lnTo>
                <a:lnTo>
                  <a:pt x="592" y="1832"/>
                </a:lnTo>
                <a:lnTo>
                  <a:pt x="554" y="1826"/>
                </a:lnTo>
                <a:lnTo>
                  <a:pt x="518" y="1815"/>
                </a:lnTo>
                <a:lnTo>
                  <a:pt x="484" y="1801"/>
                </a:lnTo>
                <a:lnTo>
                  <a:pt x="451" y="1783"/>
                </a:lnTo>
                <a:lnTo>
                  <a:pt x="421" y="1762"/>
                </a:lnTo>
                <a:lnTo>
                  <a:pt x="394" y="1737"/>
                </a:lnTo>
                <a:lnTo>
                  <a:pt x="370" y="1710"/>
                </a:lnTo>
                <a:lnTo>
                  <a:pt x="350" y="1678"/>
                </a:lnTo>
                <a:lnTo>
                  <a:pt x="333" y="1643"/>
                </a:lnTo>
                <a:lnTo>
                  <a:pt x="322" y="1605"/>
                </a:lnTo>
                <a:lnTo>
                  <a:pt x="314" y="1564"/>
                </a:lnTo>
                <a:lnTo>
                  <a:pt x="311" y="1521"/>
                </a:lnTo>
                <a:lnTo>
                  <a:pt x="314" y="1477"/>
                </a:lnTo>
                <a:lnTo>
                  <a:pt x="323" y="1434"/>
                </a:lnTo>
                <a:lnTo>
                  <a:pt x="335" y="1395"/>
                </a:lnTo>
                <a:lnTo>
                  <a:pt x="353" y="1359"/>
                </a:lnTo>
                <a:lnTo>
                  <a:pt x="375" y="1326"/>
                </a:lnTo>
                <a:lnTo>
                  <a:pt x="402" y="1296"/>
                </a:lnTo>
                <a:lnTo>
                  <a:pt x="433" y="1271"/>
                </a:lnTo>
                <a:lnTo>
                  <a:pt x="466" y="1249"/>
                </a:lnTo>
                <a:lnTo>
                  <a:pt x="503" y="1231"/>
                </a:lnTo>
                <a:lnTo>
                  <a:pt x="544" y="1218"/>
                </a:lnTo>
                <a:lnTo>
                  <a:pt x="585" y="1211"/>
                </a:lnTo>
                <a:lnTo>
                  <a:pt x="630" y="1208"/>
                </a:lnTo>
                <a:close/>
                <a:moveTo>
                  <a:pt x="1556" y="1208"/>
                </a:moveTo>
                <a:lnTo>
                  <a:pt x="1583" y="1209"/>
                </a:lnTo>
                <a:lnTo>
                  <a:pt x="1610" y="1211"/>
                </a:lnTo>
                <a:lnTo>
                  <a:pt x="1634" y="1213"/>
                </a:lnTo>
                <a:lnTo>
                  <a:pt x="1656" y="1217"/>
                </a:lnTo>
                <a:lnTo>
                  <a:pt x="1675" y="1220"/>
                </a:lnTo>
                <a:lnTo>
                  <a:pt x="1689" y="1223"/>
                </a:lnTo>
                <a:lnTo>
                  <a:pt x="1699" y="1226"/>
                </a:lnTo>
                <a:lnTo>
                  <a:pt x="1704" y="1227"/>
                </a:lnTo>
                <a:lnTo>
                  <a:pt x="1704" y="1356"/>
                </a:lnTo>
                <a:lnTo>
                  <a:pt x="1700" y="1355"/>
                </a:lnTo>
                <a:lnTo>
                  <a:pt x="1691" y="1353"/>
                </a:lnTo>
                <a:lnTo>
                  <a:pt x="1679" y="1350"/>
                </a:lnTo>
                <a:lnTo>
                  <a:pt x="1663" y="1347"/>
                </a:lnTo>
                <a:lnTo>
                  <a:pt x="1645" y="1343"/>
                </a:lnTo>
                <a:lnTo>
                  <a:pt x="1625" y="1340"/>
                </a:lnTo>
                <a:lnTo>
                  <a:pt x="1605" y="1338"/>
                </a:lnTo>
                <a:lnTo>
                  <a:pt x="1586" y="1337"/>
                </a:lnTo>
                <a:lnTo>
                  <a:pt x="1557" y="1339"/>
                </a:lnTo>
                <a:lnTo>
                  <a:pt x="1534" y="1344"/>
                </a:lnTo>
                <a:lnTo>
                  <a:pt x="1515" y="1351"/>
                </a:lnTo>
                <a:lnTo>
                  <a:pt x="1502" y="1362"/>
                </a:lnTo>
                <a:lnTo>
                  <a:pt x="1494" y="1373"/>
                </a:lnTo>
                <a:lnTo>
                  <a:pt x="1491" y="1387"/>
                </a:lnTo>
                <a:lnTo>
                  <a:pt x="1494" y="1402"/>
                </a:lnTo>
                <a:lnTo>
                  <a:pt x="1501" y="1413"/>
                </a:lnTo>
                <a:lnTo>
                  <a:pt x="1511" y="1423"/>
                </a:lnTo>
                <a:lnTo>
                  <a:pt x="1523" y="1430"/>
                </a:lnTo>
                <a:lnTo>
                  <a:pt x="1536" y="1436"/>
                </a:lnTo>
                <a:lnTo>
                  <a:pt x="1549" y="1441"/>
                </a:lnTo>
                <a:lnTo>
                  <a:pt x="1560" y="1445"/>
                </a:lnTo>
                <a:lnTo>
                  <a:pt x="1602" y="1458"/>
                </a:lnTo>
                <a:lnTo>
                  <a:pt x="1634" y="1470"/>
                </a:lnTo>
                <a:lnTo>
                  <a:pt x="1661" y="1484"/>
                </a:lnTo>
                <a:lnTo>
                  <a:pt x="1684" y="1501"/>
                </a:lnTo>
                <a:lnTo>
                  <a:pt x="1703" y="1519"/>
                </a:lnTo>
                <a:lnTo>
                  <a:pt x="1719" y="1539"/>
                </a:lnTo>
                <a:lnTo>
                  <a:pt x="1731" y="1560"/>
                </a:lnTo>
                <a:lnTo>
                  <a:pt x="1740" y="1583"/>
                </a:lnTo>
                <a:lnTo>
                  <a:pt x="1745" y="1606"/>
                </a:lnTo>
                <a:lnTo>
                  <a:pt x="1746" y="1630"/>
                </a:lnTo>
                <a:lnTo>
                  <a:pt x="1744" y="1664"/>
                </a:lnTo>
                <a:lnTo>
                  <a:pt x="1737" y="1694"/>
                </a:lnTo>
                <a:lnTo>
                  <a:pt x="1727" y="1720"/>
                </a:lnTo>
                <a:lnTo>
                  <a:pt x="1712" y="1744"/>
                </a:lnTo>
                <a:lnTo>
                  <a:pt x="1696" y="1764"/>
                </a:lnTo>
                <a:lnTo>
                  <a:pt x="1676" y="1781"/>
                </a:lnTo>
                <a:lnTo>
                  <a:pt x="1654" y="1796"/>
                </a:lnTo>
                <a:lnTo>
                  <a:pt x="1630" y="1809"/>
                </a:lnTo>
                <a:lnTo>
                  <a:pt x="1604" y="1818"/>
                </a:lnTo>
                <a:lnTo>
                  <a:pt x="1578" y="1826"/>
                </a:lnTo>
                <a:lnTo>
                  <a:pt x="1551" y="1830"/>
                </a:lnTo>
                <a:lnTo>
                  <a:pt x="1524" y="1833"/>
                </a:lnTo>
                <a:lnTo>
                  <a:pt x="1498" y="1834"/>
                </a:lnTo>
                <a:lnTo>
                  <a:pt x="1467" y="1833"/>
                </a:lnTo>
                <a:lnTo>
                  <a:pt x="1439" y="1832"/>
                </a:lnTo>
                <a:lnTo>
                  <a:pt x="1412" y="1829"/>
                </a:lnTo>
                <a:lnTo>
                  <a:pt x="1388" y="1827"/>
                </a:lnTo>
                <a:lnTo>
                  <a:pt x="1368" y="1823"/>
                </a:lnTo>
                <a:lnTo>
                  <a:pt x="1351" y="1820"/>
                </a:lnTo>
                <a:lnTo>
                  <a:pt x="1339" y="1818"/>
                </a:lnTo>
                <a:lnTo>
                  <a:pt x="1334" y="1817"/>
                </a:lnTo>
                <a:lnTo>
                  <a:pt x="1334" y="1678"/>
                </a:lnTo>
                <a:lnTo>
                  <a:pt x="1343" y="1680"/>
                </a:lnTo>
                <a:lnTo>
                  <a:pt x="1356" y="1684"/>
                </a:lnTo>
                <a:lnTo>
                  <a:pt x="1375" y="1688"/>
                </a:lnTo>
                <a:lnTo>
                  <a:pt x="1397" y="1693"/>
                </a:lnTo>
                <a:lnTo>
                  <a:pt x="1422" y="1697"/>
                </a:lnTo>
                <a:lnTo>
                  <a:pt x="1448" y="1700"/>
                </a:lnTo>
                <a:lnTo>
                  <a:pt x="1477" y="1701"/>
                </a:lnTo>
                <a:lnTo>
                  <a:pt x="1507" y="1699"/>
                </a:lnTo>
                <a:lnTo>
                  <a:pt x="1531" y="1696"/>
                </a:lnTo>
                <a:lnTo>
                  <a:pt x="1552" y="1690"/>
                </a:lnTo>
                <a:lnTo>
                  <a:pt x="1568" y="1681"/>
                </a:lnTo>
                <a:lnTo>
                  <a:pt x="1578" y="1671"/>
                </a:lnTo>
                <a:lnTo>
                  <a:pt x="1585" y="1658"/>
                </a:lnTo>
                <a:lnTo>
                  <a:pt x="1587" y="1644"/>
                </a:lnTo>
                <a:lnTo>
                  <a:pt x="1585" y="1629"/>
                </a:lnTo>
                <a:lnTo>
                  <a:pt x="1578" y="1618"/>
                </a:lnTo>
                <a:lnTo>
                  <a:pt x="1567" y="1607"/>
                </a:lnTo>
                <a:lnTo>
                  <a:pt x="1553" y="1598"/>
                </a:lnTo>
                <a:lnTo>
                  <a:pt x="1537" y="1590"/>
                </a:lnTo>
                <a:lnTo>
                  <a:pt x="1520" y="1584"/>
                </a:lnTo>
                <a:lnTo>
                  <a:pt x="1509" y="1581"/>
                </a:lnTo>
                <a:lnTo>
                  <a:pt x="1498" y="1577"/>
                </a:lnTo>
                <a:lnTo>
                  <a:pt x="1487" y="1574"/>
                </a:lnTo>
                <a:lnTo>
                  <a:pt x="1462" y="1565"/>
                </a:lnTo>
                <a:lnTo>
                  <a:pt x="1439" y="1555"/>
                </a:lnTo>
                <a:lnTo>
                  <a:pt x="1416" y="1542"/>
                </a:lnTo>
                <a:lnTo>
                  <a:pt x="1396" y="1528"/>
                </a:lnTo>
                <a:lnTo>
                  <a:pt x="1378" y="1512"/>
                </a:lnTo>
                <a:lnTo>
                  <a:pt x="1363" y="1494"/>
                </a:lnTo>
                <a:lnTo>
                  <a:pt x="1350" y="1473"/>
                </a:lnTo>
                <a:lnTo>
                  <a:pt x="1341" y="1451"/>
                </a:lnTo>
                <a:lnTo>
                  <a:pt x="1334" y="1425"/>
                </a:lnTo>
                <a:lnTo>
                  <a:pt x="1332" y="1396"/>
                </a:lnTo>
                <a:lnTo>
                  <a:pt x="1334" y="1364"/>
                </a:lnTo>
                <a:lnTo>
                  <a:pt x="1342" y="1333"/>
                </a:lnTo>
                <a:lnTo>
                  <a:pt x="1354" y="1306"/>
                </a:lnTo>
                <a:lnTo>
                  <a:pt x="1371" y="1281"/>
                </a:lnTo>
                <a:lnTo>
                  <a:pt x="1392" y="1259"/>
                </a:lnTo>
                <a:lnTo>
                  <a:pt x="1417" y="1241"/>
                </a:lnTo>
                <a:lnTo>
                  <a:pt x="1446" y="1227"/>
                </a:lnTo>
                <a:lnTo>
                  <a:pt x="1479" y="1216"/>
                </a:lnTo>
                <a:lnTo>
                  <a:pt x="1515" y="1210"/>
                </a:lnTo>
                <a:lnTo>
                  <a:pt x="1556" y="1208"/>
                </a:lnTo>
                <a:close/>
                <a:moveTo>
                  <a:pt x="3381" y="493"/>
                </a:moveTo>
                <a:lnTo>
                  <a:pt x="3400" y="496"/>
                </a:lnTo>
                <a:lnTo>
                  <a:pt x="3418" y="503"/>
                </a:lnTo>
                <a:lnTo>
                  <a:pt x="3434" y="515"/>
                </a:lnTo>
                <a:lnTo>
                  <a:pt x="3446" y="531"/>
                </a:lnTo>
                <a:lnTo>
                  <a:pt x="3453" y="548"/>
                </a:lnTo>
                <a:lnTo>
                  <a:pt x="3456" y="569"/>
                </a:lnTo>
                <a:lnTo>
                  <a:pt x="3456" y="727"/>
                </a:lnTo>
                <a:lnTo>
                  <a:pt x="3453" y="748"/>
                </a:lnTo>
                <a:lnTo>
                  <a:pt x="3446" y="766"/>
                </a:lnTo>
                <a:lnTo>
                  <a:pt x="3434" y="780"/>
                </a:lnTo>
                <a:lnTo>
                  <a:pt x="3418" y="793"/>
                </a:lnTo>
                <a:lnTo>
                  <a:pt x="3400" y="801"/>
                </a:lnTo>
                <a:lnTo>
                  <a:pt x="3381" y="803"/>
                </a:lnTo>
                <a:lnTo>
                  <a:pt x="3361" y="801"/>
                </a:lnTo>
                <a:lnTo>
                  <a:pt x="3343" y="793"/>
                </a:lnTo>
                <a:lnTo>
                  <a:pt x="3328" y="780"/>
                </a:lnTo>
                <a:lnTo>
                  <a:pt x="3316" y="766"/>
                </a:lnTo>
                <a:lnTo>
                  <a:pt x="3308" y="748"/>
                </a:lnTo>
                <a:lnTo>
                  <a:pt x="3306" y="727"/>
                </a:lnTo>
                <a:lnTo>
                  <a:pt x="3306" y="569"/>
                </a:lnTo>
                <a:lnTo>
                  <a:pt x="3308" y="548"/>
                </a:lnTo>
                <a:lnTo>
                  <a:pt x="3316" y="531"/>
                </a:lnTo>
                <a:lnTo>
                  <a:pt x="3328" y="515"/>
                </a:lnTo>
                <a:lnTo>
                  <a:pt x="3343" y="503"/>
                </a:lnTo>
                <a:lnTo>
                  <a:pt x="3361" y="496"/>
                </a:lnTo>
                <a:lnTo>
                  <a:pt x="3381" y="493"/>
                </a:lnTo>
                <a:close/>
                <a:moveTo>
                  <a:pt x="1728" y="493"/>
                </a:moveTo>
                <a:lnTo>
                  <a:pt x="1748" y="496"/>
                </a:lnTo>
                <a:lnTo>
                  <a:pt x="1766" y="503"/>
                </a:lnTo>
                <a:lnTo>
                  <a:pt x="1781" y="515"/>
                </a:lnTo>
                <a:lnTo>
                  <a:pt x="1793" y="531"/>
                </a:lnTo>
                <a:lnTo>
                  <a:pt x="1800" y="548"/>
                </a:lnTo>
                <a:lnTo>
                  <a:pt x="1803" y="569"/>
                </a:lnTo>
                <a:lnTo>
                  <a:pt x="1803" y="727"/>
                </a:lnTo>
                <a:lnTo>
                  <a:pt x="1800" y="748"/>
                </a:lnTo>
                <a:lnTo>
                  <a:pt x="1793" y="766"/>
                </a:lnTo>
                <a:lnTo>
                  <a:pt x="1781" y="780"/>
                </a:lnTo>
                <a:lnTo>
                  <a:pt x="1766" y="793"/>
                </a:lnTo>
                <a:lnTo>
                  <a:pt x="1748" y="801"/>
                </a:lnTo>
                <a:lnTo>
                  <a:pt x="1728" y="803"/>
                </a:lnTo>
                <a:lnTo>
                  <a:pt x="1708" y="801"/>
                </a:lnTo>
                <a:lnTo>
                  <a:pt x="1690" y="793"/>
                </a:lnTo>
                <a:lnTo>
                  <a:pt x="1675" y="780"/>
                </a:lnTo>
                <a:lnTo>
                  <a:pt x="1663" y="766"/>
                </a:lnTo>
                <a:lnTo>
                  <a:pt x="1656" y="748"/>
                </a:lnTo>
                <a:lnTo>
                  <a:pt x="1653" y="727"/>
                </a:lnTo>
                <a:lnTo>
                  <a:pt x="1653" y="569"/>
                </a:lnTo>
                <a:lnTo>
                  <a:pt x="1656" y="548"/>
                </a:lnTo>
                <a:lnTo>
                  <a:pt x="1663" y="531"/>
                </a:lnTo>
                <a:lnTo>
                  <a:pt x="1675" y="515"/>
                </a:lnTo>
                <a:lnTo>
                  <a:pt x="1690" y="503"/>
                </a:lnTo>
                <a:lnTo>
                  <a:pt x="1708" y="496"/>
                </a:lnTo>
                <a:lnTo>
                  <a:pt x="1728" y="493"/>
                </a:lnTo>
                <a:close/>
                <a:moveTo>
                  <a:pt x="75" y="493"/>
                </a:moveTo>
                <a:lnTo>
                  <a:pt x="95" y="496"/>
                </a:lnTo>
                <a:lnTo>
                  <a:pt x="113" y="503"/>
                </a:lnTo>
                <a:lnTo>
                  <a:pt x="129" y="515"/>
                </a:lnTo>
                <a:lnTo>
                  <a:pt x="140" y="531"/>
                </a:lnTo>
                <a:lnTo>
                  <a:pt x="148" y="548"/>
                </a:lnTo>
                <a:lnTo>
                  <a:pt x="151" y="569"/>
                </a:lnTo>
                <a:lnTo>
                  <a:pt x="151" y="727"/>
                </a:lnTo>
                <a:lnTo>
                  <a:pt x="148" y="748"/>
                </a:lnTo>
                <a:lnTo>
                  <a:pt x="140" y="766"/>
                </a:lnTo>
                <a:lnTo>
                  <a:pt x="129" y="780"/>
                </a:lnTo>
                <a:lnTo>
                  <a:pt x="113" y="793"/>
                </a:lnTo>
                <a:lnTo>
                  <a:pt x="95" y="801"/>
                </a:lnTo>
                <a:lnTo>
                  <a:pt x="75" y="803"/>
                </a:lnTo>
                <a:lnTo>
                  <a:pt x="56" y="801"/>
                </a:lnTo>
                <a:lnTo>
                  <a:pt x="38" y="793"/>
                </a:lnTo>
                <a:lnTo>
                  <a:pt x="22" y="780"/>
                </a:lnTo>
                <a:lnTo>
                  <a:pt x="10" y="766"/>
                </a:lnTo>
                <a:lnTo>
                  <a:pt x="3" y="748"/>
                </a:lnTo>
                <a:lnTo>
                  <a:pt x="0" y="727"/>
                </a:lnTo>
                <a:lnTo>
                  <a:pt x="0" y="569"/>
                </a:lnTo>
                <a:lnTo>
                  <a:pt x="3" y="548"/>
                </a:lnTo>
                <a:lnTo>
                  <a:pt x="10" y="531"/>
                </a:lnTo>
                <a:lnTo>
                  <a:pt x="22" y="515"/>
                </a:lnTo>
                <a:lnTo>
                  <a:pt x="38" y="503"/>
                </a:lnTo>
                <a:lnTo>
                  <a:pt x="56" y="496"/>
                </a:lnTo>
                <a:lnTo>
                  <a:pt x="75" y="493"/>
                </a:lnTo>
                <a:close/>
                <a:moveTo>
                  <a:pt x="2968" y="285"/>
                </a:moveTo>
                <a:lnTo>
                  <a:pt x="2988" y="287"/>
                </a:lnTo>
                <a:lnTo>
                  <a:pt x="3006" y="295"/>
                </a:lnTo>
                <a:lnTo>
                  <a:pt x="3021" y="307"/>
                </a:lnTo>
                <a:lnTo>
                  <a:pt x="3033" y="322"/>
                </a:lnTo>
                <a:lnTo>
                  <a:pt x="3040" y="340"/>
                </a:lnTo>
                <a:lnTo>
                  <a:pt x="3043" y="360"/>
                </a:lnTo>
                <a:lnTo>
                  <a:pt x="3043" y="727"/>
                </a:lnTo>
                <a:lnTo>
                  <a:pt x="3040" y="748"/>
                </a:lnTo>
                <a:lnTo>
                  <a:pt x="3033" y="766"/>
                </a:lnTo>
                <a:lnTo>
                  <a:pt x="3021" y="780"/>
                </a:lnTo>
                <a:lnTo>
                  <a:pt x="3006" y="793"/>
                </a:lnTo>
                <a:lnTo>
                  <a:pt x="2988" y="801"/>
                </a:lnTo>
                <a:lnTo>
                  <a:pt x="2968" y="803"/>
                </a:lnTo>
                <a:lnTo>
                  <a:pt x="2947" y="801"/>
                </a:lnTo>
                <a:lnTo>
                  <a:pt x="2929" y="793"/>
                </a:lnTo>
                <a:lnTo>
                  <a:pt x="2915" y="780"/>
                </a:lnTo>
                <a:lnTo>
                  <a:pt x="2903" y="766"/>
                </a:lnTo>
                <a:lnTo>
                  <a:pt x="2895" y="748"/>
                </a:lnTo>
                <a:lnTo>
                  <a:pt x="2893" y="727"/>
                </a:lnTo>
                <a:lnTo>
                  <a:pt x="2893" y="360"/>
                </a:lnTo>
                <a:lnTo>
                  <a:pt x="2895" y="340"/>
                </a:lnTo>
                <a:lnTo>
                  <a:pt x="2903" y="322"/>
                </a:lnTo>
                <a:lnTo>
                  <a:pt x="2915" y="307"/>
                </a:lnTo>
                <a:lnTo>
                  <a:pt x="2929" y="295"/>
                </a:lnTo>
                <a:lnTo>
                  <a:pt x="2947" y="287"/>
                </a:lnTo>
                <a:lnTo>
                  <a:pt x="2968" y="285"/>
                </a:lnTo>
                <a:close/>
                <a:moveTo>
                  <a:pt x="2142" y="285"/>
                </a:moveTo>
                <a:lnTo>
                  <a:pt x="2162" y="287"/>
                </a:lnTo>
                <a:lnTo>
                  <a:pt x="2179" y="295"/>
                </a:lnTo>
                <a:lnTo>
                  <a:pt x="2194" y="307"/>
                </a:lnTo>
                <a:lnTo>
                  <a:pt x="2207" y="322"/>
                </a:lnTo>
                <a:lnTo>
                  <a:pt x="2214" y="340"/>
                </a:lnTo>
                <a:lnTo>
                  <a:pt x="2216" y="360"/>
                </a:lnTo>
                <a:lnTo>
                  <a:pt x="2216" y="727"/>
                </a:lnTo>
                <a:lnTo>
                  <a:pt x="2214" y="748"/>
                </a:lnTo>
                <a:lnTo>
                  <a:pt x="2207" y="766"/>
                </a:lnTo>
                <a:lnTo>
                  <a:pt x="2194" y="780"/>
                </a:lnTo>
                <a:lnTo>
                  <a:pt x="2179" y="793"/>
                </a:lnTo>
                <a:lnTo>
                  <a:pt x="2162" y="801"/>
                </a:lnTo>
                <a:lnTo>
                  <a:pt x="2142" y="803"/>
                </a:lnTo>
                <a:lnTo>
                  <a:pt x="2122" y="801"/>
                </a:lnTo>
                <a:lnTo>
                  <a:pt x="2104" y="793"/>
                </a:lnTo>
                <a:lnTo>
                  <a:pt x="2088" y="780"/>
                </a:lnTo>
                <a:lnTo>
                  <a:pt x="2077" y="766"/>
                </a:lnTo>
                <a:lnTo>
                  <a:pt x="2069" y="748"/>
                </a:lnTo>
                <a:lnTo>
                  <a:pt x="2066" y="727"/>
                </a:lnTo>
                <a:lnTo>
                  <a:pt x="2066" y="360"/>
                </a:lnTo>
                <a:lnTo>
                  <a:pt x="2069" y="340"/>
                </a:lnTo>
                <a:lnTo>
                  <a:pt x="2077" y="322"/>
                </a:lnTo>
                <a:lnTo>
                  <a:pt x="2088" y="307"/>
                </a:lnTo>
                <a:lnTo>
                  <a:pt x="2104" y="295"/>
                </a:lnTo>
                <a:lnTo>
                  <a:pt x="2122" y="287"/>
                </a:lnTo>
                <a:lnTo>
                  <a:pt x="2142" y="285"/>
                </a:lnTo>
                <a:close/>
                <a:moveTo>
                  <a:pt x="1315" y="285"/>
                </a:moveTo>
                <a:lnTo>
                  <a:pt x="1335" y="287"/>
                </a:lnTo>
                <a:lnTo>
                  <a:pt x="1353" y="295"/>
                </a:lnTo>
                <a:lnTo>
                  <a:pt x="1368" y="307"/>
                </a:lnTo>
                <a:lnTo>
                  <a:pt x="1380" y="322"/>
                </a:lnTo>
                <a:lnTo>
                  <a:pt x="1388" y="340"/>
                </a:lnTo>
                <a:lnTo>
                  <a:pt x="1390" y="360"/>
                </a:lnTo>
                <a:lnTo>
                  <a:pt x="1390" y="727"/>
                </a:lnTo>
                <a:lnTo>
                  <a:pt x="1388" y="748"/>
                </a:lnTo>
                <a:lnTo>
                  <a:pt x="1380" y="766"/>
                </a:lnTo>
                <a:lnTo>
                  <a:pt x="1368" y="780"/>
                </a:lnTo>
                <a:lnTo>
                  <a:pt x="1353" y="793"/>
                </a:lnTo>
                <a:lnTo>
                  <a:pt x="1335" y="801"/>
                </a:lnTo>
                <a:lnTo>
                  <a:pt x="1315" y="803"/>
                </a:lnTo>
                <a:lnTo>
                  <a:pt x="1295" y="801"/>
                </a:lnTo>
                <a:lnTo>
                  <a:pt x="1277" y="793"/>
                </a:lnTo>
                <a:lnTo>
                  <a:pt x="1262" y="780"/>
                </a:lnTo>
                <a:lnTo>
                  <a:pt x="1250" y="766"/>
                </a:lnTo>
                <a:lnTo>
                  <a:pt x="1242" y="748"/>
                </a:lnTo>
                <a:lnTo>
                  <a:pt x="1240" y="727"/>
                </a:lnTo>
                <a:lnTo>
                  <a:pt x="1240" y="360"/>
                </a:lnTo>
                <a:lnTo>
                  <a:pt x="1242" y="340"/>
                </a:lnTo>
                <a:lnTo>
                  <a:pt x="1250" y="322"/>
                </a:lnTo>
                <a:lnTo>
                  <a:pt x="1262" y="307"/>
                </a:lnTo>
                <a:lnTo>
                  <a:pt x="1277" y="295"/>
                </a:lnTo>
                <a:lnTo>
                  <a:pt x="1295" y="287"/>
                </a:lnTo>
                <a:lnTo>
                  <a:pt x="1315" y="285"/>
                </a:lnTo>
                <a:close/>
                <a:moveTo>
                  <a:pt x="488" y="285"/>
                </a:moveTo>
                <a:lnTo>
                  <a:pt x="508" y="287"/>
                </a:lnTo>
                <a:lnTo>
                  <a:pt x="527" y="295"/>
                </a:lnTo>
                <a:lnTo>
                  <a:pt x="541" y="307"/>
                </a:lnTo>
                <a:lnTo>
                  <a:pt x="553" y="322"/>
                </a:lnTo>
                <a:lnTo>
                  <a:pt x="561" y="340"/>
                </a:lnTo>
                <a:lnTo>
                  <a:pt x="563" y="360"/>
                </a:lnTo>
                <a:lnTo>
                  <a:pt x="563" y="727"/>
                </a:lnTo>
                <a:lnTo>
                  <a:pt x="561" y="748"/>
                </a:lnTo>
                <a:lnTo>
                  <a:pt x="553" y="766"/>
                </a:lnTo>
                <a:lnTo>
                  <a:pt x="541" y="780"/>
                </a:lnTo>
                <a:lnTo>
                  <a:pt x="527" y="793"/>
                </a:lnTo>
                <a:lnTo>
                  <a:pt x="508" y="801"/>
                </a:lnTo>
                <a:lnTo>
                  <a:pt x="488" y="803"/>
                </a:lnTo>
                <a:lnTo>
                  <a:pt x="468" y="801"/>
                </a:lnTo>
                <a:lnTo>
                  <a:pt x="450" y="793"/>
                </a:lnTo>
                <a:lnTo>
                  <a:pt x="436" y="780"/>
                </a:lnTo>
                <a:lnTo>
                  <a:pt x="423" y="766"/>
                </a:lnTo>
                <a:lnTo>
                  <a:pt x="416" y="748"/>
                </a:lnTo>
                <a:lnTo>
                  <a:pt x="414" y="727"/>
                </a:lnTo>
                <a:lnTo>
                  <a:pt x="414" y="360"/>
                </a:lnTo>
                <a:lnTo>
                  <a:pt x="416" y="340"/>
                </a:lnTo>
                <a:lnTo>
                  <a:pt x="423" y="322"/>
                </a:lnTo>
                <a:lnTo>
                  <a:pt x="436" y="307"/>
                </a:lnTo>
                <a:lnTo>
                  <a:pt x="450" y="295"/>
                </a:lnTo>
                <a:lnTo>
                  <a:pt x="468" y="287"/>
                </a:lnTo>
                <a:lnTo>
                  <a:pt x="488" y="285"/>
                </a:lnTo>
                <a:close/>
                <a:moveTo>
                  <a:pt x="2555" y="0"/>
                </a:moveTo>
                <a:lnTo>
                  <a:pt x="2575" y="2"/>
                </a:lnTo>
                <a:lnTo>
                  <a:pt x="2593" y="10"/>
                </a:lnTo>
                <a:lnTo>
                  <a:pt x="2608" y="22"/>
                </a:lnTo>
                <a:lnTo>
                  <a:pt x="2619" y="37"/>
                </a:lnTo>
                <a:lnTo>
                  <a:pt x="2628" y="55"/>
                </a:lnTo>
                <a:lnTo>
                  <a:pt x="2630" y="75"/>
                </a:lnTo>
                <a:lnTo>
                  <a:pt x="2630" y="879"/>
                </a:lnTo>
                <a:lnTo>
                  <a:pt x="2628" y="899"/>
                </a:lnTo>
                <a:lnTo>
                  <a:pt x="2619" y="917"/>
                </a:lnTo>
                <a:lnTo>
                  <a:pt x="2608" y="931"/>
                </a:lnTo>
                <a:lnTo>
                  <a:pt x="2593" y="944"/>
                </a:lnTo>
                <a:lnTo>
                  <a:pt x="2575" y="951"/>
                </a:lnTo>
                <a:lnTo>
                  <a:pt x="2555" y="953"/>
                </a:lnTo>
                <a:lnTo>
                  <a:pt x="2535" y="951"/>
                </a:lnTo>
                <a:lnTo>
                  <a:pt x="2517" y="944"/>
                </a:lnTo>
                <a:lnTo>
                  <a:pt x="2502" y="931"/>
                </a:lnTo>
                <a:lnTo>
                  <a:pt x="2490" y="917"/>
                </a:lnTo>
                <a:lnTo>
                  <a:pt x="2483" y="899"/>
                </a:lnTo>
                <a:lnTo>
                  <a:pt x="2480" y="879"/>
                </a:lnTo>
                <a:lnTo>
                  <a:pt x="2480" y="75"/>
                </a:lnTo>
                <a:lnTo>
                  <a:pt x="2483" y="55"/>
                </a:lnTo>
                <a:lnTo>
                  <a:pt x="2490" y="37"/>
                </a:lnTo>
                <a:lnTo>
                  <a:pt x="2502" y="22"/>
                </a:lnTo>
                <a:lnTo>
                  <a:pt x="2517" y="10"/>
                </a:lnTo>
                <a:lnTo>
                  <a:pt x="2535" y="2"/>
                </a:lnTo>
                <a:lnTo>
                  <a:pt x="2555" y="0"/>
                </a:lnTo>
                <a:close/>
                <a:moveTo>
                  <a:pt x="902" y="0"/>
                </a:moveTo>
                <a:lnTo>
                  <a:pt x="922" y="2"/>
                </a:lnTo>
                <a:lnTo>
                  <a:pt x="939" y="10"/>
                </a:lnTo>
                <a:lnTo>
                  <a:pt x="955" y="22"/>
                </a:lnTo>
                <a:lnTo>
                  <a:pt x="967" y="37"/>
                </a:lnTo>
                <a:lnTo>
                  <a:pt x="974" y="55"/>
                </a:lnTo>
                <a:lnTo>
                  <a:pt x="977" y="75"/>
                </a:lnTo>
                <a:lnTo>
                  <a:pt x="977" y="879"/>
                </a:lnTo>
                <a:lnTo>
                  <a:pt x="974" y="899"/>
                </a:lnTo>
                <a:lnTo>
                  <a:pt x="967" y="917"/>
                </a:lnTo>
                <a:lnTo>
                  <a:pt x="955" y="931"/>
                </a:lnTo>
                <a:lnTo>
                  <a:pt x="939" y="944"/>
                </a:lnTo>
                <a:lnTo>
                  <a:pt x="922" y="951"/>
                </a:lnTo>
                <a:lnTo>
                  <a:pt x="902" y="953"/>
                </a:lnTo>
                <a:lnTo>
                  <a:pt x="882" y="951"/>
                </a:lnTo>
                <a:lnTo>
                  <a:pt x="864" y="944"/>
                </a:lnTo>
                <a:lnTo>
                  <a:pt x="848" y="931"/>
                </a:lnTo>
                <a:lnTo>
                  <a:pt x="837" y="917"/>
                </a:lnTo>
                <a:lnTo>
                  <a:pt x="829" y="899"/>
                </a:lnTo>
                <a:lnTo>
                  <a:pt x="826" y="879"/>
                </a:lnTo>
                <a:lnTo>
                  <a:pt x="826" y="75"/>
                </a:lnTo>
                <a:lnTo>
                  <a:pt x="829" y="55"/>
                </a:lnTo>
                <a:lnTo>
                  <a:pt x="837" y="37"/>
                </a:lnTo>
                <a:lnTo>
                  <a:pt x="848" y="22"/>
                </a:lnTo>
                <a:lnTo>
                  <a:pt x="864" y="10"/>
                </a:lnTo>
                <a:lnTo>
                  <a:pt x="882" y="2"/>
                </a:lnTo>
                <a:lnTo>
                  <a:pt x="902" y="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spcFirstLastPara="1" wrap="square" lIns="121900" tIns="60933" rIns="121900" bIns="60933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70255862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Text Placeholder 34">
            <a:extLst>
              <a:ext uri="{FF2B5EF4-FFF2-40B4-BE49-F238E27FC236}">
                <a16:creationId xmlns:a16="http://schemas.microsoft.com/office/drawing/2014/main" id="{104628BA-4C61-8440-A07A-B41A776F3B7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19667" y="3429000"/>
            <a:ext cx="3784600" cy="1985864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 sz="1600" b="0" i="0">
                <a:solidFill>
                  <a:schemeClr val="tx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defRPr>
            </a:lvl1pPr>
          </a:lstStyle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lang="en-US" sz="1600">
                <a:solidFill>
                  <a:schemeClr val="tx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rPr>
              <a:t>Duis </a:t>
            </a:r>
            <a:r>
              <a:rPr lang="en-US" sz="1600" err="1">
                <a:solidFill>
                  <a:schemeClr val="tx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rPr>
              <a:t>viverra</a:t>
            </a:r>
            <a:r>
              <a:rPr lang="en-US" sz="1600">
                <a:solidFill>
                  <a:schemeClr val="tx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rPr>
              <a:t> ipsum </a:t>
            </a:r>
            <a:r>
              <a:rPr lang="en-US" sz="1600" err="1">
                <a:solidFill>
                  <a:schemeClr val="tx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rPr>
              <a:t>odio</a:t>
            </a:r>
            <a:r>
              <a:rPr lang="en-US" sz="1600">
                <a:solidFill>
                  <a:schemeClr val="tx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rPr>
              <a:t>, </a:t>
            </a:r>
            <a:r>
              <a:rPr lang="en-US" sz="1600" err="1">
                <a:solidFill>
                  <a:schemeClr val="tx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rPr>
              <a:t>efficitur</a:t>
            </a:r>
            <a:r>
              <a:rPr lang="en-US" sz="1600">
                <a:solidFill>
                  <a:schemeClr val="tx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rPr>
              <a:t> </a:t>
            </a:r>
            <a:r>
              <a:rPr lang="en-US" sz="1600" err="1">
                <a:solidFill>
                  <a:schemeClr val="tx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rPr>
              <a:t>suscipit</a:t>
            </a:r>
            <a:r>
              <a:rPr lang="en-US" sz="1600">
                <a:solidFill>
                  <a:schemeClr val="tx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rPr>
              <a:t> </a:t>
            </a:r>
            <a:r>
              <a:rPr lang="en-US" sz="1600" err="1">
                <a:solidFill>
                  <a:schemeClr val="tx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rPr>
              <a:t>quam</a:t>
            </a:r>
            <a:r>
              <a:rPr lang="en-US" sz="1600">
                <a:solidFill>
                  <a:schemeClr val="tx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rPr>
              <a:t> </a:t>
            </a:r>
            <a:r>
              <a:rPr lang="en-US" sz="1600" err="1">
                <a:solidFill>
                  <a:schemeClr val="tx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rPr>
              <a:t>molestie</a:t>
            </a:r>
            <a:r>
              <a:rPr lang="en-US" sz="1600">
                <a:solidFill>
                  <a:schemeClr val="tx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rPr>
              <a:t> non. </a:t>
            </a:r>
            <a:r>
              <a:rPr lang="en-US" sz="1600" err="1">
                <a:solidFill>
                  <a:schemeClr val="tx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rPr>
              <a:t>Quisque</a:t>
            </a:r>
            <a:r>
              <a:rPr lang="en-US" sz="1600">
                <a:solidFill>
                  <a:schemeClr val="tx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rPr>
              <a:t> </a:t>
            </a:r>
            <a:r>
              <a:rPr lang="en-US" sz="1600" err="1">
                <a:solidFill>
                  <a:schemeClr val="tx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rPr>
              <a:t>lobortis</a:t>
            </a:r>
            <a:r>
              <a:rPr lang="en-US" sz="1600">
                <a:solidFill>
                  <a:schemeClr val="tx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rPr>
              <a:t> ante </a:t>
            </a:r>
            <a:r>
              <a:rPr lang="en-US" sz="1600" err="1">
                <a:solidFill>
                  <a:schemeClr val="tx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rPr>
              <a:t>nec</a:t>
            </a:r>
            <a:r>
              <a:rPr lang="en-US" sz="1600">
                <a:solidFill>
                  <a:schemeClr val="tx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rPr>
              <a:t> </a:t>
            </a:r>
            <a:r>
              <a:rPr lang="en-US" sz="1600" err="1">
                <a:solidFill>
                  <a:schemeClr val="tx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rPr>
              <a:t>urna</a:t>
            </a:r>
            <a:r>
              <a:rPr lang="en-US" sz="1600">
                <a:solidFill>
                  <a:schemeClr val="tx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rPr>
              <a:t> </a:t>
            </a:r>
            <a:r>
              <a:rPr lang="en-US" sz="1600" err="1">
                <a:solidFill>
                  <a:schemeClr val="tx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rPr>
              <a:t>egestas</a:t>
            </a:r>
            <a:r>
              <a:rPr lang="en-US" sz="1600">
                <a:solidFill>
                  <a:schemeClr val="tx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rPr>
              <a:t> </a:t>
            </a:r>
            <a:r>
              <a:rPr lang="en-US" sz="1600" err="1">
                <a:solidFill>
                  <a:schemeClr val="tx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rPr>
              <a:t>viverra</a:t>
            </a:r>
            <a:r>
              <a:rPr lang="en-US" sz="1600">
                <a:solidFill>
                  <a:schemeClr val="tx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rPr>
              <a:t>. </a:t>
            </a:r>
            <a:br>
              <a:rPr lang="en-US" sz="1600">
                <a:solidFill>
                  <a:schemeClr val="tx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rPr>
            </a:br>
            <a:br>
              <a:rPr lang="en-US" sz="1600">
                <a:solidFill>
                  <a:schemeClr val="tx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rPr>
            </a:br>
            <a:r>
              <a:rPr lang="en-US" sz="1600">
                <a:solidFill>
                  <a:schemeClr val="tx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rPr>
              <a:t>Sed vel ipsum </a:t>
            </a:r>
            <a:r>
              <a:rPr lang="en-US" sz="1600" err="1">
                <a:solidFill>
                  <a:schemeClr val="tx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rPr>
              <a:t>metus</a:t>
            </a:r>
            <a:r>
              <a:rPr lang="en-US" sz="1600">
                <a:solidFill>
                  <a:schemeClr val="tx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rPr>
              <a:t> sed </a:t>
            </a:r>
            <a:r>
              <a:rPr lang="en-US" sz="1600" err="1">
                <a:solidFill>
                  <a:schemeClr val="tx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rPr>
              <a:t>consectetur</a:t>
            </a:r>
            <a:r>
              <a:rPr lang="en-US" sz="1600">
                <a:solidFill>
                  <a:schemeClr val="tx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rPr>
              <a:t>.</a:t>
            </a:r>
            <a:endParaRPr lang="en-US" sz="1600">
              <a:solidFill>
                <a:schemeClr val="tx1"/>
              </a:solidFill>
              <a:latin typeface="CiscoSansTT ExtraLight" panose="020B0303020201020303" pitchFamily="34" charset="0"/>
              <a:cs typeface="CiscoSansTT ExtraLight" panose="020B0303020201020303" pitchFamily="34" charset="0"/>
              <a:sym typeface="Helvetica Neue Light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lang="en-US" sz="1600" u="none" strike="noStrike" cap="none">
              <a:solidFill>
                <a:schemeClr val="tx1"/>
              </a:solidFill>
              <a:latin typeface="CiscoSansTT ExtraLight" panose="020B0303020201020303" pitchFamily="34" charset="0"/>
              <a:ea typeface="Helvetica Neue Light"/>
              <a:cs typeface="CiscoSansTT ExtraLight" panose="020B0303020201020303" pitchFamily="34" charset="0"/>
              <a:sym typeface="Helvetica Neue Light"/>
            </a:endParaRPr>
          </a:p>
        </p:txBody>
      </p:sp>
      <p:sp>
        <p:nvSpPr>
          <p:cNvPr id="3" name="Table Placeholder 2">
            <a:extLst>
              <a:ext uri="{FF2B5EF4-FFF2-40B4-BE49-F238E27FC236}">
                <a16:creationId xmlns:a16="http://schemas.microsoft.com/office/drawing/2014/main" id="{291315C8-5372-429E-98A3-1CFB19671AA6}"/>
              </a:ext>
            </a:extLst>
          </p:cNvPr>
          <p:cNvSpPr>
            <a:spLocks noGrp="1"/>
          </p:cNvSpPr>
          <p:nvPr>
            <p:ph type="tbl" sz="quarter" idx="15"/>
          </p:nvPr>
        </p:nvSpPr>
        <p:spPr>
          <a:xfrm>
            <a:off x="4729167" y="1602317"/>
            <a:ext cx="6743167" cy="1152727"/>
          </a:xfrm>
          <a:prstGeom prst="rect">
            <a:avLst/>
          </a:prstGeom>
          <a:solidFill>
            <a:srgbClr val="EDF1F6"/>
          </a:solidFill>
        </p:spPr>
        <p:txBody>
          <a:bodyPr lIns="72000" tIns="72000" rIns="72000" bIns="72000" anchor="ctr" anchorCtr="0">
            <a:noAutofit/>
          </a:bodyPr>
          <a:lstStyle>
            <a:lvl1pPr>
              <a:spcAft>
                <a:spcPts val="800"/>
              </a:spcAft>
              <a:defRPr sz="1600">
                <a:latin typeface="+mn-lt"/>
              </a:defRPr>
            </a:lvl1pPr>
          </a:lstStyle>
          <a:p>
            <a:endParaRPr lang="en-US"/>
          </a:p>
        </p:txBody>
      </p:sp>
      <p:sp>
        <p:nvSpPr>
          <p:cNvPr id="33" name="Table Placeholder 32">
            <a:extLst>
              <a:ext uri="{FF2B5EF4-FFF2-40B4-BE49-F238E27FC236}">
                <a16:creationId xmlns:a16="http://schemas.microsoft.com/office/drawing/2014/main" id="{76374512-DC03-4B83-BB85-85A3FBF236B1}"/>
              </a:ext>
            </a:extLst>
          </p:cNvPr>
          <p:cNvSpPr>
            <a:spLocks noGrp="1"/>
          </p:cNvSpPr>
          <p:nvPr>
            <p:ph type="tbl" sz="quarter" idx="16"/>
          </p:nvPr>
        </p:nvSpPr>
        <p:spPr>
          <a:xfrm>
            <a:off x="4729166" y="2949998"/>
            <a:ext cx="6743167" cy="1152727"/>
          </a:xfrm>
          <a:prstGeom prst="rect">
            <a:avLst/>
          </a:prstGeom>
          <a:solidFill>
            <a:srgbClr val="EDF1F6"/>
          </a:solidFill>
        </p:spPr>
        <p:txBody>
          <a:bodyPr lIns="72000" tIns="72000" rIns="72000" bIns="72000" anchor="ctr" anchorCtr="0">
            <a:noAutofit/>
          </a:bodyPr>
          <a:lstStyle>
            <a:lvl1pPr>
              <a:spcAft>
                <a:spcPts val="800"/>
              </a:spcAft>
              <a:defRPr lang="en-US" sz="1600">
                <a:latin typeface="+mn-lt"/>
              </a:defRPr>
            </a:lvl1pPr>
          </a:lstStyle>
          <a:p>
            <a:pPr lvl="0"/>
            <a:endParaRPr lang="en-US"/>
          </a:p>
        </p:txBody>
      </p:sp>
      <p:sp>
        <p:nvSpPr>
          <p:cNvPr id="36" name="Table Placeholder 35">
            <a:extLst>
              <a:ext uri="{FF2B5EF4-FFF2-40B4-BE49-F238E27FC236}">
                <a16:creationId xmlns:a16="http://schemas.microsoft.com/office/drawing/2014/main" id="{80CAC521-2683-4449-93C6-87F52104BE7A}"/>
              </a:ext>
            </a:extLst>
          </p:cNvPr>
          <p:cNvSpPr>
            <a:spLocks noGrp="1"/>
          </p:cNvSpPr>
          <p:nvPr>
            <p:ph type="tbl" sz="quarter" idx="17"/>
          </p:nvPr>
        </p:nvSpPr>
        <p:spPr>
          <a:xfrm>
            <a:off x="4729166" y="4297681"/>
            <a:ext cx="6743165" cy="1152727"/>
          </a:xfrm>
          <a:prstGeom prst="rect">
            <a:avLst/>
          </a:prstGeom>
          <a:solidFill>
            <a:srgbClr val="EDF1F6"/>
          </a:solidFill>
        </p:spPr>
        <p:txBody>
          <a:bodyPr lIns="72000" tIns="72000" rIns="72000" bIns="72000" anchor="ctr" anchorCtr="0">
            <a:noAutofit/>
          </a:bodyPr>
          <a:lstStyle>
            <a:lvl1pPr>
              <a:spcAft>
                <a:spcPts val="800"/>
              </a:spcAft>
              <a:defRPr lang="en-US" sz="1600">
                <a:latin typeface="+mn-lt"/>
              </a:defRPr>
            </a:lvl1pPr>
          </a:lstStyle>
          <a:p>
            <a:pPr lvl="0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BD9AED8-6A3B-4418-8A35-72D2020889F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1200" y="2070100"/>
            <a:ext cx="3793067" cy="1358899"/>
          </a:xfrm>
        </p:spPr>
        <p:txBody>
          <a:bodyPr>
            <a:noAutofit/>
          </a:bodyPr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936503200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C7ACAD07-0E9D-41D1-BC32-C16D2E362C07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14300" y="408213"/>
            <a:ext cx="1193801" cy="1194105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>
            <a:noAutofit/>
          </a:bodyPr>
          <a:lstStyle>
            <a:lvl1pPr>
              <a:defRPr>
                <a:noFill/>
              </a:defRPr>
            </a:lvl1pPr>
          </a:lstStyle>
          <a:p>
            <a:endParaRPr lang="en-US"/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54B24C29-5325-4B17-B777-A01160F2BFEF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996000"/>
            <a:ext cx="5846533" cy="4672800"/>
          </a:xfrm>
          <a:custGeom>
            <a:avLst/>
            <a:gdLst>
              <a:gd name="connsiteX0" fmla="*/ 127600 w 4384900"/>
              <a:gd name="connsiteY0" fmla="*/ 0 h 3504600"/>
              <a:gd name="connsiteX1" fmla="*/ 2632600 w 4384900"/>
              <a:gd name="connsiteY1" fmla="*/ 0 h 3504600"/>
              <a:gd name="connsiteX2" fmla="*/ 4384900 w 4384900"/>
              <a:gd name="connsiteY2" fmla="*/ 1752300 h 3504600"/>
              <a:gd name="connsiteX3" fmla="*/ 2632600 w 4384900"/>
              <a:gd name="connsiteY3" fmla="*/ 3504600 h 3504600"/>
              <a:gd name="connsiteX4" fmla="*/ 127600 w 4384900"/>
              <a:gd name="connsiteY4" fmla="*/ 3504600 h 3504600"/>
              <a:gd name="connsiteX5" fmla="*/ 0 w 4384900"/>
              <a:gd name="connsiteY5" fmla="*/ 3498157 h 3504600"/>
              <a:gd name="connsiteX6" fmla="*/ 0 w 4384900"/>
              <a:gd name="connsiteY6" fmla="*/ 6443 h 3504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384900" h="3504600">
                <a:moveTo>
                  <a:pt x="127600" y="0"/>
                </a:moveTo>
                <a:lnTo>
                  <a:pt x="2632600" y="0"/>
                </a:lnTo>
                <a:cubicBezTo>
                  <a:pt x="3600369" y="0"/>
                  <a:pt x="4384900" y="784531"/>
                  <a:pt x="4384900" y="1752300"/>
                </a:cubicBezTo>
                <a:cubicBezTo>
                  <a:pt x="4384900" y="2720069"/>
                  <a:pt x="3600369" y="3504600"/>
                  <a:pt x="2632600" y="3504600"/>
                </a:cubicBezTo>
                <a:lnTo>
                  <a:pt x="127600" y="3504600"/>
                </a:lnTo>
                <a:lnTo>
                  <a:pt x="0" y="3498157"/>
                </a:lnTo>
                <a:lnTo>
                  <a:pt x="0" y="6443"/>
                </a:lnTo>
                <a:close/>
              </a:path>
            </a:pathLst>
          </a:custGeom>
          <a:solidFill>
            <a:srgbClr val="EDF1F6"/>
          </a:solidFill>
        </p:spPr>
        <p:txBody>
          <a:bodyPr wrap="square">
            <a:noAutofit/>
          </a:bodyPr>
          <a:lstStyle/>
          <a:p>
            <a:endParaRPr lang="en-US"/>
          </a:p>
        </p:txBody>
      </p:sp>
      <p:sp>
        <p:nvSpPr>
          <p:cNvPr id="8" name="Text Placeholder 34">
            <a:extLst>
              <a:ext uri="{FF2B5EF4-FFF2-40B4-BE49-F238E27FC236}">
                <a16:creationId xmlns:a16="http://schemas.microsoft.com/office/drawing/2014/main" id="{51001CE0-F65B-2E4E-AE64-C00B92C9DFD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991351" y="2531594"/>
            <a:ext cx="3587749" cy="2679639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 sz="1600" b="0" i="0">
                <a:solidFill>
                  <a:schemeClr val="tx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defRPr>
            </a:lvl1pPr>
          </a:lstStyle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lang="en-US" sz="1600">
                <a:solidFill>
                  <a:schemeClr val="tx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rPr>
              <a:t>Duis </a:t>
            </a:r>
            <a:r>
              <a:rPr lang="en-US" sz="1600" err="1">
                <a:solidFill>
                  <a:schemeClr val="tx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rPr>
              <a:t>viverra</a:t>
            </a:r>
            <a:r>
              <a:rPr lang="en-US" sz="1600">
                <a:solidFill>
                  <a:schemeClr val="tx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rPr>
              <a:t> ipsum </a:t>
            </a:r>
            <a:r>
              <a:rPr lang="en-US" sz="1600" err="1">
                <a:solidFill>
                  <a:schemeClr val="tx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rPr>
              <a:t>odio</a:t>
            </a:r>
            <a:r>
              <a:rPr lang="en-US" sz="1600">
                <a:solidFill>
                  <a:schemeClr val="tx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rPr>
              <a:t>, </a:t>
            </a:r>
            <a:r>
              <a:rPr lang="en-US" sz="1600" err="1">
                <a:solidFill>
                  <a:schemeClr val="tx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rPr>
              <a:t>efficitur</a:t>
            </a:r>
            <a:r>
              <a:rPr lang="en-US" sz="1600">
                <a:solidFill>
                  <a:schemeClr val="tx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rPr>
              <a:t> </a:t>
            </a:r>
            <a:r>
              <a:rPr lang="en-US" sz="1600" err="1">
                <a:solidFill>
                  <a:schemeClr val="tx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rPr>
              <a:t>suscipit</a:t>
            </a:r>
            <a:r>
              <a:rPr lang="en-US" sz="1600">
                <a:solidFill>
                  <a:schemeClr val="tx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rPr>
              <a:t> </a:t>
            </a:r>
            <a:r>
              <a:rPr lang="en-US" sz="1600" err="1">
                <a:solidFill>
                  <a:schemeClr val="tx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rPr>
              <a:t>quam</a:t>
            </a:r>
            <a:r>
              <a:rPr lang="en-US" sz="1600">
                <a:solidFill>
                  <a:schemeClr val="tx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rPr>
              <a:t> </a:t>
            </a:r>
            <a:r>
              <a:rPr lang="en-US" sz="1600" err="1">
                <a:solidFill>
                  <a:schemeClr val="tx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rPr>
              <a:t>molestie</a:t>
            </a:r>
            <a:r>
              <a:rPr lang="en-US" sz="1600">
                <a:solidFill>
                  <a:schemeClr val="tx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rPr>
              <a:t> non. </a:t>
            </a:r>
            <a:r>
              <a:rPr lang="en-US" sz="1600" err="1">
                <a:solidFill>
                  <a:schemeClr val="tx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rPr>
              <a:t>Quisque</a:t>
            </a:r>
            <a:r>
              <a:rPr lang="en-US" sz="1600">
                <a:solidFill>
                  <a:schemeClr val="tx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rPr>
              <a:t> </a:t>
            </a:r>
            <a:r>
              <a:rPr lang="en-US" sz="1600" err="1">
                <a:solidFill>
                  <a:schemeClr val="tx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rPr>
              <a:t>lobortis</a:t>
            </a:r>
            <a:r>
              <a:rPr lang="en-US" sz="1600">
                <a:solidFill>
                  <a:schemeClr val="tx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rPr>
              <a:t> ante </a:t>
            </a:r>
            <a:r>
              <a:rPr lang="en-US" sz="1600" err="1">
                <a:solidFill>
                  <a:schemeClr val="tx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rPr>
              <a:t>nec</a:t>
            </a:r>
            <a:r>
              <a:rPr lang="en-US" sz="1600">
                <a:solidFill>
                  <a:schemeClr val="tx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rPr>
              <a:t> </a:t>
            </a:r>
            <a:r>
              <a:rPr lang="en-US" sz="1600" err="1">
                <a:solidFill>
                  <a:schemeClr val="tx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rPr>
              <a:t>urna</a:t>
            </a:r>
            <a:r>
              <a:rPr lang="en-US" sz="1600">
                <a:solidFill>
                  <a:schemeClr val="tx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rPr>
              <a:t> </a:t>
            </a:r>
            <a:r>
              <a:rPr lang="en-US" sz="1600" err="1">
                <a:solidFill>
                  <a:schemeClr val="tx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rPr>
              <a:t>egestas</a:t>
            </a:r>
            <a:r>
              <a:rPr lang="en-US" sz="1600">
                <a:solidFill>
                  <a:schemeClr val="tx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rPr>
              <a:t> </a:t>
            </a:r>
            <a:r>
              <a:rPr lang="en-US" sz="1600" err="1">
                <a:solidFill>
                  <a:schemeClr val="tx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rPr>
              <a:t>viverra</a:t>
            </a:r>
            <a:r>
              <a:rPr lang="en-US" sz="1600">
                <a:solidFill>
                  <a:schemeClr val="tx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rPr>
              <a:t>. </a:t>
            </a:r>
            <a:br>
              <a:rPr lang="en-US" sz="1600">
                <a:solidFill>
                  <a:schemeClr val="tx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rPr>
            </a:br>
            <a:br>
              <a:rPr lang="en-US" sz="1600">
                <a:solidFill>
                  <a:schemeClr val="tx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rPr>
            </a:br>
            <a:r>
              <a:rPr lang="en-US" sz="1600">
                <a:solidFill>
                  <a:schemeClr val="tx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rPr>
              <a:t>Sed vel ipsum </a:t>
            </a:r>
            <a:r>
              <a:rPr lang="en-US" sz="1600" err="1">
                <a:solidFill>
                  <a:schemeClr val="tx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rPr>
              <a:t>metus</a:t>
            </a:r>
            <a:r>
              <a:rPr lang="en-US" sz="1600">
                <a:solidFill>
                  <a:schemeClr val="tx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rPr>
              <a:t> sed </a:t>
            </a:r>
            <a:r>
              <a:rPr lang="en-US" sz="1600" err="1">
                <a:solidFill>
                  <a:schemeClr val="tx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rPr>
              <a:t>consectetur</a:t>
            </a:r>
            <a:r>
              <a:rPr lang="en-US" sz="1600">
                <a:solidFill>
                  <a:schemeClr val="tx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rPr>
              <a:t>.</a:t>
            </a:r>
            <a:endParaRPr lang="en-US" sz="1600">
              <a:solidFill>
                <a:schemeClr val="tx1"/>
              </a:solidFill>
              <a:latin typeface="CiscoSansTT ExtraLight" panose="020B0303020201020303" pitchFamily="34" charset="0"/>
              <a:cs typeface="CiscoSansTT ExtraLight" panose="020B0303020201020303" pitchFamily="34" charset="0"/>
              <a:sym typeface="Helvetica Neue Light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lang="en-US" sz="1600" u="none" strike="noStrike" cap="none">
              <a:solidFill>
                <a:schemeClr val="tx1"/>
              </a:solidFill>
              <a:latin typeface="CiscoSansTT ExtraLight" panose="020B0303020201020303" pitchFamily="34" charset="0"/>
              <a:ea typeface="Helvetica Neue Light"/>
              <a:cs typeface="CiscoSansTT ExtraLight" panose="020B0303020201020303" pitchFamily="34" charset="0"/>
              <a:sym typeface="Helvetica Neue Light"/>
            </a:endParaRP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7F88E966-67A3-774E-A25D-4F72AE08C37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991351" y="1612900"/>
            <a:ext cx="3587749" cy="918693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2933" b="0" i="0">
                <a:solidFill>
                  <a:schemeClr val="tx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defRPr>
            </a:lvl1pPr>
            <a:lvl2pPr>
              <a:defRPr sz="2933" b="0" i="0">
                <a:solidFill>
                  <a:schemeClr val="tx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defRPr>
            </a:lvl2pPr>
            <a:lvl3pPr>
              <a:defRPr sz="2933" b="0" i="0">
                <a:solidFill>
                  <a:schemeClr val="tx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defRPr>
            </a:lvl3pPr>
            <a:lvl4pPr>
              <a:defRPr sz="2933" b="0" i="0">
                <a:solidFill>
                  <a:schemeClr val="tx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defRPr>
            </a:lvl4pPr>
            <a:lvl5pPr>
              <a:defRPr sz="2933" b="0" i="0">
                <a:solidFill>
                  <a:schemeClr val="tx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defRPr>
            </a:lvl5pPr>
          </a:lstStyle>
          <a:p>
            <a:pPr lvl="0"/>
            <a:r>
              <a:rPr lang="en-GB"/>
              <a:t>Lorem ipsum </a:t>
            </a:r>
            <a:r>
              <a:rPr lang="en-GB" err="1"/>
              <a:t>dolor</a:t>
            </a:r>
            <a:endParaRPr lang="en-US"/>
          </a:p>
        </p:txBody>
      </p:sp>
      <p:sp>
        <p:nvSpPr>
          <p:cNvPr id="13" name="Picture Placeholder 11">
            <a:extLst>
              <a:ext uri="{FF2B5EF4-FFF2-40B4-BE49-F238E27FC236}">
                <a16:creationId xmlns:a16="http://schemas.microsoft.com/office/drawing/2014/main" id="{415A6F53-7A2A-446D-BE6F-72DFEBE1D528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3841748" y="4719861"/>
            <a:ext cx="1401181" cy="1401539"/>
          </a:xfrm>
          <a:prstGeom prst="rect">
            <a:avLst/>
          </a:prstGeom>
          <a:blipFill>
            <a:blip r:embed="rId3"/>
            <a:stretch>
              <a:fillRect/>
            </a:stretch>
          </a:blipFill>
        </p:spPr>
        <p:txBody>
          <a:bodyPr>
            <a:noAutofit/>
          </a:bodyPr>
          <a:lstStyle>
            <a:lvl1pPr>
              <a:defRPr>
                <a:noFill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8328322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628178E9-5DA9-44DD-AADF-420059B1CD5D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10591799" y="488950"/>
            <a:ext cx="1301751" cy="1301751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>
            <a:noAutofit/>
          </a:bodyPr>
          <a:lstStyle>
            <a:lvl1pPr>
              <a:defRPr>
                <a:noFill/>
              </a:defRPr>
            </a:lvl1pPr>
          </a:lstStyle>
          <a:p>
            <a:endParaRPr lang="en-US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F78B2954-CFD9-4530-9B20-E3B0177074C0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21434" y="1044900"/>
            <a:ext cx="6670565" cy="4873997"/>
          </a:xfrm>
          <a:custGeom>
            <a:avLst/>
            <a:gdLst>
              <a:gd name="connsiteX0" fmla="*/ 1827750 w 5002924"/>
              <a:gd name="connsiteY0" fmla="*/ 0 h 3655498"/>
              <a:gd name="connsiteX1" fmla="*/ 5002924 w 5002924"/>
              <a:gd name="connsiteY1" fmla="*/ 0 h 3655498"/>
              <a:gd name="connsiteX2" fmla="*/ 5002924 w 5002924"/>
              <a:gd name="connsiteY2" fmla="*/ 3655498 h 3655498"/>
              <a:gd name="connsiteX3" fmla="*/ 1827711 w 5002924"/>
              <a:gd name="connsiteY3" fmla="*/ 3655498 h 3655498"/>
              <a:gd name="connsiteX4" fmla="*/ 1640874 w 5002924"/>
              <a:gd name="connsiteY4" fmla="*/ 3646064 h 3655498"/>
              <a:gd name="connsiteX5" fmla="*/ 0 w 5002924"/>
              <a:gd name="connsiteY5" fmla="*/ 1827750 h 3655498"/>
              <a:gd name="connsiteX6" fmla="*/ 1827750 w 5002924"/>
              <a:gd name="connsiteY6" fmla="*/ 0 h 36554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002924" h="3655498">
                <a:moveTo>
                  <a:pt x="1827750" y="0"/>
                </a:moveTo>
                <a:lnTo>
                  <a:pt x="5002924" y="0"/>
                </a:lnTo>
                <a:lnTo>
                  <a:pt x="5002924" y="3655498"/>
                </a:lnTo>
                <a:lnTo>
                  <a:pt x="1827711" y="3655498"/>
                </a:lnTo>
                <a:lnTo>
                  <a:pt x="1640874" y="3646064"/>
                </a:lnTo>
                <a:cubicBezTo>
                  <a:pt x="719220" y="3552465"/>
                  <a:pt x="0" y="2774098"/>
                  <a:pt x="0" y="1827750"/>
                </a:cubicBezTo>
                <a:cubicBezTo>
                  <a:pt x="0" y="818312"/>
                  <a:pt x="818312" y="0"/>
                  <a:pt x="1827750" y="0"/>
                </a:cubicBezTo>
                <a:close/>
              </a:path>
            </a:pathLst>
          </a:custGeom>
          <a:solidFill>
            <a:srgbClr val="EDF1F6"/>
          </a:solidFill>
        </p:spPr>
        <p:txBody>
          <a:bodyPr wrap="square">
            <a:noAutofit/>
          </a:bodyPr>
          <a:lstStyle/>
          <a:p>
            <a:endParaRPr lang="en-US"/>
          </a:p>
        </p:txBody>
      </p:sp>
      <p:sp>
        <p:nvSpPr>
          <p:cNvPr id="12" name="Picture Placeholder 10">
            <a:extLst>
              <a:ext uri="{FF2B5EF4-FFF2-40B4-BE49-F238E27FC236}">
                <a16:creationId xmlns:a16="http://schemas.microsoft.com/office/drawing/2014/main" id="{0CCB00C6-BCBD-452F-819F-42406F8787EE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629399" y="5283200"/>
            <a:ext cx="984253" cy="984251"/>
          </a:xfrm>
          <a:prstGeom prst="rect">
            <a:avLst/>
          </a:prstGeom>
          <a:blipFill>
            <a:blip r:embed="rId3"/>
            <a:stretch>
              <a:fillRect/>
            </a:stretch>
          </a:blipFill>
        </p:spPr>
        <p:txBody>
          <a:bodyPr>
            <a:noAutofit/>
          </a:bodyPr>
          <a:lstStyle>
            <a:lvl1pPr>
              <a:defRPr>
                <a:noFill/>
              </a:defRPr>
            </a:lvl1pPr>
          </a:lstStyle>
          <a:p>
            <a:endParaRPr lang="en-US"/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41E0EB8A-C974-4157-ACB5-9C435793D71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719667" y="2967567"/>
            <a:ext cx="4029048" cy="280775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Aft>
                <a:spcPts val="1600"/>
              </a:spcAft>
              <a:buFont typeface="Arial" panose="020B0604020202020204" pitchFamily="34" charset="0"/>
              <a:buNone/>
              <a:defRPr>
                <a:solidFill>
                  <a:schemeClr val="bg2"/>
                </a:solidFill>
                <a:latin typeface="+mn-lt"/>
              </a:defRPr>
            </a:lvl1pPr>
            <a:lvl2pPr marL="0" indent="0">
              <a:spcAft>
                <a:spcPts val="1600"/>
              </a:spcAft>
              <a:buFont typeface="Arial" panose="020B0604020202020204" pitchFamily="34" charset="0"/>
              <a:buNone/>
              <a:defRPr>
                <a:solidFill>
                  <a:schemeClr val="bg2"/>
                </a:solidFill>
                <a:latin typeface="+mn-lt"/>
              </a:defRPr>
            </a:lvl2pPr>
            <a:lvl3pPr marL="0" indent="0">
              <a:spcAft>
                <a:spcPts val="1600"/>
              </a:spcAft>
              <a:buFont typeface="Arial" panose="020B0604020202020204" pitchFamily="34" charset="0"/>
              <a:buNone/>
              <a:defRPr>
                <a:solidFill>
                  <a:schemeClr val="bg2"/>
                </a:solidFill>
                <a:latin typeface="+mn-lt"/>
              </a:defRPr>
            </a:lvl3pPr>
            <a:lvl4pPr marL="0" indent="0">
              <a:spcAft>
                <a:spcPts val="1600"/>
              </a:spcAft>
              <a:buFont typeface="Arial" panose="020B0604020202020204" pitchFamily="34" charset="0"/>
              <a:buNone/>
              <a:defRPr>
                <a:solidFill>
                  <a:schemeClr val="bg2"/>
                </a:solidFill>
                <a:latin typeface="+mn-lt"/>
              </a:defRPr>
            </a:lvl4pPr>
            <a:lvl5pPr marL="0" indent="0">
              <a:spcAft>
                <a:spcPts val="1600"/>
              </a:spcAft>
              <a:buFont typeface="Arial" panose="020B0604020202020204" pitchFamily="34" charset="0"/>
              <a:buNone/>
              <a:defRPr>
                <a:solidFill>
                  <a:schemeClr val="bg2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3FB6EE8-88E3-4BE5-841A-466E49FAAF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667" y="1155702"/>
            <a:ext cx="4029047" cy="1363133"/>
          </a:xfrm>
        </p:spPr>
        <p:txBody>
          <a:bodyPr>
            <a:noAutofit/>
          </a:bodyPr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29660058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" name="Google Shape;1224;p213">
            <a:extLst>
              <a:ext uri="{FF2B5EF4-FFF2-40B4-BE49-F238E27FC236}">
                <a16:creationId xmlns:a16="http://schemas.microsoft.com/office/drawing/2014/main" id="{68C67C1E-F7FA-5548-8B9F-05D1053DB46A}"/>
              </a:ext>
            </a:extLst>
          </p:cNvPr>
          <p:cNvCxnSpPr/>
          <p:nvPr userDrawn="1"/>
        </p:nvCxnSpPr>
        <p:spPr>
          <a:xfrm>
            <a:off x="6504859" y="1170769"/>
            <a:ext cx="638000" cy="0"/>
          </a:xfrm>
          <a:prstGeom prst="straightConnector1">
            <a:avLst/>
          </a:prstGeom>
          <a:noFill/>
          <a:ln w="28575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</p:cxnSp>
      <p:cxnSp>
        <p:nvCxnSpPr>
          <p:cNvPr id="11" name="Google Shape;1229;p213">
            <a:extLst>
              <a:ext uri="{FF2B5EF4-FFF2-40B4-BE49-F238E27FC236}">
                <a16:creationId xmlns:a16="http://schemas.microsoft.com/office/drawing/2014/main" id="{FE8EF11A-BCE2-694B-9DCE-BD54298E5B40}"/>
              </a:ext>
            </a:extLst>
          </p:cNvPr>
          <p:cNvCxnSpPr/>
          <p:nvPr userDrawn="1"/>
        </p:nvCxnSpPr>
        <p:spPr>
          <a:xfrm>
            <a:off x="6504859" y="2883469"/>
            <a:ext cx="638000" cy="0"/>
          </a:xfrm>
          <a:prstGeom prst="straightConnector1">
            <a:avLst/>
          </a:prstGeom>
          <a:noFill/>
          <a:ln w="28575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</p:cxnSp>
      <p:cxnSp>
        <p:nvCxnSpPr>
          <p:cNvPr id="17" name="Google Shape;1235;p213">
            <a:extLst>
              <a:ext uri="{FF2B5EF4-FFF2-40B4-BE49-F238E27FC236}">
                <a16:creationId xmlns:a16="http://schemas.microsoft.com/office/drawing/2014/main" id="{C0F4385B-5632-1248-B982-AE73BA738930}"/>
              </a:ext>
            </a:extLst>
          </p:cNvPr>
          <p:cNvCxnSpPr/>
          <p:nvPr userDrawn="1"/>
        </p:nvCxnSpPr>
        <p:spPr>
          <a:xfrm>
            <a:off x="9338113" y="1170769"/>
            <a:ext cx="638000" cy="0"/>
          </a:xfrm>
          <a:prstGeom prst="straightConnector1">
            <a:avLst/>
          </a:prstGeom>
          <a:noFill/>
          <a:ln w="28575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</p:cxnSp>
      <p:cxnSp>
        <p:nvCxnSpPr>
          <p:cNvPr id="20" name="Google Shape;1238;p213">
            <a:extLst>
              <a:ext uri="{FF2B5EF4-FFF2-40B4-BE49-F238E27FC236}">
                <a16:creationId xmlns:a16="http://schemas.microsoft.com/office/drawing/2014/main" id="{EEF9B179-41FC-8140-81B8-5373ECB284D4}"/>
              </a:ext>
            </a:extLst>
          </p:cNvPr>
          <p:cNvCxnSpPr/>
          <p:nvPr userDrawn="1"/>
        </p:nvCxnSpPr>
        <p:spPr>
          <a:xfrm>
            <a:off x="9338113" y="2883469"/>
            <a:ext cx="638000" cy="0"/>
          </a:xfrm>
          <a:prstGeom prst="straightConnector1">
            <a:avLst/>
          </a:prstGeom>
          <a:noFill/>
          <a:ln w="28575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7C86FEC3-9BE1-6841-B3F0-E62CA4E287F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11200" y="3429001"/>
            <a:ext cx="4318000" cy="2133599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r>
              <a:rPr lang="en-US" sz="1600">
                <a:solidFill>
                  <a:srgbClr val="00BCEB"/>
                </a:solidFill>
                <a:latin typeface="CiscoSansTT ExtraLight" panose="020B0303020201020303" pitchFamily="34" charset="0"/>
                <a:ea typeface="Helvetica Neue Light"/>
                <a:cs typeface="CiscoSansTT ExtraLight" panose="020B0303020201020303" pitchFamily="34" charset="0"/>
                <a:sym typeface="Helvetica Neue Light"/>
              </a:rPr>
              <a:t>Lorem ipsum dolor sit </a:t>
            </a:r>
            <a:r>
              <a:rPr lang="en-US" sz="1600" err="1">
                <a:solidFill>
                  <a:srgbClr val="00BCEB"/>
                </a:solidFill>
                <a:latin typeface="CiscoSansTT ExtraLight" panose="020B0303020201020303" pitchFamily="34" charset="0"/>
                <a:ea typeface="Helvetica Neue Light"/>
                <a:cs typeface="CiscoSansTT ExtraLight" panose="020B0303020201020303" pitchFamily="34" charset="0"/>
                <a:sym typeface="Helvetica Neue Light"/>
              </a:rPr>
              <a:t>amet</a:t>
            </a:r>
            <a:r>
              <a:rPr lang="en-US" sz="1600">
                <a:solidFill>
                  <a:srgbClr val="00BCEB"/>
                </a:solidFill>
                <a:latin typeface="CiscoSansTT ExtraLight" panose="020B0303020201020303" pitchFamily="34" charset="0"/>
                <a:ea typeface="Helvetica Neue Light"/>
                <a:cs typeface="CiscoSansTT ExtraLight" panose="020B0303020201020303" pitchFamily="34" charset="0"/>
                <a:sym typeface="Helvetica Neue Light"/>
              </a:rPr>
              <a:t> </a:t>
            </a:r>
            <a:r>
              <a:rPr lang="en-US" sz="1600" err="1">
                <a:solidFill>
                  <a:srgbClr val="00BCEB"/>
                </a:solidFill>
                <a:latin typeface="CiscoSansTT ExtraLight" panose="020B0303020201020303" pitchFamily="34" charset="0"/>
                <a:ea typeface="Helvetica Neue Light"/>
                <a:cs typeface="CiscoSansTT ExtraLight" panose="020B0303020201020303" pitchFamily="34" charset="0"/>
                <a:sym typeface="Helvetica Neue Light"/>
              </a:rPr>
              <a:t>consectetur</a:t>
            </a:r>
            <a:r>
              <a:rPr lang="en-US" sz="1600">
                <a:solidFill>
                  <a:srgbClr val="00BCEB"/>
                </a:solidFill>
                <a:latin typeface="CiscoSansTT ExtraLight" panose="020B0303020201020303" pitchFamily="34" charset="0"/>
                <a:ea typeface="Helvetica Neue Light"/>
                <a:cs typeface="CiscoSansTT ExtraLight" panose="020B0303020201020303" pitchFamily="34" charset="0"/>
                <a:sym typeface="Helvetica Neue Light"/>
              </a:rPr>
              <a:t> </a:t>
            </a:r>
            <a:r>
              <a:rPr lang="en-US" sz="1600" err="1">
                <a:solidFill>
                  <a:srgbClr val="00BCEB"/>
                </a:solidFill>
                <a:latin typeface="CiscoSansTT ExtraLight" panose="020B0303020201020303" pitchFamily="34" charset="0"/>
                <a:ea typeface="Helvetica Neue Light"/>
                <a:cs typeface="CiscoSansTT ExtraLight" panose="020B0303020201020303" pitchFamily="34" charset="0"/>
                <a:sym typeface="Helvetica Neue Light"/>
              </a:rPr>
              <a:t>adipiscing</a:t>
            </a:r>
            <a:r>
              <a:rPr lang="en-US" sz="1600">
                <a:solidFill>
                  <a:srgbClr val="00BCEB"/>
                </a:solidFill>
                <a:latin typeface="CiscoSansTT ExtraLight" panose="020B0303020201020303" pitchFamily="34" charset="0"/>
                <a:ea typeface="Helvetica Neue Light"/>
                <a:cs typeface="CiscoSansTT ExtraLight" panose="020B0303020201020303" pitchFamily="34" charset="0"/>
                <a:sym typeface="Helvetica Neue Light"/>
              </a:rPr>
              <a:t> </a:t>
            </a:r>
            <a:r>
              <a:rPr lang="en-US" sz="1600" err="1">
                <a:solidFill>
                  <a:srgbClr val="00BCEB"/>
                </a:solidFill>
                <a:latin typeface="CiscoSansTT ExtraLight" panose="020B0303020201020303" pitchFamily="34" charset="0"/>
                <a:ea typeface="Helvetica Neue Light"/>
                <a:cs typeface="CiscoSansTT ExtraLight" panose="020B0303020201020303" pitchFamily="34" charset="0"/>
                <a:sym typeface="Helvetica Neue Light"/>
              </a:rPr>
              <a:t>elit</a:t>
            </a:r>
            <a:endParaRPr lang="en-US" sz="1600" u="none" strike="noStrike" cap="none">
              <a:solidFill>
                <a:srgbClr val="00BCEB"/>
              </a:solidFill>
              <a:latin typeface="CiscoSansTT ExtraLight" panose="020B0303020201020303" pitchFamily="34" charset="0"/>
              <a:ea typeface="Helvetica Neue Light"/>
              <a:cs typeface="CiscoSansTT ExtraLight" panose="020B0303020201020303" pitchFamily="34" charset="0"/>
              <a:sym typeface="Helvetica Neue Light"/>
            </a:endParaRPr>
          </a:p>
        </p:txBody>
      </p:sp>
      <p:sp>
        <p:nvSpPr>
          <p:cNvPr id="34" name="Text Placeholder 33">
            <a:extLst>
              <a:ext uri="{FF2B5EF4-FFF2-40B4-BE49-F238E27FC236}">
                <a16:creationId xmlns:a16="http://schemas.microsoft.com/office/drawing/2014/main" id="{E4F1703F-FD14-2747-80D3-F176B49F55A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402624" y="1321922"/>
            <a:ext cx="1974851" cy="383116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b="1" i="0">
                <a:solidFill>
                  <a:schemeClr val="tx1"/>
                </a:solidFill>
                <a:latin typeface="CiscoSansTT" panose="020B0503020201020303" pitchFamily="34" charset="0"/>
                <a:cs typeface="CiscoSansTT" panose="020B0503020201020303" pitchFamily="34" charset="0"/>
              </a:defRPr>
            </a:lvl1pPr>
          </a:lstStyle>
          <a:p>
            <a:pPr lvl="0"/>
            <a:r>
              <a:rPr lang="en-GB"/>
              <a:t>Lorem</a:t>
            </a:r>
            <a:endParaRPr lang="en-US"/>
          </a:p>
        </p:txBody>
      </p:sp>
      <p:sp>
        <p:nvSpPr>
          <p:cNvPr id="36" name="Text Placeholder 33">
            <a:extLst>
              <a:ext uri="{FF2B5EF4-FFF2-40B4-BE49-F238E27FC236}">
                <a16:creationId xmlns:a16="http://schemas.microsoft.com/office/drawing/2014/main" id="{738D0011-FE5C-6641-AED1-0F6D9B42410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258924" y="1316567"/>
            <a:ext cx="1974851" cy="383116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b="1" i="0">
                <a:solidFill>
                  <a:schemeClr val="tx1"/>
                </a:solidFill>
                <a:latin typeface="CiscoSansTT" panose="020B0503020201020303" pitchFamily="34" charset="0"/>
                <a:cs typeface="CiscoSansTT" panose="020B0503020201020303" pitchFamily="34" charset="0"/>
              </a:defRPr>
            </a:lvl1pPr>
          </a:lstStyle>
          <a:p>
            <a:pPr lvl="0"/>
            <a:r>
              <a:rPr lang="en-GB"/>
              <a:t>Lorem</a:t>
            </a:r>
            <a:endParaRPr lang="en-US"/>
          </a:p>
        </p:txBody>
      </p:sp>
      <p:sp>
        <p:nvSpPr>
          <p:cNvPr id="37" name="Text Placeholder 33">
            <a:extLst>
              <a:ext uri="{FF2B5EF4-FFF2-40B4-BE49-F238E27FC236}">
                <a16:creationId xmlns:a16="http://schemas.microsoft.com/office/drawing/2014/main" id="{0C772D10-64AC-0A46-AC66-15F55CB301D4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402624" y="3033309"/>
            <a:ext cx="1974851" cy="383116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b="1" i="0">
                <a:solidFill>
                  <a:schemeClr val="tx1"/>
                </a:solidFill>
                <a:latin typeface="CiscoSansTT" panose="020B0503020201020303" pitchFamily="34" charset="0"/>
                <a:cs typeface="CiscoSansTT" panose="020B0503020201020303" pitchFamily="34" charset="0"/>
              </a:defRPr>
            </a:lvl1pPr>
          </a:lstStyle>
          <a:p>
            <a:pPr lvl="0"/>
            <a:r>
              <a:rPr lang="en-GB"/>
              <a:t>Lorem</a:t>
            </a:r>
            <a:endParaRPr lang="en-US"/>
          </a:p>
        </p:txBody>
      </p:sp>
      <p:sp>
        <p:nvSpPr>
          <p:cNvPr id="38" name="Text Placeholder 33">
            <a:extLst>
              <a:ext uri="{FF2B5EF4-FFF2-40B4-BE49-F238E27FC236}">
                <a16:creationId xmlns:a16="http://schemas.microsoft.com/office/drawing/2014/main" id="{AFD5C6FC-1D6D-804C-B9DB-5C348B87BB43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9258924" y="3027954"/>
            <a:ext cx="1974851" cy="383116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b="1" i="0">
                <a:solidFill>
                  <a:schemeClr val="tx1"/>
                </a:solidFill>
                <a:latin typeface="CiscoSansTT" panose="020B0503020201020303" pitchFamily="34" charset="0"/>
                <a:cs typeface="CiscoSansTT" panose="020B0503020201020303" pitchFamily="34" charset="0"/>
              </a:defRPr>
            </a:lvl1pPr>
          </a:lstStyle>
          <a:p>
            <a:pPr lvl="0"/>
            <a:r>
              <a:rPr lang="en-GB"/>
              <a:t>Lorem</a:t>
            </a:r>
            <a:endParaRPr lang="en-US"/>
          </a:p>
        </p:txBody>
      </p:sp>
      <p:sp>
        <p:nvSpPr>
          <p:cNvPr id="40" name="Text Placeholder 39">
            <a:extLst>
              <a:ext uri="{FF2B5EF4-FFF2-40B4-BE49-F238E27FC236}">
                <a16:creationId xmlns:a16="http://schemas.microsoft.com/office/drawing/2014/main" id="{75C611E1-F971-A442-A55E-2A1060215033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399194" y="1719170"/>
            <a:ext cx="1974557" cy="757767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 rtl="0">
              <a:spcBef>
                <a:spcPts val="0"/>
              </a:spcBef>
              <a:spcAft>
                <a:spcPts val="0"/>
              </a:spcAft>
              <a:buNone/>
              <a:defRPr sz="1200" b="0" i="0">
                <a:solidFill>
                  <a:schemeClr val="tx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defRPr>
            </a:lvl1pPr>
            <a:lvl2pPr>
              <a:defRPr sz="1200" b="0" i="0">
                <a:solidFill>
                  <a:schemeClr val="tx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defRPr>
            </a:lvl2pPr>
            <a:lvl3pPr>
              <a:defRPr sz="1200" b="0" i="0">
                <a:solidFill>
                  <a:schemeClr val="tx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defRPr>
            </a:lvl3pPr>
            <a:lvl4pPr>
              <a:defRPr sz="1200" b="0" i="0">
                <a:solidFill>
                  <a:schemeClr val="tx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defRPr>
            </a:lvl4pPr>
            <a:lvl5pPr>
              <a:defRPr sz="1200" b="0" i="0">
                <a:solidFill>
                  <a:schemeClr val="tx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defRPr>
            </a:lvl5pPr>
          </a:lstStyle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200">
                <a:solidFill>
                  <a:schemeClr val="tx1"/>
                </a:solidFill>
                <a:latin typeface="CiscoSansTT ExtraLight" panose="020B0303020201020303" pitchFamily="34" charset="0"/>
                <a:ea typeface="Helvetica Neue Light"/>
                <a:cs typeface="CiscoSansTT ExtraLight" panose="020B0303020201020303" pitchFamily="34" charset="0"/>
                <a:sym typeface="Helvetica Neue Light"/>
              </a:rPr>
              <a:t>Lorem ipsum dolor sit </a:t>
            </a:r>
            <a:r>
              <a:rPr lang="en-US" sz="1200" err="1">
                <a:solidFill>
                  <a:schemeClr val="tx1"/>
                </a:solidFill>
                <a:latin typeface="CiscoSansTT ExtraLight" panose="020B0303020201020303" pitchFamily="34" charset="0"/>
                <a:ea typeface="Helvetica Neue Light"/>
                <a:cs typeface="CiscoSansTT ExtraLight" panose="020B0303020201020303" pitchFamily="34" charset="0"/>
                <a:sym typeface="Helvetica Neue Light"/>
              </a:rPr>
              <a:t>amet</a:t>
            </a:r>
            <a:r>
              <a:rPr lang="en-US" sz="1200">
                <a:solidFill>
                  <a:schemeClr val="tx1"/>
                </a:solidFill>
                <a:latin typeface="CiscoSansTT ExtraLight" panose="020B0303020201020303" pitchFamily="34" charset="0"/>
                <a:ea typeface="Helvetica Neue Light"/>
                <a:cs typeface="CiscoSansTT ExtraLight" panose="020B0303020201020303" pitchFamily="34" charset="0"/>
                <a:sym typeface="Helvetica Neue Light"/>
              </a:rPr>
              <a:t> </a:t>
            </a:r>
            <a:r>
              <a:rPr lang="en-US" sz="1200" err="1">
                <a:solidFill>
                  <a:schemeClr val="tx1"/>
                </a:solidFill>
                <a:latin typeface="CiscoSansTT ExtraLight" panose="020B0303020201020303" pitchFamily="34" charset="0"/>
                <a:ea typeface="Helvetica Neue Light"/>
                <a:cs typeface="CiscoSansTT ExtraLight" panose="020B0303020201020303" pitchFamily="34" charset="0"/>
                <a:sym typeface="Helvetica Neue Light"/>
              </a:rPr>
              <a:t>consectetur</a:t>
            </a:r>
            <a:r>
              <a:rPr lang="en-US" sz="1200">
                <a:solidFill>
                  <a:schemeClr val="tx1"/>
                </a:solidFill>
                <a:latin typeface="CiscoSansTT ExtraLight" panose="020B0303020201020303" pitchFamily="34" charset="0"/>
                <a:ea typeface="Helvetica Neue Light"/>
                <a:cs typeface="CiscoSansTT ExtraLight" panose="020B0303020201020303" pitchFamily="34" charset="0"/>
                <a:sym typeface="Helvetica Neue Light"/>
              </a:rPr>
              <a:t> </a:t>
            </a:r>
            <a:r>
              <a:rPr lang="en-US" sz="1200" err="1">
                <a:solidFill>
                  <a:schemeClr val="tx1"/>
                </a:solidFill>
                <a:latin typeface="CiscoSansTT ExtraLight" panose="020B0303020201020303" pitchFamily="34" charset="0"/>
                <a:ea typeface="Helvetica Neue Light"/>
                <a:cs typeface="CiscoSansTT ExtraLight" panose="020B0303020201020303" pitchFamily="34" charset="0"/>
                <a:sym typeface="Helvetica Neue Light"/>
              </a:rPr>
              <a:t>adipiscing</a:t>
            </a:r>
            <a:r>
              <a:rPr lang="en-US" sz="1200">
                <a:solidFill>
                  <a:schemeClr val="tx1"/>
                </a:solidFill>
                <a:latin typeface="CiscoSansTT ExtraLight" panose="020B0303020201020303" pitchFamily="34" charset="0"/>
                <a:ea typeface="Helvetica Neue Light"/>
                <a:cs typeface="CiscoSansTT ExtraLight" panose="020B0303020201020303" pitchFamily="34" charset="0"/>
                <a:sym typeface="Helvetica Neue Light"/>
              </a:rPr>
              <a:t> </a:t>
            </a:r>
            <a:r>
              <a:rPr lang="en-US" sz="1200" err="1">
                <a:solidFill>
                  <a:schemeClr val="tx1"/>
                </a:solidFill>
                <a:latin typeface="CiscoSansTT ExtraLight" panose="020B0303020201020303" pitchFamily="34" charset="0"/>
                <a:ea typeface="Helvetica Neue Light"/>
                <a:cs typeface="CiscoSansTT ExtraLight" panose="020B0303020201020303" pitchFamily="34" charset="0"/>
                <a:sym typeface="Helvetica Neue Light"/>
              </a:rPr>
              <a:t>elit</a:t>
            </a:r>
            <a:endParaRPr lang="en-US" sz="1200">
              <a:solidFill>
                <a:schemeClr val="tx1"/>
              </a:solidFill>
              <a:latin typeface="CiscoSansTT ExtraLight" panose="020B0303020201020303" pitchFamily="34" charset="0"/>
              <a:ea typeface="Helvetica Neue Light"/>
              <a:cs typeface="CiscoSansTT ExtraLight" panose="020B0303020201020303" pitchFamily="34" charset="0"/>
              <a:sym typeface="Helvetica Neue Light"/>
            </a:endParaRP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lang="en-US" sz="1200">
              <a:solidFill>
                <a:schemeClr val="tx1"/>
              </a:solidFill>
              <a:latin typeface="CiscoSansTT ExtraLight" panose="020B0303020201020303" pitchFamily="34" charset="0"/>
              <a:ea typeface="Helvetica Neue Light"/>
              <a:cs typeface="CiscoSansTT ExtraLight" panose="020B0303020201020303" pitchFamily="34" charset="0"/>
              <a:sym typeface="Helvetica Neue Light"/>
            </a:endParaRPr>
          </a:p>
        </p:txBody>
      </p:sp>
      <p:sp>
        <p:nvSpPr>
          <p:cNvPr id="41" name="Text Placeholder 39">
            <a:extLst>
              <a:ext uri="{FF2B5EF4-FFF2-40B4-BE49-F238E27FC236}">
                <a16:creationId xmlns:a16="http://schemas.microsoft.com/office/drawing/2014/main" id="{30A3C0E0-993B-A247-8F10-FF5570956410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255200" y="1718258"/>
            <a:ext cx="1974557" cy="757767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 rtl="0">
              <a:spcBef>
                <a:spcPts val="0"/>
              </a:spcBef>
              <a:spcAft>
                <a:spcPts val="0"/>
              </a:spcAft>
              <a:buNone/>
              <a:defRPr sz="1200" b="0" i="0">
                <a:solidFill>
                  <a:schemeClr val="tx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defRPr>
            </a:lvl1pPr>
            <a:lvl2pPr>
              <a:defRPr sz="1200" b="0" i="0">
                <a:solidFill>
                  <a:schemeClr val="tx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defRPr>
            </a:lvl2pPr>
            <a:lvl3pPr>
              <a:defRPr sz="1200" b="0" i="0">
                <a:solidFill>
                  <a:schemeClr val="tx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defRPr>
            </a:lvl3pPr>
            <a:lvl4pPr>
              <a:defRPr sz="1200" b="0" i="0">
                <a:solidFill>
                  <a:schemeClr val="tx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defRPr>
            </a:lvl4pPr>
            <a:lvl5pPr>
              <a:defRPr sz="1200" b="0" i="0">
                <a:solidFill>
                  <a:schemeClr val="tx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defRPr>
            </a:lvl5pPr>
          </a:lstStyle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200">
                <a:solidFill>
                  <a:schemeClr val="tx1"/>
                </a:solidFill>
                <a:latin typeface="CiscoSansTT ExtraLight" panose="020B0303020201020303" pitchFamily="34" charset="0"/>
                <a:ea typeface="Helvetica Neue Light"/>
                <a:cs typeface="CiscoSansTT ExtraLight" panose="020B0303020201020303" pitchFamily="34" charset="0"/>
                <a:sym typeface="Helvetica Neue Light"/>
              </a:rPr>
              <a:t>Lorem ipsum dolor sit </a:t>
            </a:r>
            <a:r>
              <a:rPr lang="en-US" sz="1200" err="1">
                <a:solidFill>
                  <a:schemeClr val="tx1"/>
                </a:solidFill>
                <a:latin typeface="CiscoSansTT ExtraLight" panose="020B0303020201020303" pitchFamily="34" charset="0"/>
                <a:ea typeface="Helvetica Neue Light"/>
                <a:cs typeface="CiscoSansTT ExtraLight" panose="020B0303020201020303" pitchFamily="34" charset="0"/>
                <a:sym typeface="Helvetica Neue Light"/>
              </a:rPr>
              <a:t>amet</a:t>
            </a:r>
            <a:r>
              <a:rPr lang="en-US" sz="1200">
                <a:solidFill>
                  <a:schemeClr val="tx1"/>
                </a:solidFill>
                <a:latin typeface="CiscoSansTT ExtraLight" panose="020B0303020201020303" pitchFamily="34" charset="0"/>
                <a:ea typeface="Helvetica Neue Light"/>
                <a:cs typeface="CiscoSansTT ExtraLight" panose="020B0303020201020303" pitchFamily="34" charset="0"/>
                <a:sym typeface="Helvetica Neue Light"/>
              </a:rPr>
              <a:t> </a:t>
            </a:r>
            <a:r>
              <a:rPr lang="en-US" sz="1200" err="1">
                <a:solidFill>
                  <a:schemeClr val="tx1"/>
                </a:solidFill>
                <a:latin typeface="CiscoSansTT ExtraLight" panose="020B0303020201020303" pitchFamily="34" charset="0"/>
                <a:ea typeface="Helvetica Neue Light"/>
                <a:cs typeface="CiscoSansTT ExtraLight" panose="020B0303020201020303" pitchFamily="34" charset="0"/>
                <a:sym typeface="Helvetica Neue Light"/>
              </a:rPr>
              <a:t>consectetur</a:t>
            </a:r>
            <a:r>
              <a:rPr lang="en-US" sz="1200">
                <a:solidFill>
                  <a:schemeClr val="tx1"/>
                </a:solidFill>
                <a:latin typeface="CiscoSansTT ExtraLight" panose="020B0303020201020303" pitchFamily="34" charset="0"/>
                <a:ea typeface="Helvetica Neue Light"/>
                <a:cs typeface="CiscoSansTT ExtraLight" panose="020B0303020201020303" pitchFamily="34" charset="0"/>
                <a:sym typeface="Helvetica Neue Light"/>
              </a:rPr>
              <a:t> </a:t>
            </a:r>
            <a:r>
              <a:rPr lang="en-US" sz="1200" err="1">
                <a:solidFill>
                  <a:schemeClr val="tx1"/>
                </a:solidFill>
                <a:latin typeface="CiscoSansTT ExtraLight" panose="020B0303020201020303" pitchFamily="34" charset="0"/>
                <a:ea typeface="Helvetica Neue Light"/>
                <a:cs typeface="CiscoSansTT ExtraLight" panose="020B0303020201020303" pitchFamily="34" charset="0"/>
                <a:sym typeface="Helvetica Neue Light"/>
              </a:rPr>
              <a:t>adipiscing</a:t>
            </a:r>
            <a:r>
              <a:rPr lang="en-US" sz="1200">
                <a:solidFill>
                  <a:schemeClr val="tx1"/>
                </a:solidFill>
                <a:latin typeface="CiscoSansTT ExtraLight" panose="020B0303020201020303" pitchFamily="34" charset="0"/>
                <a:ea typeface="Helvetica Neue Light"/>
                <a:cs typeface="CiscoSansTT ExtraLight" panose="020B0303020201020303" pitchFamily="34" charset="0"/>
                <a:sym typeface="Helvetica Neue Light"/>
              </a:rPr>
              <a:t> </a:t>
            </a:r>
            <a:r>
              <a:rPr lang="en-US" sz="1200" err="1">
                <a:solidFill>
                  <a:schemeClr val="tx1"/>
                </a:solidFill>
                <a:latin typeface="CiscoSansTT ExtraLight" panose="020B0303020201020303" pitchFamily="34" charset="0"/>
                <a:ea typeface="Helvetica Neue Light"/>
                <a:cs typeface="CiscoSansTT ExtraLight" panose="020B0303020201020303" pitchFamily="34" charset="0"/>
                <a:sym typeface="Helvetica Neue Light"/>
              </a:rPr>
              <a:t>elit</a:t>
            </a:r>
            <a:endParaRPr lang="en-US" sz="1200">
              <a:solidFill>
                <a:schemeClr val="tx1"/>
              </a:solidFill>
              <a:latin typeface="CiscoSansTT ExtraLight" panose="020B0303020201020303" pitchFamily="34" charset="0"/>
              <a:ea typeface="Helvetica Neue Light"/>
              <a:cs typeface="CiscoSansTT ExtraLight" panose="020B0303020201020303" pitchFamily="34" charset="0"/>
              <a:sym typeface="Helvetica Neue Light"/>
            </a:endParaRP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lang="en-US" sz="1200">
              <a:solidFill>
                <a:schemeClr val="tx1"/>
              </a:solidFill>
              <a:latin typeface="CiscoSansTT ExtraLight" panose="020B0303020201020303" pitchFamily="34" charset="0"/>
              <a:ea typeface="Helvetica Neue Light"/>
              <a:cs typeface="CiscoSansTT ExtraLight" panose="020B0303020201020303" pitchFamily="34" charset="0"/>
              <a:sym typeface="Helvetica Neue Light"/>
            </a:endParaRPr>
          </a:p>
        </p:txBody>
      </p:sp>
      <p:sp>
        <p:nvSpPr>
          <p:cNvPr id="44" name="Text Placeholder 39">
            <a:extLst>
              <a:ext uri="{FF2B5EF4-FFF2-40B4-BE49-F238E27FC236}">
                <a16:creationId xmlns:a16="http://schemas.microsoft.com/office/drawing/2014/main" id="{B4A71F95-4B93-464A-9C8D-6FBE935C4950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399194" y="3439107"/>
            <a:ext cx="1974557" cy="757767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 rtl="0">
              <a:spcBef>
                <a:spcPts val="0"/>
              </a:spcBef>
              <a:spcAft>
                <a:spcPts val="0"/>
              </a:spcAft>
              <a:buNone/>
              <a:defRPr sz="1200" b="0" i="0">
                <a:solidFill>
                  <a:schemeClr val="tx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defRPr>
            </a:lvl1pPr>
            <a:lvl2pPr>
              <a:defRPr sz="1200" b="0" i="0">
                <a:solidFill>
                  <a:schemeClr val="tx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defRPr>
            </a:lvl2pPr>
            <a:lvl3pPr>
              <a:defRPr sz="1200" b="0" i="0">
                <a:solidFill>
                  <a:schemeClr val="tx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defRPr>
            </a:lvl3pPr>
            <a:lvl4pPr>
              <a:defRPr sz="1200" b="0" i="0">
                <a:solidFill>
                  <a:schemeClr val="tx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defRPr>
            </a:lvl4pPr>
            <a:lvl5pPr>
              <a:defRPr sz="1200" b="0" i="0">
                <a:solidFill>
                  <a:schemeClr val="tx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defRPr>
            </a:lvl5pPr>
          </a:lstStyle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200">
                <a:solidFill>
                  <a:schemeClr val="tx1"/>
                </a:solidFill>
                <a:latin typeface="CiscoSansTT ExtraLight" panose="020B0303020201020303" pitchFamily="34" charset="0"/>
                <a:ea typeface="Helvetica Neue Light"/>
                <a:cs typeface="CiscoSansTT ExtraLight" panose="020B0303020201020303" pitchFamily="34" charset="0"/>
                <a:sym typeface="Helvetica Neue Light"/>
              </a:rPr>
              <a:t>Lorem ipsum dolor sit </a:t>
            </a:r>
            <a:r>
              <a:rPr lang="en-US" sz="1200" err="1">
                <a:solidFill>
                  <a:schemeClr val="tx1"/>
                </a:solidFill>
                <a:latin typeface="CiscoSansTT ExtraLight" panose="020B0303020201020303" pitchFamily="34" charset="0"/>
                <a:ea typeface="Helvetica Neue Light"/>
                <a:cs typeface="CiscoSansTT ExtraLight" panose="020B0303020201020303" pitchFamily="34" charset="0"/>
                <a:sym typeface="Helvetica Neue Light"/>
              </a:rPr>
              <a:t>amet</a:t>
            </a:r>
            <a:r>
              <a:rPr lang="en-US" sz="1200">
                <a:solidFill>
                  <a:schemeClr val="tx1"/>
                </a:solidFill>
                <a:latin typeface="CiscoSansTT ExtraLight" panose="020B0303020201020303" pitchFamily="34" charset="0"/>
                <a:ea typeface="Helvetica Neue Light"/>
                <a:cs typeface="CiscoSansTT ExtraLight" panose="020B0303020201020303" pitchFamily="34" charset="0"/>
                <a:sym typeface="Helvetica Neue Light"/>
              </a:rPr>
              <a:t> </a:t>
            </a:r>
            <a:r>
              <a:rPr lang="en-US" sz="1200" err="1">
                <a:solidFill>
                  <a:schemeClr val="tx1"/>
                </a:solidFill>
                <a:latin typeface="CiscoSansTT ExtraLight" panose="020B0303020201020303" pitchFamily="34" charset="0"/>
                <a:ea typeface="Helvetica Neue Light"/>
                <a:cs typeface="CiscoSansTT ExtraLight" panose="020B0303020201020303" pitchFamily="34" charset="0"/>
                <a:sym typeface="Helvetica Neue Light"/>
              </a:rPr>
              <a:t>consectetur</a:t>
            </a:r>
            <a:r>
              <a:rPr lang="en-US" sz="1200">
                <a:solidFill>
                  <a:schemeClr val="tx1"/>
                </a:solidFill>
                <a:latin typeface="CiscoSansTT ExtraLight" panose="020B0303020201020303" pitchFamily="34" charset="0"/>
                <a:ea typeface="Helvetica Neue Light"/>
                <a:cs typeface="CiscoSansTT ExtraLight" panose="020B0303020201020303" pitchFamily="34" charset="0"/>
                <a:sym typeface="Helvetica Neue Light"/>
              </a:rPr>
              <a:t> </a:t>
            </a:r>
            <a:r>
              <a:rPr lang="en-US" sz="1200" err="1">
                <a:solidFill>
                  <a:schemeClr val="tx1"/>
                </a:solidFill>
                <a:latin typeface="CiscoSansTT ExtraLight" panose="020B0303020201020303" pitchFamily="34" charset="0"/>
                <a:ea typeface="Helvetica Neue Light"/>
                <a:cs typeface="CiscoSansTT ExtraLight" panose="020B0303020201020303" pitchFamily="34" charset="0"/>
                <a:sym typeface="Helvetica Neue Light"/>
              </a:rPr>
              <a:t>adipiscing</a:t>
            </a:r>
            <a:r>
              <a:rPr lang="en-US" sz="1200">
                <a:solidFill>
                  <a:schemeClr val="tx1"/>
                </a:solidFill>
                <a:latin typeface="CiscoSansTT ExtraLight" panose="020B0303020201020303" pitchFamily="34" charset="0"/>
                <a:ea typeface="Helvetica Neue Light"/>
                <a:cs typeface="CiscoSansTT ExtraLight" panose="020B0303020201020303" pitchFamily="34" charset="0"/>
                <a:sym typeface="Helvetica Neue Light"/>
              </a:rPr>
              <a:t> </a:t>
            </a:r>
            <a:r>
              <a:rPr lang="en-US" sz="1200" err="1">
                <a:solidFill>
                  <a:schemeClr val="tx1"/>
                </a:solidFill>
                <a:latin typeface="CiscoSansTT ExtraLight" panose="020B0303020201020303" pitchFamily="34" charset="0"/>
                <a:ea typeface="Helvetica Neue Light"/>
                <a:cs typeface="CiscoSansTT ExtraLight" panose="020B0303020201020303" pitchFamily="34" charset="0"/>
                <a:sym typeface="Helvetica Neue Light"/>
              </a:rPr>
              <a:t>elit</a:t>
            </a:r>
            <a:endParaRPr lang="en-US" sz="1200">
              <a:solidFill>
                <a:schemeClr val="tx1"/>
              </a:solidFill>
              <a:latin typeface="CiscoSansTT ExtraLight" panose="020B0303020201020303" pitchFamily="34" charset="0"/>
              <a:ea typeface="Helvetica Neue Light"/>
              <a:cs typeface="CiscoSansTT ExtraLight" panose="020B0303020201020303" pitchFamily="34" charset="0"/>
              <a:sym typeface="Helvetica Neue Light"/>
            </a:endParaRP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lang="en-US" sz="1200">
              <a:solidFill>
                <a:schemeClr val="tx1"/>
              </a:solidFill>
              <a:latin typeface="CiscoSansTT ExtraLight" panose="020B0303020201020303" pitchFamily="34" charset="0"/>
              <a:ea typeface="Helvetica Neue Light"/>
              <a:cs typeface="CiscoSansTT ExtraLight" panose="020B0303020201020303" pitchFamily="34" charset="0"/>
              <a:sym typeface="Helvetica Neue Light"/>
            </a:endParaRPr>
          </a:p>
        </p:txBody>
      </p:sp>
      <p:sp>
        <p:nvSpPr>
          <p:cNvPr id="45" name="Text Placeholder 39">
            <a:extLst>
              <a:ext uri="{FF2B5EF4-FFF2-40B4-BE49-F238E27FC236}">
                <a16:creationId xmlns:a16="http://schemas.microsoft.com/office/drawing/2014/main" id="{58E4658F-7CC8-4041-BBE3-C4200556636A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255200" y="3438195"/>
            <a:ext cx="1974557" cy="757767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 rtl="0">
              <a:spcBef>
                <a:spcPts val="0"/>
              </a:spcBef>
              <a:spcAft>
                <a:spcPts val="0"/>
              </a:spcAft>
              <a:buNone/>
              <a:defRPr sz="1200" b="0" i="0">
                <a:solidFill>
                  <a:schemeClr val="tx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defRPr>
            </a:lvl1pPr>
            <a:lvl2pPr>
              <a:defRPr sz="1200" b="0" i="0">
                <a:solidFill>
                  <a:schemeClr val="tx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defRPr>
            </a:lvl2pPr>
            <a:lvl3pPr>
              <a:defRPr sz="1200" b="0" i="0">
                <a:solidFill>
                  <a:schemeClr val="tx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defRPr>
            </a:lvl3pPr>
            <a:lvl4pPr>
              <a:defRPr sz="1200" b="0" i="0">
                <a:solidFill>
                  <a:schemeClr val="tx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defRPr>
            </a:lvl4pPr>
            <a:lvl5pPr>
              <a:defRPr sz="1200" b="0" i="0">
                <a:solidFill>
                  <a:schemeClr val="tx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defRPr>
            </a:lvl5pPr>
          </a:lstStyle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200">
                <a:solidFill>
                  <a:schemeClr val="tx1"/>
                </a:solidFill>
                <a:latin typeface="CiscoSansTT ExtraLight" panose="020B0303020201020303" pitchFamily="34" charset="0"/>
                <a:ea typeface="Helvetica Neue Light"/>
                <a:cs typeface="CiscoSansTT ExtraLight" panose="020B0303020201020303" pitchFamily="34" charset="0"/>
                <a:sym typeface="Helvetica Neue Light"/>
              </a:rPr>
              <a:t>Lorem ipsum dolor sit </a:t>
            </a:r>
            <a:r>
              <a:rPr lang="en-US" sz="1200" err="1">
                <a:solidFill>
                  <a:schemeClr val="tx1"/>
                </a:solidFill>
                <a:latin typeface="CiscoSansTT ExtraLight" panose="020B0303020201020303" pitchFamily="34" charset="0"/>
                <a:ea typeface="Helvetica Neue Light"/>
                <a:cs typeface="CiscoSansTT ExtraLight" panose="020B0303020201020303" pitchFamily="34" charset="0"/>
                <a:sym typeface="Helvetica Neue Light"/>
              </a:rPr>
              <a:t>amet</a:t>
            </a:r>
            <a:r>
              <a:rPr lang="en-US" sz="1200">
                <a:solidFill>
                  <a:schemeClr val="tx1"/>
                </a:solidFill>
                <a:latin typeface="CiscoSansTT ExtraLight" panose="020B0303020201020303" pitchFamily="34" charset="0"/>
                <a:ea typeface="Helvetica Neue Light"/>
                <a:cs typeface="CiscoSansTT ExtraLight" panose="020B0303020201020303" pitchFamily="34" charset="0"/>
                <a:sym typeface="Helvetica Neue Light"/>
              </a:rPr>
              <a:t> </a:t>
            </a:r>
            <a:r>
              <a:rPr lang="en-US" sz="1200" err="1">
                <a:solidFill>
                  <a:schemeClr val="tx1"/>
                </a:solidFill>
                <a:latin typeface="CiscoSansTT ExtraLight" panose="020B0303020201020303" pitchFamily="34" charset="0"/>
                <a:ea typeface="Helvetica Neue Light"/>
                <a:cs typeface="CiscoSansTT ExtraLight" panose="020B0303020201020303" pitchFamily="34" charset="0"/>
                <a:sym typeface="Helvetica Neue Light"/>
              </a:rPr>
              <a:t>consectetur</a:t>
            </a:r>
            <a:r>
              <a:rPr lang="en-US" sz="1200">
                <a:solidFill>
                  <a:schemeClr val="tx1"/>
                </a:solidFill>
                <a:latin typeface="CiscoSansTT ExtraLight" panose="020B0303020201020303" pitchFamily="34" charset="0"/>
                <a:ea typeface="Helvetica Neue Light"/>
                <a:cs typeface="CiscoSansTT ExtraLight" panose="020B0303020201020303" pitchFamily="34" charset="0"/>
                <a:sym typeface="Helvetica Neue Light"/>
              </a:rPr>
              <a:t> </a:t>
            </a:r>
            <a:r>
              <a:rPr lang="en-US" sz="1200" err="1">
                <a:solidFill>
                  <a:schemeClr val="tx1"/>
                </a:solidFill>
                <a:latin typeface="CiscoSansTT ExtraLight" panose="020B0303020201020303" pitchFamily="34" charset="0"/>
                <a:ea typeface="Helvetica Neue Light"/>
                <a:cs typeface="CiscoSansTT ExtraLight" panose="020B0303020201020303" pitchFamily="34" charset="0"/>
                <a:sym typeface="Helvetica Neue Light"/>
              </a:rPr>
              <a:t>adipiscing</a:t>
            </a:r>
            <a:r>
              <a:rPr lang="en-US" sz="1200">
                <a:solidFill>
                  <a:schemeClr val="tx1"/>
                </a:solidFill>
                <a:latin typeface="CiscoSansTT ExtraLight" panose="020B0303020201020303" pitchFamily="34" charset="0"/>
                <a:ea typeface="Helvetica Neue Light"/>
                <a:cs typeface="CiscoSansTT ExtraLight" panose="020B0303020201020303" pitchFamily="34" charset="0"/>
                <a:sym typeface="Helvetica Neue Light"/>
              </a:rPr>
              <a:t> </a:t>
            </a:r>
            <a:r>
              <a:rPr lang="en-US" sz="1200" err="1">
                <a:solidFill>
                  <a:schemeClr val="tx1"/>
                </a:solidFill>
                <a:latin typeface="CiscoSansTT ExtraLight" panose="020B0303020201020303" pitchFamily="34" charset="0"/>
                <a:ea typeface="Helvetica Neue Light"/>
                <a:cs typeface="CiscoSansTT ExtraLight" panose="020B0303020201020303" pitchFamily="34" charset="0"/>
                <a:sym typeface="Helvetica Neue Light"/>
              </a:rPr>
              <a:t>elit</a:t>
            </a:r>
            <a:endParaRPr lang="en-US" sz="1200">
              <a:solidFill>
                <a:schemeClr val="tx1"/>
              </a:solidFill>
              <a:latin typeface="CiscoSansTT ExtraLight" panose="020B0303020201020303" pitchFamily="34" charset="0"/>
              <a:ea typeface="Helvetica Neue Light"/>
              <a:cs typeface="CiscoSansTT ExtraLight" panose="020B0303020201020303" pitchFamily="34" charset="0"/>
              <a:sym typeface="Helvetica Neue Light"/>
            </a:endParaRP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lang="en-US" sz="1200">
              <a:solidFill>
                <a:schemeClr val="tx1"/>
              </a:solidFill>
              <a:latin typeface="CiscoSansTT ExtraLight" panose="020B0303020201020303" pitchFamily="34" charset="0"/>
              <a:ea typeface="Helvetica Neue Light"/>
              <a:cs typeface="CiscoSansTT ExtraLight" panose="020B0303020201020303" pitchFamily="34" charset="0"/>
              <a:sym typeface="Helvetica Neue Light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B2D0F69-DC62-4D67-8A64-70C1D1EC982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1200" y="2070099"/>
            <a:ext cx="4318000" cy="1287516"/>
          </a:xfrm>
        </p:spPr>
        <p:txBody>
          <a:bodyPr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21" name="Google Shape;1229;p213">
            <a:extLst>
              <a:ext uri="{FF2B5EF4-FFF2-40B4-BE49-F238E27FC236}">
                <a16:creationId xmlns:a16="http://schemas.microsoft.com/office/drawing/2014/main" id="{CEA0F091-302A-4927-A8DD-577AC767374D}"/>
              </a:ext>
            </a:extLst>
          </p:cNvPr>
          <p:cNvCxnSpPr/>
          <p:nvPr userDrawn="1"/>
        </p:nvCxnSpPr>
        <p:spPr>
          <a:xfrm>
            <a:off x="6504859" y="4585269"/>
            <a:ext cx="638000" cy="0"/>
          </a:xfrm>
          <a:prstGeom prst="straightConnector1">
            <a:avLst/>
          </a:prstGeom>
          <a:noFill/>
          <a:ln w="28575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</p:cxnSp>
      <p:cxnSp>
        <p:nvCxnSpPr>
          <p:cNvPr id="22" name="Google Shape;1238;p213">
            <a:extLst>
              <a:ext uri="{FF2B5EF4-FFF2-40B4-BE49-F238E27FC236}">
                <a16:creationId xmlns:a16="http://schemas.microsoft.com/office/drawing/2014/main" id="{A868F961-DC9F-4B48-8F97-A1686F674246}"/>
              </a:ext>
            </a:extLst>
          </p:cNvPr>
          <p:cNvCxnSpPr/>
          <p:nvPr userDrawn="1"/>
        </p:nvCxnSpPr>
        <p:spPr>
          <a:xfrm>
            <a:off x="9338113" y="4585269"/>
            <a:ext cx="638000" cy="0"/>
          </a:xfrm>
          <a:prstGeom prst="straightConnector1">
            <a:avLst/>
          </a:prstGeom>
          <a:noFill/>
          <a:ln w="28575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23" name="Text Placeholder 33">
            <a:extLst>
              <a:ext uri="{FF2B5EF4-FFF2-40B4-BE49-F238E27FC236}">
                <a16:creationId xmlns:a16="http://schemas.microsoft.com/office/drawing/2014/main" id="{83E8820D-8E81-4A56-9485-BB161CE50651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402624" y="4735109"/>
            <a:ext cx="1974851" cy="383116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b="1" i="0">
                <a:solidFill>
                  <a:schemeClr val="tx1"/>
                </a:solidFill>
                <a:latin typeface="CiscoSansTT" panose="020B0503020201020303" pitchFamily="34" charset="0"/>
                <a:cs typeface="CiscoSansTT" panose="020B0503020201020303" pitchFamily="34" charset="0"/>
              </a:defRPr>
            </a:lvl1pPr>
          </a:lstStyle>
          <a:p>
            <a:pPr lvl="0"/>
            <a:r>
              <a:rPr lang="en-GB"/>
              <a:t>Lorem</a:t>
            </a:r>
            <a:endParaRPr lang="en-US"/>
          </a:p>
        </p:txBody>
      </p:sp>
      <p:sp>
        <p:nvSpPr>
          <p:cNvPr id="24" name="Text Placeholder 33">
            <a:extLst>
              <a:ext uri="{FF2B5EF4-FFF2-40B4-BE49-F238E27FC236}">
                <a16:creationId xmlns:a16="http://schemas.microsoft.com/office/drawing/2014/main" id="{964F4B52-8FE5-47F3-A1CA-2A5857DF7364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9258924" y="4729754"/>
            <a:ext cx="1974851" cy="383116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b="1" i="0">
                <a:solidFill>
                  <a:schemeClr val="tx1"/>
                </a:solidFill>
                <a:latin typeface="CiscoSansTT" panose="020B0503020201020303" pitchFamily="34" charset="0"/>
                <a:cs typeface="CiscoSansTT" panose="020B0503020201020303" pitchFamily="34" charset="0"/>
              </a:defRPr>
            </a:lvl1pPr>
          </a:lstStyle>
          <a:p>
            <a:pPr lvl="0"/>
            <a:r>
              <a:rPr lang="en-GB"/>
              <a:t>Lorem</a:t>
            </a:r>
            <a:endParaRPr lang="en-US"/>
          </a:p>
        </p:txBody>
      </p:sp>
      <p:sp>
        <p:nvSpPr>
          <p:cNvPr id="25" name="Text Placeholder 39">
            <a:extLst>
              <a:ext uri="{FF2B5EF4-FFF2-40B4-BE49-F238E27FC236}">
                <a16:creationId xmlns:a16="http://schemas.microsoft.com/office/drawing/2014/main" id="{0E564191-D8DF-4C58-BD72-CD5A8FC8508D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399194" y="5140907"/>
            <a:ext cx="1974557" cy="757767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 rtl="0">
              <a:spcBef>
                <a:spcPts val="0"/>
              </a:spcBef>
              <a:spcAft>
                <a:spcPts val="0"/>
              </a:spcAft>
              <a:buNone/>
              <a:defRPr sz="1200" b="0" i="0">
                <a:solidFill>
                  <a:schemeClr val="tx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defRPr>
            </a:lvl1pPr>
            <a:lvl2pPr>
              <a:defRPr sz="1200" b="0" i="0">
                <a:solidFill>
                  <a:schemeClr val="tx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defRPr>
            </a:lvl2pPr>
            <a:lvl3pPr>
              <a:defRPr sz="1200" b="0" i="0">
                <a:solidFill>
                  <a:schemeClr val="tx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defRPr>
            </a:lvl3pPr>
            <a:lvl4pPr>
              <a:defRPr sz="1200" b="0" i="0">
                <a:solidFill>
                  <a:schemeClr val="tx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defRPr>
            </a:lvl4pPr>
            <a:lvl5pPr>
              <a:defRPr sz="1200" b="0" i="0">
                <a:solidFill>
                  <a:schemeClr val="tx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defRPr>
            </a:lvl5pPr>
          </a:lstStyle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200">
                <a:solidFill>
                  <a:schemeClr val="tx1"/>
                </a:solidFill>
                <a:latin typeface="CiscoSansTT ExtraLight" panose="020B0303020201020303" pitchFamily="34" charset="0"/>
                <a:ea typeface="Helvetica Neue Light"/>
                <a:cs typeface="CiscoSansTT ExtraLight" panose="020B0303020201020303" pitchFamily="34" charset="0"/>
                <a:sym typeface="Helvetica Neue Light"/>
              </a:rPr>
              <a:t>Lorem ipsum dolor sit </a:t>
            </a:r>
            <a:r>
              <a:rPr lang="en-US" sz="1200" err="1">
                <a:solidFill>
                  <a:schemeClr val="tx1"/>
                </a:solidFill>
                <a:latin typeface="CiscoSansTT ExtraLight" panose="020B0303020201020303" pitchFamily="34" charset="0"/>
                <a:ea typeface="Helvetica Neue Light"/>
                <a:cs typeface="CiscoSansTT ExtraLight" panose="020B0303020201020303" pitchFamily="34" charset="0"/>
                <a:sym typeface="Helvetica Neue Light"/>
              </a:rPr>
              <a:t>amet</a:t>
            </a:r>
            <a:r>
              <a:rPr lang="en-US" sz="1200">
                <a:solidFill>
                  <a:schemeClr val="tx1"/>
                </a:solidFill>
                <a:latin typeface="CiscoSansTT ExtraLight" panose="020B0303020201020303" pitchFamily="34" charset="0"/>
                <a:ea typeface="Helvetica Neue Light"/>
                <a:cs typeface="CiscoSansTT ExtraLight" panose="020B0303020201020303" pitchFamily="34" charset="0"/>
                <a:sym typeface="Helvetica Neue Light"/>
              </a:rPr>
              <a:t> </a:t>
            </a:r>
            <a:r>
              <a:rPr lang="en-US" sz="1200" err="1">
                <a:solidFill>
                  <a:schemeClr val="tx1"/>
                </a:solidFill>
                <a:latin typeface="CiscoSansTT ExtraLight" panose="020B0303020201020303" pitchFamily="34" charset="0"/>
                <a:ea typeface="Helvetica Neue Light"/>
                <a:cs typeface="CiscoSansTT ExtraLight" panose="020B0303020201020303" pitchFamily="34" charset="0"/>
                <a:sym typeface="Helvetica Neue Light"/>
              </a:rPr>
              <a:t>consectetur</a:t>
            </a:r>
            <a:r>
              <a:rPr lang="en-US" sz="1200">
                <a:solidFill>
                  <a:schemeClr val="tx1"/>
                </a:solidFill>
                <a:latin typeface="CiscoSansTT ExtraLight" panose="020B0303020201020303" pitchFamily="34" charset="0"/>
                <a:ea typeface="Helvetica Neue Light"/>
                <a:cs typeface="CiscoSansTT ExtraLight" panose="020B0303020201020303" pitchFamily="34" charset="0"/>
                <a:sym typeface="Helvetica Neue Light"/>
              </a:rPr>
              <a:t> </a:t>
            </a:r>
            <a:r>
              <a:rPr lang="en-US" sz="1200" err="1">
                <a:solidFill>
                  <a:schemeClr val="tx1"/>
                </a:solidFill>
                <a:latin typeface="CiscoSansTT ExtraLight" panose="020B0303020201020303" pitchFamily="34" charset="0"/>
                <a:ea typeface="Helvetica Neue Light"/>
                <a:cs typeface="CiscoSansTT ExtraLight" panose="020B0303020201020303" pitchFamily="34" charset="0"/>
                <a:sym typeface="Helvetica Neue Light"/>
              </a:rPr>
              <a:t>adipiscing</a:t>
            </a:r>
            <a:r>
              <a:rPr lang="en-US" sz="1200">
                <a:solidFill>
                  <a:schemeClr val="tx1"/>
                </a:solidFill>
                <a:latin typeface="CiscoSansTT ExtraLight" panose="020B0303020201020303" pitchFamily="34" charset="0"/>
                <a:ea typeface="Helvetica Neue Light"/>
                <a:cs typeface="CiscoSansTT ExtraLight" panose="020B0303020201020303" pitchFamily="34" charset="0"/>
                <a:sym typeface="Helvetica Neue Light"/>
              </a:rPr>
              <a:t> </a:t>
            </a:r>
            <a:r>
              <a:rPr lang="en-US" sz="1200" err="1">
                <a:solidFill>
                  <a:schemeClr val="tx1"/>
                </a:solidFill>
                <a:latin typeface="CiscoSansTT ExtraLight" panose="020B0303020201020303" pitchFamily="34" charset="0"/>
                <a:ea typeface="Helvetica Neue Light"/>
                <a:cs typeface="CiscoSansTT ExtraLight" panose="020B0303020201020303" pitchFamily="34" charset="0"/>
                <a:sym typeface="Helvetica Neue Light"/>
              </a:rPr>
              <a:t>elit</a:t>
            </a:r>
            <a:endParaRPr lang="en-US" sz="1200">
              <a:solidFill>
                <a:schemeClr val="tx1"/>
              </a:solidFill>
              <a:latin typeface="CiscoSansTT ExtraLight" panose="020B0303020201020303" pitchFamily="34" charset="0"/>
              <a:ea typeface="Helvetica Neue Light"/>
              <a:cs typeface="CiscoSansTT ExtraLight" panose="020B0303020201020303" pitchFamily="34" charset="0"/>
              <a:sym typeface="Helvetica Neue Light"/>
            </a:endParaRP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lang="en-US" sz="1200">
              <a:solidFill>
                <a:schemeClr val="tx1"/>
              </a:solidFill>
              <a:latin typeface="CiscoSansTT ExtraLight" panose="020B0303020201020303" pitchFamily="34" charset="0"/>
              <a:ea typeface="Helvetica Neue Light"/>
              <a:cs typeface="CiscoSansTT ExtraLight" panose="020B0303020201020303" pitchFamily="34" charset="0"/>
              <a:sym typeface="Helvetica Neue Light"/>
            </a:endParaRPr>
          </a:p>
        </p:txBody>
      </p:sp>
      <p:sp>
        <p:nvSpPr>
          <p:cNvPr id="26" name="Text Placeholder 39">
            <a:extLst>
              <a:ext uri="{FF2B5EF4-FFF2-40B4-BE49-F238E27FC236}">
                <a16:creationId xmlns:a16="http://schemas.microsoft.com/office/drawing/2014/main" id="{DFF30AC0-C20A-4C35-85FF-B495370CD62F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9255200" y="5139995"/>
            <a:ext cx="1974557" cy="757767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 rtl="0">
              <a:spcBef>
                <a:spcPts val="0"/>
              </a:spcBef>
              <a:spcAft>
                <a:spcPts val="0"/>
              </a:spcAft>
              <a:buNone/>
              <a:defRPr sz="1200" b="0" i="0">
                <a:solidFill>
                  <a:schemeClr val="tx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defRPr>
            </a:lvl1pPr>
            <a:lvl2pPr>
              <a:defRPr sz="1200" b="0" i="0">
                <a:solidFill>
                  <a:schemeClr val="tx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defRPr>
            </a:lvl2pPr>
            <a:lvl3pPr>
              <a:defRPr sz="1200" b="0" i="0">
                <a:solidFill>
                  <a:schemeClr val="tx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defRPr>
            </a:lvl3pPr>
            <a:lvl4pPr>
              <a:defRPr sz="1200" b="0" i="0">
                <a:solidFill>
                  <a:schemeClr val="tx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defRPr>
            </a:lvl4pPr>
            <a:lvl5pPr>
              <a:defRPr sz="1200" b="0" i="0">
                <a:solidFill>
                  <a:schemeClr val="tx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defRPr>
            </a:lvl5pPr>
          </a:lstStyle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200">
                <a:solidFill>
                  <a:schemeClr val="tx1"/>
                </a:solidFill>
                <a:latin typeface="CiscoSansTT ExtraLight" panose="020B0303020201020303" pitchFamily="34" charset="0"/>
                <a:ea typeface="Helvetica Neue Light"/>
                <a:cs typeface="CiscoSansTT ExtraLight" panose="020B0303020201020303" pitchFamily="34" charset="0"/>
                <a:sym typeface="Helvetica Neue Light"/>
              </a:rPr>
              <a:t>Lorem ipsum dolor sit </a:t>
            </a:r>
            <a:r>
              <a:rPr lang="en-US" sz="1200" err="1">
                <a:solidFill>
                  <a:schemeClr val="tx1"/>
                </a:solidFill>
                <a:latin typeface="CiscoSansTT ExtraLight" panose="020B0303020201020303" pitchFamily="34" charset="0"/>
                <a:ea typeface="Helvetica Neue Light"/>
                <a:cs typeface="CiscoSansTT ExtraLight" panose="020B0303020201020303" pitchFamily="34" charset="0"/>
                <a:sym typeface="Helvetica Neue Light"/>
              </a:rPr>
              <a:t>amet</a:t>
            </a:r>
            <a:r>
              <a:rPr lang="en-US" sz="1200">
                <a:solidFill>
                  <a:schemeClr val="tx1"/>
                </a:solidFill>
                <a:latin typeface="CiscoSansTT ExtraLight" panose="020B0303020201020303" pitchFamily="34" charset="0"/>
                <a:ea typeface="Helvetica Neue Light"/>
                <a:cs typeface="CiscoSansTT ExtraLight" panose="020B0303020201020303" pitchFamily="34" charset="0"/>
                <a:sym typeface="Helvetica Neue Light"/>
              </a:rPr>
              <a:t> </a:t>
            </a:r>
            <a:r>
              <a:rPr lang="en-US" sz="1200" err="1">
                <a:solidFill>
                  <a:schemeClr val="tx1"/>
                </a:solidFill>
                <a:latin typeface="CiscoSansTT ExtraLight" panose="020B0303020201020303" pitchFamily="34" charset="0"/>
                <a:ea typeface="Helvetica Neue Light"/>
                <a:cs typeface="CiscoSansTT ExtraLight" panose="020B0303020201020303" pitchFamily="34" charset="0"/>
                <a:sym typeface="Helvetica Neue Light"/>
              </a:rPr>
              <a:t>consectetur</a:t>
            </a:r>
            <a:r>
              <a:rPr lang="en-US" sz="1200">
                <a:solidFill>
                  <a:schemeClr val="tx1"/>
                </a:solidFill>
                <a:latin typeface="CiscoSansTT ExtraLight" panose="020B0303020201020303" pitchFamily="34" charset="0"/>
                <a:ea typeface="Helvetica Neue Light"/>
                <a:cs typeface="CiscoSansTT ExtraLight" panose="020B0303020201020303" pitchFamily="34" charset="0"/>
                <a:sym typeface="Helvetica Neue Light"/>
              </a:rPr>
              <a:t> </a:t>
            </a:r>
            <a:r>
              <a:rPr lang="en-US" sz="1200" err="1">
                <a:solidFill>
                  <a:schemeClr val="tx1"/>
                </a:solidFill>
                <a:latin typeface="CiscoSansTT ExtraLight" panose="020B0303020201020303" pitchFamily="34" charset="0"/>
                <a:ea typeface="Helvetica Neue Light"/>
                <a:cs typeface="CiscoSansTT ExtraLight" panose="020B0303020201020303" pitchFamily="34" charset="0"/>
                <a:sym typeface="Helvetica Neue Light"/>
              </a:rPr>
              <a:t>adipiscing</a:t>
            </a:r>
            <a:r>
              <a:rPr lang="en-US" sz="1200">
                <a:solidFill>
                  <a:schemeClr val="tx1"/>
                </a:solidFill>
                <a:latin typeface="CiscoSansTT ExtraLight" panose="020B0303020201020303" pitchFamily="34" charset="0"/>
                <a:ea typeface="Helvetica Neue Light"/>
                <a:cs typeface="CiscoSansTT ExtraLight" panose="020B0303020201020303" pitchFamily="34" charset="0"/>
                <a:sym typeface="Helvetica Neue Light"/>
              </a:rPr>
              <a:t> </a:t>
            </a:r>
            <a:r>
              <a:rPr lang="en-US" sz="1200" err="1">
                <a:solidFill>
                  <a:schemeClr val="tx1"/>
                </a:solidFill>
                <a:latin typeface="CiscoSansTT ExtraLight" panose="020B0303020201020303" pitchFamily="34" charset="0"/>
                <a:ea typeface="Helvetica Neue Light"/>
                <a:cs typeface="CiscoSansTT ExtraLight" panose="020B0303020201020303" pitchFamily="34" charset="0"/>
                <a:sym typeface="Helvetica Neue Light"/>
              </a:rPr>
              <a:t>elit</a:t>
            </a:r>
            <a:endParaRPr lang="en-US" sz="1200">
              <a:solidFill>
                <a:schemeClr val="tx1"/>
              </a:solidFill>
              <a:latin typeface="CiscoSansTT ExtraLight" panose="020B0303020201020303" pitchFamily="34" charset="0"/>
              <a:ea typeface="Helvetica Neue Light"/>
              <a:cs typeface="CiscoSansTT ExtraLight" panose="020B0303020201020303" pitchFamily="34" charset="0"/>
              <a:sym typeface="Helvetica Neue Light"/>
            </a:endParaRP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lang="en-US" sz="1200">
              <a:solidFill>
                <a:schemeClr val="tx1"/>
              </a:solidFill>
              <a:latin typeface="CiscoSansTT ExtraLight" panose="020B0303020201020303" pitchFamily="34" charset="0"/>
              <a:ea typeface="Helvetica Neue Light"/>
              <a:cs typeface="CiscoSansTT ExtraLight" panose="020B0303020201020303" pitchFamily="34" charset="0"/>
              <a:sym typeface="Helvetica Neue Light"/>
            </a:endParaRPr>
          </a:p>
        </p:txBody>
      </p:sp>
    </p:spTree>
    <p:extLst>
      <p:ext uri="{BB962C8B-B14F-4D97-AF65-F5344CB8AC3E}">
        <p14:creationId xmlns:p14="http://schemas.microsoft.com/office/powerpoint/2010/main" val="3654863401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Closing Slide" preserve="1">
  <p:cSld name="Closing Slide">
    <p:bg>
      <p:bgRef idx="1001">
        <a:schemeClr val="bg2"/>
      </p:bgRef>
    </p:bg>
    <p:spTree>
      <p:nvGrpSpPr>
        <p:cNvPr id="1" name="Shape 17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>
            <a:extLst>
              <a:ext uri="{FF2B5EF4-FFF2-40B4-BE49-F238E27FC236}">
                <a16:creationId xmlns:a16="http://schemas.microsoft.com/office/drawing/2014/main" id="{F2E8120F-5B0E-4DE5-B130-9C49D2B24A32}"/>
              </a:ext>
            </a:extLst>
          </p:cNvPr>
          <p:cNvGrpSpPr/>
          <p:nvPr userDrawn="1"/>
        </p:nvGrpSpPr>
        <p:grpSpPr>
          <a:xfrm>
            <a:off x="3522511" y="3058751"/>
            <a:ext cx="5146980" cy="724599"/>
            <a:chOff x="2641883" y="2294063"/>
            <a:chExt cx="3860235" cy="543449"/>
          </a:xfrm>
        </p:grpSpPr>
        <p:grpSp>
          <p:nvGrpSpPr>
            <p:cNvPr id="5" name="Graphic 29">
              <a:extLst>
                <a:ext uri="{FF2B5EF4-FFF2-40B4-BE49-F238E27FC236}">
                  <a16:creationId xmlns:a16="http://schemas.microsoft.com/office/drawing/2014/main" id="{0A172D14-3CBF-4949-9AE4-311DECBD8083}"/>
                </a:ext>
              </a:extLst>
            </p:cNvPr>
            <p:cNvGrpSpPr/>
            <p:nvPr userDrawn="1"/>
          </p:nvGrpSpPr>
          <p:grpSpPr>
            <a:xfrm>
              <a:off x="3586197" y="2294063"/>
              <a:ext cx="2915921" cy="543449"/>
              <a:chOff x="4208467" y="3085570"/>
              <a:chExt cx="4752975" cy="885825"/>
            </a:xfrm>
            <a:solidFill>
              <a:srgbClr val="FFFFFF"/>
            </a:solidFill>
          </p:grpSpPr>
          <p:sp>
            <p:nvSpPr>
              <p:cNvPr id="7" name="Freeform: Shape 6">
                <a:extLst>
                  <a:ext uri="{FF2B5EF4-FFF2-40B4-BE49-F238E27FC236}">
                    <a16:creationId xmlns:a16="http://schemas.microsoft.com/office/drawing/2014/main" id="{14114964-F8BB-4F60-8206-4F087B8FA367}"/>
                  </a:ext>
                </a:extLst>
              </p:cNvPr>
              <p:cNvSpPr/>
              <p:nvPr/>
            </p:nvSpPr>
            <p:spPr>
              <a:xfrm>
                <a:off x="4215135" y="3085570"/>
                <a:ext cx="285750" cy="342900"/>
              </a:xfrm>
              <a:custGeom>
                <a:avLst/>
                <a:gdLst>
                  <a:gd name="connsiteX0" fmla="*/ 149542 w 285750"/>
                  <a:gd name="connsiteY0" fmla="*/ 322898 h 342900"/>
                  <a:gd name="connsiteX1" fmla="*/ 227647 w 285750"/>
                  <a:gd name="connsiteY1" fmla="*/ 294323 h 342900"/>
                  <a:gd name="connsiteX2" fmla="*/ 259080 w 285750"/>
                  <a:gd name="connsiteY2" fmla="*/ 228600 h 342900"/>
                  <a:gd name="connsiteX3" fmla="*/ 284797 w 285750"/>
                  <a:gd name="connsiteY3" fmla="*/ 228600 h 342900"/>
                  <a:gd name="connsiteX4" fmla="*/ 239077 w 285750"/>
                  <a:gd name="connsiteY4" fmla="*/ 315278 h 342900"/>
                  <a:gd name="connsiteX5" fmla="*/ 149542 w 285750"/>
                  <a:gd name="connsiteY5" fmla="*/ 345758 h 342900"/>
                  <a:gd name="connsiteX6" fmla="*/ 36195 w 285750"/>
                  <a:gd name="connsiteY6" fmla="*/ 293370 h 342900"/>
                  <a:gd name="connsiteX7" fmla="*/ 0 w 285750"/>
                  <a:gd name="connsiteY7" fmla="*/ 175260 h 342900"/>
                  <a:gd name="connsiteX8" fmla="*/ 48577 w 285750"/>
                  <a:gd name="connsiteY8" fmla="*/ 39053 h 342900"/>
                  <a:gd name="connsiteX9" fmla="*/ 150495 w 285750"/>
                  <a:gd name="connsiteY9" fmla="*/ 0 h 342900"/>
                  <a:gd name="connsiteX10" fmla="*/ 246697 w 285750"/>
                  <a:gd name="connsiteY10" fmla="*/ 32385 h 342900"/>
                  <a:gd name="connsiteX11" fmla="*/ 286702 w 285750"/>
                  <a:gd name="connsiteY11" fmla="*/ 106680 h 342900"/>
                  <a:gd name="connsiteX12" fmla="*/ 260985 w 285750"/>
                  <a:gd name="connsiteY12" fmla="*/ 106680 h 342900"/>
                  <a:gd name="connsiteX13" fmla="*/ 219075 w 285750"/>
                  <a:gd name="connsiteY13" fmla="*/ 40958 h 342900"/>
                  <a:gd name="connsiteX14" fmla="*/ 150495 w 285750"/>
                  <a:gd name="connsiteY14" fmla="*/ 21908 h 342900"/>
                  <a:gd name="connsiteX15" fmla="*/ 58102 w 285750"/>
                  <a:gd name="connsiteY15" fmla="*/ 66675 h 342900"/>
                  <a:gd name="connsiteX16" fmla="*/ 27622 w 285750"/>
                  <a:gd name="connsiteY16" fmla="*/ 175260 h 342900"/>
                  <a:gd name="connsiteX17" fmla="*/ 67627 w 285750"/>
                  <a:gd name="connsiteY17" fmla="*/ 288608 h 342900"/>
                  <a:gd name="connsiteX18" fmla="*/ 149542 w 285750"/>
                  <a:gd name="connsiteY18" fmla="*/ 322898 h 3429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285750" h="342900">
                    <a:moveTo>
                      <a:pt x="149542" y="322898"/>
                    </a:moveTo>
                    <a:cubicBezTo>
                      <a:pt x="181927" y="322898"/>
                      <a:pt x="207645" y="313373"/>
                      <a:pt x="227647" y="294323"/>
                    </a:cubicBezTo>
                    <a:cubicBezTo>
                      <a:pt x="245745" y="277178"/>
                      <a:pt x="256222" y="255270"/>
                      <a:pt x="259080" y="228600"/>
                    </a:cubicBezTo>
                    <a:lnTo>
                      <a:pt x="284797" y="228600"/>
                    </a:lnTo>
                    <a:cubicBezTo>
                      <a:pt x="280988" y="264795"/>
                      <a:pt x="265747" y="293370"/>
                      <a:pt x="239077" y="315278"/>
                    </a:cubicBezTo>
                    <a:cubicBezTo>
                      <a:pt x="214313" y="335280"/>
                      <a:pt x="184785" y="345758"/>
                      <a:pt x="149542" y="345758"/>
                    </a:cubicBezTo>
                    <a:cubicBezTo>
                      <a:pt x="100965" y="345758"/>
                      <a:pt x="63817" y="328613"/>
                      <a:pt x="36195" y="293370"/>
                    </a:cubicBezTo>
                    <a:cubicBezTo>
                      <a:pt x="11430" y="262890"/>
                      <a:pt x="0" y="223838"/>
                      <a:pt x="0" y="175260"/>
                    </a:cubicBezTo>
                    <a:cubicBezTo>
                      <a:pt x="0" y="116205"/>
                      <a:pt x="16192" y="70485"/>
                      <a:pt x="48577" y="39053"/>
                    </a:cubicBezTo>
                    <a:cubicBezTo>
                      <a:pt x="75247" y="13335"/>
                      <a:pt x="109538" y="0"/>
                      <a:pt x="150495" y="0"/>
                    </a:cubicBezTo>
                    <a:cubicBezTo>
                      <a:pt x="189547" y="0"/>
                      <a:pt x="220980" y="10478"/>
                      <a:pt x="246697" y="32385"/>
                    </a:cubicBezTo>
                    <a:cubicBezTo>
                      <a:pt x="268605" y="51435"/>
                      <a:pt x="281940" y="76200"/>
                      <a:pt x="286702" y="106680"/>
                    </a:cubicBezTo>
                    <a:lnTo>
                      <a:pt x="260985" y="106680"/>
                    </a:lnTo>
                    <a:cubicBezTo>
                      <a:pt x="255270" y="77153"/>
                      <a:pt x="241935" y="55245"/>
                      <a:pt x="219075" y="40958"/>
                    </a:cubicBezTo>
                    <a:cubicBezTo>
                      <a:pt x="200977" y="28575"/>
                      <a:pt x="178117" y="21908"/>
                      <a:pt x="150495" y="21908"/>
                    </a:cubicBezTo>
                    <a:cubicBezTo>
                      <a:pt x="111442" y="21908"/>
                      <a:pt x="80963" y="37148"/>
                      <a:pt x="58102" y="66675"/>
                    </a:cubicBezTo>
                    <a:cubicBezTo>
                      <a:pt x="37147" y="93345"/>
                      <a:pt x="27622" y="129540"/>
                      <a:pt x="27622" y="175260"/>
                    </a:cubicBezTo>
                    <a:cubicBezTo>
                      <a:pt x="27622" y="223838"/>
                      <a:pt x="40958" y="260985"/>
                      <a:pt x="67627" y="288608"/>
                    </a:cubicBezTo>
                    <a:cubicBezTo>
                      <a:pt x="87630" y="311468"/>
                      <a:pt x="115252" y="322898"/>
                      <a:pt x="149542" y="322898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2489">
                  <a:latin typeface="CiscoSansTT Light" panose="020B0503020201020303" pitchFamily="34" charset="0"/>
                  <a:cs typeface="CiscoSansTT Light" panose="020B0503020201020303" pitchFamily="34" charset="0"/>
                </a:endParaRPr>
              </a:p>
            </p:txBody>
          </p:sp>
          <p:sp>
            <p:nvSpPr>
              <p:cNvPr id="8" name="Freeform: Shape 7">
                <a:extLst>
                  <a:ext uri="{FF2B5EF4-FFF2-40B4-BE49-F238E27FC236}">
                    <a16:creationId xmlns:a16="http://schemas.microsoft.com/office/drawing/2014/main" id="{CCC4FD87-FD89-4B76-9ACC-3A4FB1A981E4}"/>
                  </a:ext>
                </a:extLst>
              </p:cNvPr>
              <p:cNvSpPr/>
              <p:nvPr/>
            </p:nvSpPr>
            <p:spPr>
              <a:xfrm>
                <a:off x="4544699" y="3092237"/>
                <a:ext cx="28575" cy="323850"/>
              </a:xfrm>
              <a:custGeom>
                <a:avLst/>
                <a:gdLst>
                  <a:gd name="connsiteX0" fmla="*/ 29528 w 28575"/>
                  <a:gd name="connsiteY0" fmla="*/ 34290 h 323850"/>
                  <a:gd name="connsiteX1" fmla="*/ 0 w 28575"/>
                  <a:gd name="connsiteY1" fmla="*/ 34290 h 323850"/>
                  <a:gd name="connsiteX2" fmla="*/ 0 w 28575"/>
                  <a:gd name="connsiteY2" fmla="*/ 0 h 323850"/>
                  <a:gd name="connsiteX3" fmla="*/ 29528 w 28575"/>
                  <a:gd name="connsiteY3" fmla="*/ 0 h 323850"/>
                  <a:gd name="connsiteX4" fmla="*/ 29528 w 28575"/>
                  <a:gd name="connsiteY4" fmla="*/ 34290 h 323850"/>
                  <a:gd name="connsiteX5" fmla="*/ 27623 w 28575"/>
                  <a:gd name="connsiteY5" fmla="*/ 332423 h 323850"/>
                  <a:gd name="connsiteX6" fmla="*/ 2858 w 28575"/>
                  <a:gd name="connsiteY6" fmla="*/ 332423 h 323850"/>
                  <a:gd name="connsiteX7" fmla="*/ 2858 w 28575"/>
                  <a:gd name="connsiteY7" fmla="*/ 92393 h 323850"/>
                  <a:gd name="connsiteX8" fmla="*/ 27623 w 28575"/>
                  <a:gd name="connsiteY8" fmla="*/ 92393 h 323850"/>
                  <a:gd name="connsiteX9" fmla="*/ 27623 w 28575"/>
                  <a:gd name="connsiteY9" fmla="*/ 332423 h 3238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28575" h="323850">
                    <a:moveTo>
                      <a:pt x="29528" y="34290"/>
                    </a:moveTo>
                    <a:lnTo>
                      <a:pt x="0" y="34290"/>
                    </a:lnTo>
                    <a:lnTo>
                      <a:pt x="0" y="0"/>
                    </a:lnTo>
                    <a:lnTo>
                      <a:pt x="29528" y="0"/>
                    </a:lnTo>
                    <a:lnTo>
                      <a:pt x="29528" y="34290"/>
                    </a:lnTo>
                    <a:close/>
                    <a:moveTo>
                      <a:pt x="27623" y="332423"/>
                    </a:moveTo>
                    <a:lnTo>
                      <a:pt x="2858" y="332423"/>
                    </a:lnTo>
                    <a:lnTo>
                      <a:pt x="2858" y="92393"/>
                    </a:lnTo>
                    <a:lnTo>
                      <a:pt x="27623" y="92393"/>
                    </a:lnTo>
                    <a:lnTo>
                      <a:pt x="27623" y="332423"/>
                    </a:ln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2489">
                  <a:latin typeface="CiscoSansTT Light" panose="020B0503020201020303" pitchFamily="34" charset="0"/>
                  <a:cs typeface="CiscoSansTT Light" panose="020B0503020201020303" pitchFamily="34" charset="0"/>
                </a:endParaRPr>
              </a:p>
            </p:txBody>
          </p:sp>
          <p:sp>
            <p:nvSpPr>
              <p:cNvPr id="9" name="Freeform: Shape 8">
                <a:extLst>
                  <a:ext uri="{FF2B5EF4-FFF2-40B4-BE49-F238E27FC236}">
                    <a16:creationId xmlns:a16="http://schemas.microsoft.com/office/drawing/2014/main" id="{7B244809-8CCE-49C2-8048-F167F8AAB089}"/>
                  </a:ext>
                </a:extLst>
              </p:cNvPr>
              <p:cNvSpPr/>
              <p:nvPr/>
            </p:nvSpPr>
            <p:spPr>
              <a:xfrm>
                <a:off x="4616137" y="3177962"/>
                <a:ext cx="190500" cy="247650"/>
              </a:xfrm>
              <a:custGeom>
                <a:avLst/>
                <a:gdLst>
                  <a:gd name="connsiteX0" fmla="*/ 164783 w 190500"/>
                  <a:gd name="connsiteY0" fmla="*/ 183833 h 247650"/>
                  <a:gd name="connsiteX1" fmla="*/ 143828 w 190500"/>
                  <a:gd name="connsiteY1" fmla="*/ 147638 h 247650"/>
                  <a:gd name="connsiteX2" fmla="*/ 86678 w 190500"/>
                  <a:gd name="connsiteY2" fmla="*/ 130493 h 247650"/>
                  <a:gd name="connsiteX3" fmla="*/ 8573 w 190500"/>
                  <a:gd name="connsiteY3" fmla="*/ 63818 h 247650"/>
                  <a:gd name="connsiteX4" fmla="*/ 33338 w 190500"/>
                  <a:gd name="connsiteY4" fmla="*/ 16192 h 247650"/>
                  <a:gd name="connsiteX5" fmla="*/ 95250 w 190500"/>
                  <a:gd name="connsiteY5" fmla="*/ 0 h 247650"/>
                  <a:gd name="connsiteX6" fmla="*/ 160973 w 190500"/>
                  <a:gd name="connsiteY6" fmla="*/ 20003 h 247650"/>
                  <a:gd name="connsiteX7" fmla="*/ 188595 w 190500"/>
                  <a:gd name="connsiteY7" fmla="*/ 65723 h 247650"/>
                  <a:gd name="connsiteX8" fmla="*/ 162878 w 190500"/>
                  <a:gd name="connsiteY8" fmla="*/ 65723 h 247650"/>
                  <a:gd name="connsiteX9" fmla="*/ 139065 w 190500"/>
                  <a:gd name="connsiteY9" fmla="*/ 31433 h 247650"/>
                  <a:gd name="connsiteX10" fmla="*/ 94298 w 190500"/>
                  <a:gd name="connsiteY10" fmla="*/ 20003 h 247650"/>
                  <a:gd name="connsiteX11" fmla="*/ 46673 w 190500"/>
                  <a:gd name="connsiteY11" fmla="*/ 34290 h 247650"/>
                  <a:gd name="connsiteX12" fmla="*/ 33338 w 190500"/>
                  <a:gd name="connsiteY12" fmla="*/ 61913 h 247650"/>
                  <a:gd name="connsiteX13" fmla="*/ 47625 w 190500"/>
                  <a:gd name="connsiteY13" fmla="*/ 93345 h 247650"/>
                  <a:gd name="connsiteX14" fmla="*/ 100013 w 190500"/>
                  <a:gd name="connsiteY14" fmla="*/ 111443 h 247650"/>
                  <a:gd name="connsiteX15" fmla="*/ 171450 w 190500"/>
                  <a:gd name="connsiteY15" fmla="*/ 139065 h 247650"/>
                  <a:gd name="connsiteX16" fmla="*/ 190500 w 190500"/>
                  <a:gd name="connsiteY16" fmla="*/ 183833 h 247650"/>
                  <a:gd name="connsiteX17" fmla="*/ 161925 w 190500"/>
                  <a:gd name="connsiteY17" fmla="*/ 236220 h 247650"/>
                  <a:gd name="connsiteX18" fmla="*/ 96203 w 190500"/>
                  <a:gd name="connsiteY18" fmla="*/ 255270 h 247650"/>
                  <a:gd name="connsiteX19" fmla="*/ 25718 w 190500"/>
                  <a:gd name="connsiteY19" fmla="*/ 233363 h 247650"/>
                  <a:gd name="connsiteX20" fmla="*/ 0 w 190500"/>
                  <a:gd name="connsiteY20" fmla="*/ 184785 h 247650"/>
                  <a:gd name="connsiteX21" fmla="*/ 25718 w 190500"/>
                  <a:gd name="connsiteY21" fmla="*/ 184785 h 247650"/>
                  <a:gd name="connsiteX22" fmla="*/ 49530 w 190500"/>
                  <a:gd name="connsiteY22" fmla="*/ 222885 h 247650"/>
                  <a:gd name="connsiteX23" fmla="*/ 96203 w 190500"/>
                  <a:gd name="connsiteY23" fmla="*/ 235268 h 247650"/>
                  <a:gd name="connsiteX24" fmla="*/ 148590 w 190500"/>
                  <a:gd name="connsiteY24" fmla="*/ 218122 h 247650"/>
                  <a:gd name="connsiteX25" fmla="*/ 164783 w 190500"/>
                  <a:gd name="connsiteY25" fmla="*/ 183833 h 2476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</a:cxnLst>
                <a:rect l="l" t="t" r="r" b="b"/>
                <a:pathLst>
                  <a:path w="190500" h="247650">
                    <a:moveTo>
                      <a:pt x="164783" y="183833"/>
                    </a:moveTo>
                    <a:cubicBezTo>
                      <a:pt x="164783" y="167640"/>
                      <a:pt x="158115" y="156210"/>
                      <a:pt x="143828" y="147638"/>
                    </a:cubicBezTo>
                    <a:cubicBezTo>
                      <a:pt x="132398" y="140970"/>
                      <a:pt x="113348" y="135255"/>
                      <a:pt x="86678" y="130493"/>
                    </a:cubicBezTo>
                    <a:cubicBezTo>
                      <a:pt x="34290" y="121920"/>
                      <a:pt x="8573" y="99060"/>
                      <a:pt x="8573" y="63818"/>
                    </a:cubicBezTo>
                    <a:cubicBezTo>
                      <a:pt x="8573" y="43815"/>
                      <a:pt x="17145" y="27623"/>
                      <a:pt x="33338" y="16192"/>
                    </a:cubicBezTo>
                    <a:cubicBezTo>
                      <a:pt x="48578" y="5715"/>
                      <a:pt x="69533" y="0"/>
                      <a:pt x="95250" y="0"/>
                    </a:cubicBezTo>
                    <a:cubicBezTo>
                      <a:pt x="121920" y="0"/>
                      <a:pt x="143828" y="6667"/>
                      <a:pt x="160973" y="20003"/>
                    </a:cubicBezTo>
                    <a:cubicBezTo>
                      <a:pt x="176213" y="32385"/>
                      <a:pt x="185738" y="47625"/>
                      <a:pt x="188595" y="65723"/>
                    </a:cubicBezTo>
                    <a:lnTo>
                      <a:pt x="162878" y="65723"/>
                    </a:lnTo>
                    <a:cubicBezTo>
                      <a:pt x="160973" y="51435"/>
                      <a:pt x="152400" y="40005"/>
                      <a:pt x="139065" y="31433"/>
                    </a:cubicBezTo>
                    <a:cubicBezTo>
                      <a:pt x="126683" y="23813"/>
                      <a:pt x="111443" y="20003"/>
                      <a:pt x="94298" y="20003"/>
                    </a:cubicBezTo>
                    <a:cubicBezTo>
                      <a:pt x="73343" y="20003"/>
                      <a:pt x="57150" y="24765"/>
                      <a:pt x="46673" y="34290"/>
                    </a:cubicBezTo>
                    <a:cubicBezTo>
                      <a:pt x="38100" y="40958"/>
                      <a:pt x="33338" y="50483"/>
                      <a:pt x="33338" y="61913"/>
                    </a:cubicBezTo>
                    <a:cubicBezTo>
                      <a:pt x="33338" y="75248"/>
                      <a:pt x="38100" y="85725"/>
                      <a:pt x="47625" y="93345"/>
                    </a:cubicBezTo>
                    <a:cubicBezTo>
                      <a:pt x="57150" y="100965"/>
                      <a:pt x="75248" y="106680"/>
                      <a:pt x="100013" y="111443"/>
                    </a:cubicBezTo>
                    <a:cubicBezTo>
                      <a:pt x="133350" y="118110"/>
                      <a:pt x="157163" y="126683"/>
                      <a:pt x="171450" y="139065"/>
                    </a:cubicBezTo>
                    <a:cubicBezTo>
                      <a:pt x="183833" y="149543"/>
                      <a:pt x="190500" y="164783"/>
                      <a:pt x="190500" y="183833"/>
                    </a:cubicBezTo>
                    <a:cubicBezTo>
                      <a:pt x="190500" y="205740"/>
                      <a:pt x="180975" y="222885"/>
                      <a:pt x="161925" y="236220"/>
                    </a:cubicBezTo>
                    <a:cubicBezTo>
                      <a:pt x="144780" y="248603"/>
                      <a:pt x="122873" y="255270"/>
                      <a:pt x="96203" y="255270"/>
                    </a:cubicBezTo>
                    <a:cubicBezTo>
                      <a:pt x="66675" y="255270"/>
                      <a:pt x="42863" y="247650"/>
                      <a:pt x="25718" y="233363"/>
                    </a:cubicBezTo>
                    <a:cubicBezTo>
                      <a:pt x="11430" y="220980"/>
                      <a:pt x="2858" y="204788"/>
                      <a:pt x="0" y="184785"/>
                    </a:cubicBezTo>
                    <a:lnTo>
                      <a:pt x="25718" y="184785"/>
                    </a:lnTo>
                    <a:cubicBezTo>
                      <a:pt x="27623" y="200978"/>
                      <a:pt x="35243" y="214313"/>
                      <a:pt x="49530" y="222885"/>
                    </a:cubicBezTo>
                    <a:cubicBezTo>
                      <a:pt x="61913" y="230505"/>
                      <a:pt x="77153" y="235268"/>
                      <a:pt x="96203" y="235268"/>
                    </a:cubicBezTo>
                    <a:cubicBezTo>
                      <a:pt x="119063" y="235268"/>
                      <a:pt x="136208" y="229553"/>
                      <a:pt x="148590" y="218122"/>
                    </a:cubicBezTo>
                    <a:cubicBezTo>
                      <a:pt x="160020" y="206693"/>
                      <a:pt x="164783" y="196215"/>
                      <a:pt x="164783" y="183833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2489">
                  <a:latin typeface="CiscoSansTT Light" panose="020B0503020201020303" pitchFamily="34" charset="0"/>
                  <a:cs typeface="CiscoSansTT Light" panose="020B0503020201020303" pitchFamily="34" charset="0"/>
                </a:endParaRPr>
              </a:p>
            </p:txBody>
          </p:sp>
          <p:sp>
            <p:nvSpPr>
              <p:cNvPr id="10" name="Freeform: Shape 9">
                <a:extLst>
                  <a:ext uri="{FF2B5EF4-FFF2-40B4-BE49-F238E27FC236}">
                    <a16:creationId xmlns:a16="http://schemas.microsoft.com/office/drawing/2014/main" id="{C1A3968A-1BCA-4C5D-A55D-7F2B0758390C}"/>
                  </a:ext>
                </a:extLst>
              </p:cNvPr>
              <p:cNvSpPr/>
              <p:nvPr/>
            </p:nvSpPr>
            <p:spPr>
              <a:xfrm>
                <a:off x="4843785" y="3177010"/>
                <a:ext cx="200025" cy="247650"/>
              </a:xfrm>
              <a:custGeom>
                <a:avLst/>
                <a:gdLst>
                  <a:gd name="connsiteX0" fmla="*/ 179070 w 200025"/>
                  <a:gd name="connsiteY0" fmla="*/ 177165 h 247650"/>
                  <a:gd name="connsiteX1" fmla="*/ 205740 w 200025"/>
                  <a:gd name="connsiteY1" fmla="*/ 177165 h 247650"/>
                  <a:gd name="connsiteX2" fmla="*/ 169545 w 200025"/>
                  <a:gd name="connsiteY2" fmla="*/ 235267 h 247650"/>
                  <a:gd name="connsiteX3" fmla="*/ 106680 w 200025"/>
                  <a:gd name="connsiteY3" fmla="*/ 254317 h 247650"/>
                  <a:gd name="connsiteX4" fmla="*/ 27622 w 200025"/>
                  <a:gd name="connsiteY4" fmla="*/ 218123 h 247650"/>
                  <a:gd name="connsiteX5" fmla="*/ 0 w 200025"/>
                  <a:gd name="connsiteY5" fmla="*/ 129540 h 247650"/>
                  <a:gd name="connsiteX6" fmla="*/ 35242 w 200025"/>
                  <a:gd name="connsiteY6" fmla="*/ 28575 h 247650"/>
                  <a:gd name="connsiteX7" fmla="*/ 107633 w 200025"/>
                  <a:gd name="connsiteY7" fmla="*/ 0 h 247650"/>
                  <a:gd name="connsiteX8" fmla="*/ 176213 w 200025"/>
                  <a:gd name="connsiteY8" fmla="*/ 22860 h 247650"/>
                  <a:gd name="connsiteX9" fmla="*/ 205740 w 200025"/>
                  <a:gd name="connsiteY9" fmla="*/ 73342 h 247650"/>
                  <a:gd name="connsiteX10" fmla="*/ 178117 w 200025"/>
                  <a:gd name="connsiteY10" fmla="*/ 73342 h 247650"/>
                  <a:gd name="connsiteX11" fmla="*/ 152400 w 200025"/>
                  <a:gd name="connsiteY11" fmla="*/ 33338 h 247650"/>
                  <a:gd name="connsiteX12" fmla="*/ 108585 w 200025"/>
                  <a:gd name="connsiteY12" fmla="*/ 20955 h 247650"/>
                  <a:gd name="connsiteX13" fmla="*/ 47625 w 200025"/>
                  <a:gd name="connsiteY13" fmla="*/ 51435 h 247650"/>
                  <a:gd name="connsiteX14" fmla="*/ 26670 w 200025"/>
                  <a:gd name="connsiteY14" fmla="*/ 129540 h 247650"/>
                  <a:gd name="connsiteX15" fmla="*/ 54292 w 200025"/>
                  <a:gd name="connsiteY15" fmla="*/ 210503 h 247650"/>
                  <a:gd name="connsiteX16" fmla="*/ 108585 w 200025"/>
                  <a:gd name="connsiteY16" fmla="*/ 232410 h 247650"/>
                  <a:gd name="connsiteX17" fmla="*/ 159067 w 200025"/>
                  <a:gd name="connsiteY17" fmla="*/ 215265 h 247650"/>
                  <a:gd name="connsiteX18" fmla="*/ 179070 w 200025"/>
                  <a:gd name="connsiteY18" fmla="*/ 177165 h 2476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200025" h="247650">
                    <a:moveTo>
                      <a:pt x="179070" y="177165"/>
                    </a:moveTo>
                    <a:lnTo>
                      <a:pt x="205740" y="177165"/>
                    </a:lnTo>
                    <a:cubicBezTo>
                      <a:pt x="201930" y="201930"/>
                      <a:pt x="189547" y="220980"/>
                      <a:pt x="169545" y="235267"/>
                    </a:cubicBezTo>
                    <a:cubicBezTo>
                      <a:pt x="152400" y="248603"/>
                      <a:pt x="130492" y="254317"/>
                      <a:pt x="106680" y="254317"/>
                    </a:cubicBezTo>
                    <a:cubicBezTo>
                      <a:pt x="73342" y="254317"/>
                      <a:pt x="46672" y="241935"/>
                      <a:pt x="27622" y="218123"/>
                    </a:cubicBezTo>
                    <a:cubicBezTo>
                      <a:pt x="9525" y="196215"/>
                      <a:pt x="0" y="166688"/>
                      <a:pt x="0" y="129540"/>
                    </a:cubicBezTo>
                    <a:cubicBezTo>
                      <a:pt x="0" y="85725"/>
                      <a:pt x="11430" y="52388"/>
                      <a:pt x="35242" y="28575"/>
                    </a:cubicBezTo>
                    <a:cubicBezTo>
                      <a:pt x="54292" y="9525"/>
                      <a:pt x="78105" y="0"/>
                      <a:pt x="107633" y="0"/>
                    </a:cubicBezTo>
                    <a:cubicBezTo>
                      <a:pt x="135255" y="0"/>
                      <a:pt x="158115" y="7620"/>
                      <a:pt x="176213" y="22860"/>
                    </a:cubicBezTo>
                    <a:cubicBezTo>
                      <a:pt x="191452" y="36195"/>
                      <a:pt x="201930" y="52388"/>
                      <a:pt x="205740" y="73342"/>
                    </a:cubicBezTo>
                    <a:lnTo>
                      <a:pt x="178117" y="73342"/>
                    </a:lnTo>
                    <a:cubicBezTo>
                      <a:pt x="175260" y="56197"/>
                      <a:pt x="166688" y="42863"/>
                      <a:pt x="152400" y="33338"/>
                    </a:cubicBezTo>
                    <a:cubicBezTo>
                      <a:pt x="140017" y="24765"/>
                      <a:pt x="125730" y="20955"/>
                      <a:pt x="108585" y="20955"/>
                    </a:cubicBezTo>
                    <a:cubicBezTo>
                      <a:pt x="82867" y="20955"/>
                      <a:pt x="61913" y="31432"/>
                      <a:pt x="47625" y="51435"/>
                    </a:cubicBezTo>
                    <a:cubicBezTo>
                      <a:pt x="33338" y="70485"/>
                      <a:pt x="26670" y="96203"/>
                      <a:pt x="26670" y="129540"/>
                    </a:cubicBezTo>
                    <a:cubicBezTo>
                      <a:pt x="26670" y="164783"/>
                      <a:pt x="36195" y="192405"/>
                      <a:pt x="54292" y="210503"/>
                    </a:cubicBezTo>
                    <a:cubicBezTo>
                      <a:pt x="68580" y="224790"/>
                      <a:pt x="86677" y="232410"/>
                      <a:pt x="108585" y="232410"/>
                    </a:cubicBezTo>
                    <a:cubicBezTo>
                      <a:pt x="128588" y="232410"/>
                      <a:pt x="145733" y="226695"/>
                      <a:pt x="159067" y="215265"/>
                    </a:cubicBezTo>
                    <a:cubicBezTo>
                      <a:pt x="168592" y="205740"/>
                      <a:pt x="176213" y="192405"/>
                      <a:pt x="179070" y="177165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2489">
                  <a:latin typeface="CiscoSansTT Light" panose="020B0503020201020303" pitchFamily="34" charset="0"/>
                  <a:cs typeface="CiscoSansTT Light" panose="020B0503020201020303" pitchFamily="34" charset="0"/>
                </a:endParaRPr>
              </a:p>
            </p:txBody>
          </p:sp>
          <p:sp>
            <p:nvSpPr>
              <p:cNvPr id="11" name="Freeform: Shape 10">
                <a:extLst>
                  <a:ext uri="{FF2B5EF4-FFF2-40B4-BE49-F238E27FC236}">
                    <a16:creationId xmlns:a16="http://schemas.microsoft.com/office/drawing/2014/main" id="{3A19A275-F179-48AE-8547-BDAB10054D7E}"/>
                  </a:ext>
                </a:extLst>
              </p:cNvPr>
              <p:cNvSpPr/>
              <p:nvPr/>
            </p:nvSpPr>
            <p:spPr>
              <a:xfrm>
                <a:off x="5084767" y="3177962"/>
                <a:ext cx="219075" cy="247650"/>
              </a:xfrm>
              <a:custGeom>
                <a:avLst/>
                <a:gdLst>
                  <a:gd name="connsiteX0" fmla="*/ 0 w 219075"/>
                  <a:gd name="connsiteY0" fmla="*/ 126683 h 247650"/>
                  <a:gd name="connsiteX1" fmla="*/ 36195 w 219075"/>
                  <a:gd name="connsiteY1" fmla="*/ 27623 h 247650"/>
                  <a:gd name="connsiteX2" fmla="*/ 110490 w 219075"/>
                  <a:gd name="connsiteY2" fmla="*/ 0 h 247650"/>
                  <a:gd name="connsiteX3" fmla="*/ 193357 w 219075"/>
                  <a:gd name="connsiteY3" fmla="*/ 36195 h 247650"/>
                  <a:gd name="connsiteX4" fmla="*/ 220980 w 219075"/>
                  <a:gd name="connsiteY4" fmla="*/ 126683 h 247650"/>
                  <a:gd name="connsiteX5" fmla="*/ 185738 w 219075"/>
                  <a:gd name="connsiteY5" fmla="*/ 225743 h 247650"/>
                  <a:gd name="connsiteX6" fmla="*/ 111442 w 219075"/>
                  <a:gd name="connsiteY6" fmla="*/ 254318 h 247650"/>
                  <a:gd name="connsiteX7" fmla="*/ 28575 w 219075"/>
                  <a:gd name="connsiteY7" fmla="*/ 217170 h 247650"/>
                  <a:gd name="connsiteX8" fmla="*/ 0 w 219075"/>
                  <a:gd name="connsiteY8" fmla="*/ 126683 h 247650"/>
                  <a:gd name="connsiteX9" fmla="*/ 25717 w 219075"/>
                  <a:gd name="connsiteY9" fmla="*/ 126683 h 247650"/>
                  <a:gd name="connsiteX10" fmla="*/ 53340 w 219075"/>
                  <a:gd name="connsiteY10" fmla="*/ 209550 h 247650"/>
                  <a:gd name="connsiteX11" fmla="*/ 110490 w 219075"/>
                  <a:gd name="connsiteY11" fmla="*/ 233363 h 247650"/>
                  <a:gd name="connsiteX12" fmla="*/ 174307 w 219075"/>
                  <a:gd name="connsiteY12" fmla="*/ 202883 h 247650"/>
                  <a:gd name="connsiteX13" fmla="*/ 195263 w 219075"/>
                  <a:gd name="connsiteY13" fmla="*/ 126683 h 247650"/>
                  <a:gd name="connsiteX14" fmla="*/ 168592 w 219075"/>
                  <a:gd name="connsiteY14" fmla="*/ 42863 h 247650"/>
                  <a:gd name="connsiteX15" fmla="*/ 110490 w 219075"/>
                  <a:gd name="connsiteY15" fmla="*/ 20003 h 247650"/>
                  <a:gd name="connsiteX16" fmla="*/ 46672 w 219075"/>
                  <a:gd name="connsiteY16" fmla="*/ 50483 h 247650"/>
                  <a:gd name="connsiteX17" fmla="*/ 25717 w 219075"/>
                  <a:gd name="connsiteY17" fmla="*/ 126683 h 2476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219075" h="247650">
                    <a:moveTo>
                      <a:pt x="0" y="126683"/>
                    </a:moveTo>
                    <a:cubicBezTo>
                      <a:pt x="0" y="82868"/>
                      <a:pt x="12382" y="50483"/>
                      <a:pt x="36195" y="27623"/>
                    </a:cubicBezTo>
                    <a:cubicBezTo>
                      <a:pt x="56197" y="9525"/>
                      <a:pt x="80963" y="0"/>
                      <a:pt x="110490" y="0"/>
                    </a:cubicBezTo>
                    <a:cubicBezTo>
                      <a:pt x="145732" y="0"/>
                      <a:pt x="173355" y="12383"/>
                      <a:pt x="193357" y="36195"/>
                    </a:cubicBezTo>
                    <a:cubicBezTo>
                      <a:pt x="211455" y="58103"/>
                      <a:pt x="220980" y="88583"/>
                      <a:pt x="220980" y="126683"/>
                    </a:cubicBezTo>
                    <a:cubicBezTo>
                      <a:pt x="220980" y="170498"/>
                      <a:pt x="209550" y="202883"/>
                      <a:pt x="185738" y="225743"/>
                    </a:cubicBezTo>
                    <a:cubicBezTo>
                      <a:pt x="166688" y="244793"/>
                      <a:pt x="141922" y="254318"/>
                      <a:pt x="111442" y="254318"/>
                    </a:cubicBezTo>
                    <a:cubicBezTo>
                      <a:pt x="76200" y="254318"/>
                      <a:pt x="48578" y="241935"/>
                      <a:pt x="28575" y="217170"/>
                    </a:cubicBezTo>
                    <a:cubicBezTo>
                      <a:pt x="9525" y="194310"/>
                      <a:pt x="0" y="163830"/>
                      <a:pt x="0" y="126683"/>
                    </a:cubicBezTo>
                    <a:close/>
                    <a:moveTo>
                      <a:pt x="25717" y="126683"/>
                    </a:moveTo>
                    <a:cubicBezTo>
                      <a:pt x="25717" y="162878"/>
                      <a:pt x="35242" y="190500"/>
                      <a:pt x="53340" y="209550"/>
                    </a:cubicBezTo>
                    <a:cubicBezTo>
                      <a:pt x="68580" y="224790"/>
                      <a:pt x="87630" y="233363"/>
                      <a:pt x="110490" y="233363"/>
                    </a:cubicBezTo>
                    <a:cubicBezTo>
                      <a:pt x="138113" y="233363"/>
                      <a:pt x="159067" y="222885"/>
                      <a:pt x="174307" y="202883"/>
                    </a:cubicBezTo>
                    <a:cubicBezTo>
                      <a:pt x="188595" y="183833"/>
                      <a:pt x="195263" y="159068"/>
                      <a:pt x="195263" y="126683"/>
                    </a:cubicBezTo>
                    <a:cubicBezTo>
                      <a:pt x="195263" y="90488"/>
                      <a:pt x="186690" y="61913"/>
                      <a:pt x="168592" y="42863"/>
                    </a:cubicBezTo>
                    <a:cubicBezTo>
                      <a:pt x="154305" y="27623"/>
                      <a:pt x="134303" y="20003"/>
                      <a:pt x="110490" y="20003"/>
                    </a:cubicBezTo>
                    <a:cubicBezTo>
                      <a:pt x="83820" y="20003"/>
                      <a:pt x="61913" y="30480"/>
                      <a:pt x="46672" y="50483"/>
                    </a:cubicBezTo>
                    <a:cubicBezTo>
                      <a:pt x="33338" y="69533"/>
                      <a:pt x="25717" y="94298"/>
                      <a:pt x="25717" y="126683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2489">
                  <a:latin typeface="CiscoSansTT Light" panose="020B0503020201020303" pitchFamily="34" charset="0"/>
                  <a:cs typeface="CiscoSansTT Light" panose="020B0503020201020303" pitchFamily="34" charset="0"/>
                </a:endParaRPr>
              </a:p>
            </p:txBody>
          </p:sp>
          <p:sp>
            <p:nvSpPr>
              <p:cNvPr id="12" name="Freeform: Shape 11">
                <a:extLst>
                  <a:ext uri="{FF2B5EF4-FFF2-40B4-BE49-F238E27FC236}">
                    <a16:creationId xmlns:a16="http://schemas.microsoft.com/office/drawing/2014/main" id="{021A6D23-10F4-4562-BC27-FDB4C8C2FDDF}"/>
                  </a:ext>
                </a:extLst>
              </p:cNvPr>
              <p:cNvSpPr/>
              <p:nvPr/>
            </p:nvSpPr>
            <p:spPr>
              <a:xfrm>
                <a:off x="4208467" y="3553247"/>
                <a:ext cx="304800" cy="342900"/>
              </a:xfrm>
              <a:custGeom>
                <a:avLst/>
                <a:gdLst>
                  <a:gd name="connsiteX0" fmla="*/ 156210 w 304800"/>
                  <a:gd name="connsiteY0" fmla="*/ 290513 h 342900"/>
                  <a:gd name="connsiteX1" fmla="*/ 228600 w 304800"/>
                  <a:gd name="connsiteY1" fmla="*/ 216218 h 342900"/>
                  <a:gd name="connsiteX2" fmla="*/ 307657 w 304800"/>
                  <a:gd name="connsiteY2" fmla="*/ 216218 h 342900"/>
                  <a:gd name="connsiteX3" fmla="*/ 256222 w 304800"/>
                  <a:gd name="connsiteY3" fmla="*/ 317183 h 342900"/>
                  <a:gd name="connsiteX4" fmla="*/ 155257 w 304800"/>
                  <a:gd name="connsiteY4" fmla="*/ 345758 h 342900"/>
                  <a:gd name="connsiteX5" fmla="*/ 39052 w 304800"/>
                  <a:gd name="connsiteY5" fmla="*/ 296228 h 342900"/>
                  <a:gd name="connsiteX6" fmla="*/ 0 w 304800"/>
                  <a:gd name="connsiteY6" fmla="*/ 171450 h 342900"/>
                  <a:gd name="connsiteX7" fmla="*/ 48577 w 304800"/>
                  <a:gd name="connsiteY7" fmla="*/ 38100 h 342900"/>
                  <a:gd name="connsiteX8" fmla="*/ 158115 w 304800"/>
                  <a:gd name="connsiteY8" fmla="*/ 0 h 342900"/>
                  <a:gd name="connsiteX9" fmla="*/ 260985 w 304800"/>
                  <a:gd name="connsiteY9" fmla="*/ 33338 h 342900"/>
                  <a:gd name="connsiteX10" fmla="*/ 304800 w 304800"/>
                  <a:gd name="connsiteY10" fmla="*/ 115253 h 342900"/>
                  <a:gd name="connsiteX11" fmla="*/ 227647 w 304800"/>
                  <a:gd name="connsiteY11" fmla="*/ 115253 h 342900"/>
                  <a:gd name="connsiteX12" fmla="*/ 158115 w 304800"/>
                  <a:gd name="connsiteY12" fmla="*/ 54293 h 342900"/>
                  <a:gd name="connsiteX13" fmla="*/ 100013 w 304800"/>
                  <a:gd name="connsiteY13" fmla="*/ 85725 h 342900"/>
                  <a:gd name="connsiteX14" fmla="*/ 80963 w 304800"/>
                  <a:gd name="connsiteY14" fmla="*/ 172402 h 342900"/>
                  <a:gd name="connsiteX15" fmla="*/ 105727 w 304800"/>
                  <a:gd name="connsiteY15" fmla="*/ 268605 h 342900"/>
                  <a:gd name="connsiteX16" fmla="*/ 156210 w 304800"/>
                  <a:gd name="connsiteY16" fmla="*/ 290513 h 3429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304800" h="342900">
                    <a:moveTo>
                      <a:pt x="156210" y="290513"/>
                    </a:moveTo>
                    <a:cubicBezTo>
                      <a:pt x="200977" y="290513"/>
                      <a:pt x="224790" y="265748"/>
                      <a:pt x="228600" y="216218"/>
                    </a:cubicBezTo>
                    <a:lnTo>
                      <a:pt x="307657" y="216218"/>
                    </a:lnTo>
                    <a:cubicBezTo>
                      <a:pt x="301942" y="260985"/>
                      <a:pt x="284797" y="295275"/>
                      <a:pt x="256222" y="317183"/>
                    </a:cubicBezTo>
                    <a:cubicBezTo>
                      <a:pt x="230505" y="336233"/>
                      <a:pt x="197167" y="345758"/>
                      <a:pt x="155257" y="345758"/>
                    </a:cubicBezTo>
                    <a:cubicBezTo>
                      <a:pt x="105727" y="345758"/>
                      <a:pt x="67627" y="329565"/>
                      <a:pt x="39052" y="296228"/>
                    </a:cubicBezTo>
                    <a:cubicBezTo>
                      <a:pt x="13335" y="265748"/>
                      <a:pt x="0" y="223838"/>
                      <a:pt x="0" y="171450"/>
                    </a:cubicBezTo>
                    <a:cubicBezTo>
                      <a:pt x="0" y="112395"/>
                      <a:pt x="16192" y="67628"/>
                      <a:pt x="48577" y="38100"/>
                    </a:cubicBezTo>
                    <a:cubicBezTo>
                      <a:pt x="76200" y="12383"/>
                      <a:pt x="112395" y="0"/>
                      <a:pt x="158115" y="0"/>
                    </a:cubicBezTo>
                    <a:cubicBezTo>
                      <a:pt x="200025" y="0"/>
                      <a:pt x="234315" y="11430"/>
                      <a:pt x="260985" y="33338"/>
                    </a:cubicBezTo>
                    <a:cubicBezTo>
                      <a:pt x="284797" y="53340"/>
                      <a:pt x="299085" y="80963"/>
                      <a:pt x="304800" y="115253"/>
                    </a:cubicBezTo>
                    <a:lnTo>
                      <a:pt x="227647" y="115253"/>
                    </a:lnTo>
                    <a:cubicBezTo>
                      <a:pt x="219075" y="74295"/>
                      <a:pt x="196215" y="54293"/>
                      <a:pt x="158115" y="54293"/>
                    </a:cubicBezTo>
                    <a:cubicBezTo>
                      <a:pt x="132397" y="54293"/>
                      <a:pt x="112395" y="64770"/>
                      <a:pt x="100013" y="85725"/>
                    </a:cubicBezTo>
                    <a:cubicBezTo>
                      <a:pt x="87630" y="105728"/>
                      <a:pt x="80963" y="134303"/>
                      <a:pt x="80963" y="172402"/>
                    </a:cubicBezTo>
                    <a:cubicBezTo>
                      <a:pt x="80963" y="216218"/>
                      <a:pt x="89535" y="248602"/>
                      <a:pt x="105727" y="268605"/>
                    </a:cubicBezTo>
                    <a:cubicBezTo>
                      <a:pt x="119063" y="282893"/>
                      <a:pt x="135255" y="290513"/>
                      <a:pt x="156210" y="290513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2489">
                  <a:latin typeface="CiscoSansTT Light" panose="020B0503020201020303" pitchFamily="34" charset="0"/>
                  <a:cs typeface="CiscoSansTT Light" panose="020B0503020201020303" pitchFamily="34" charset="0"/>
                </a:endParaRPr>
              </a:p>
            </p:txBody>
          </p:sp>
          <p:sp>
            <p:nvSpPr>
              <p:cNvPr id="13" name="Freeform: Shape 12">
                <a:extLst>
                  <a:ext uri="{FF2B5EF4-FFF2-40B4-BE49-F238E27FC236}">
                    <a16:creationId xmlns:a16="http://schemas.microsoft.com/office/drawing/2014/main" id="{0CF1C08D-E0B7-4B68-AE5D-1BA4C9F3E632}"/>
                  </a:ext>
                </a:extLst>
              </p:cNvPr>
              <p:cNvSpPr/>
              <p:nvPr/>
            </p:nvSpPr>
            <p:spPr>
              <a:xfrm>
                <a:off x="4550415" y="3651355"/>
                <a:ext cx="219075" cy="238125"/>
              </a:xfrm>
              <a:custGeom>
                <a:avLst/>
                <a:gdLst>
                  <a:gd name="connsiteX0" fmla="*/ 0 w 219075"/>
                  <a:gd name="connsiteY0" fmla="*/ 0 h 238125"/>
                  <a:gd name="connsiteX1" fmla="*/ 72390 w 219075"/>
                  <a:gd name="connsiteY1" fmla="*/ 0 h 238125"/>
                  <a:gd name="connsiteX2" fmla="*/ 72390 w 219075"/>
                  <a:gd name="connsiteY2" fmla="*/ 159067 h 238125"/>
                  <a:gd name="connsiteX3" fmla="*/ 81915 w 219075"/>
                  <a:gd name="connsiteY3" fmla="*/ 186690 h 238125"/>
                  <a:gd name="connsiteX4" fmla="*/ 110490 w 219075"/>
                  <a:gd name="connsiteY4" fmla="*/ 196215 h 238125"/>
                  <a:gd name="connsiteX5" fmla="*/ 143828 w 219075"/>
                  <a:gd name="connsiteY5" fmla="*/ 180975 h 238125"/>
                  <a:gd name="connsiteX6" fmla="*/ 155258 w 219075"/>
                  <a:gd name="connsiteY6" fmla="*/ 143827 h 238125"/>
                  <a:gd name="connsiteX7" fmla="*/ 155258 w 219075"/>
                  <a:gd name="connsiteY7" fmla="*/ 0 h 238125"/>
                  <a:gd name="connsiteX8" fmla="*/ 227647 w 219075"/>
                  <a:gd name="connsiteY8" fmla="*/ 0 h 238125"/>
                  <a:gd name="connsiteX9" fmla="*/ 227647 w 219075"/>
                  <a:gd name="connsiteY9" fmla="*/ 240030 h 238125"/>
                  <a:gd name="connsiteX10" fmla="*/ 166688 w 219075"/>
                  <a:gd name="connsiteY10" fmla="*/ 240030 h 238125"/>
                  <a:gd name="connsiteX11" fmla="*/ 160020 w 219075"/>
                  <a:gd name="connsiteY11" fmla="*/ 214313 h 238125"/>
                  <a:gd name="connsiteX12" fmla="*/ 87630 w 219075"/>
                  <a:gd name="connsiteY12" fmla="*/ 246698 h 238125"/>
                  <a:gd name="connsiteX13" fmla="*/ 20003 w 219075"/>
                  <a:gd name="connsiteY13" fmla="*/ 220027 h 238125"/>
                  <a:gd name="connsiteX14" fmla="*/ 0 w 219075"/>
                  <a:gd name="connsiteY14" fmla="*/ 156210 h 238125"/>
                  <a:gd name="connsiteX15" fmla="*/ 0 w 219075"/>
                  <a:gd name="connsiteY15" fmla="*/ 0 h 2381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219075" h="238125">
                    <a:moveTo>
                      <a:pt x="0" y="0"/>
                    </a:moveTo>
                    <a:lnTo>
                      <a:pt x="72390" y="0"/>
                    </a:lnTo>
                    <a:lnTo>
                      <a:pt x="72390" y="159067"/>
                    </a:lnTo>
                    <a:cubicBezTo>
                      <a:pt x="72390" y="171450"/>
                      <a:pt x="75247" y="180023"/>
                      <a:pt x="81915" y="186690"/>
                    </a:cubicBezTo>
                    <a:cubicBezTo>
                      <a:pt x="88583" y="193357"/>
                      <a:pt x="98108" y="196215"/>
                      <a:pt x="110490" y="196215"/>
                    </a:cubicBezTo>
                    <a:cubicBezTo>
                      <a:pt x="124778" y="196215"/>
                      <a:pt x="135255" y="191452"/>
                      <a:pt x="143828" y="180975"/>
                    </a:cubicBezTo>
                    <a:cubicBezTo>
                      <a:pt x="151447" y="171450"/>
                      <a:pt x="155258" y="159067"/>
                      <a:pt x="155258" y="143827"/>
                    </a:cubicBezTo>
                    <a:lnTo>
                      <a:pt x="155258" y="0"/>
                    </a:lnTo>
                    <a:lnTo>
                      <a:pt x="227647" y="0"/>
                    </a:lnTo>
                    <a:lnTo>
                      <a:pt x="227647" y="240030"/>
                    </a:lnTo>
                    <a:lnTo>
                      <a:pt x="166688" y="240030"/>
                    </a:lnTo>
                    <a:lnTo>
                      <a:pt x="160020" y="214313"/>
                    </a:lnTo>
                    <a:cubicBezTo>
                      <a:pt x="142875" y="236220"/>
                      <a:pt x="118110" y="246698"/>
                      <a:pt x="87630" y="246698"/>
                    </a:cubicBezTo>
                    <a:cubicBezTo>
                      <a:pt x="58103" y="246698"/>
                      <a:pt x="35242" y="238125"/>
                      <a:pt x="20003" y="220027"/>
                    </a:cubicBezTo>
                    <a:cubicBezTo>
                      <a:pt x="6667" y="204788"/>
                      <a:pt x="0" y="182880"/>
                      <a:pt x="0" y="156210"/>
                    </a:cubicBez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2489">
                  <a:latin typeface="CiscoSansTT Light" panose="020B0503020201020303" pitchFamily="34" charset="0"/>
                  <a:cs typeface="CiscoSansTT Light" panose="020B0503020201020303" pitchFamily="34" charset="0"/>
                </a:endParaRPr>
              </a:p>
            </p:txBody>
          </p:sp>
          <p:sp>
            <p:nvSpPr>
              <p:cNvPr id="14" name="Freeform: Shape 13">
                <a:extLst>
                  <a:ext uri="{FF2B5EF4-FFF2-40B4-BE49-F238E27FC236}">
                    <a16:creationId xmlns:a16="http://schemas.microsoft.com/office/drawing/2014/main" id="{9C85BB10-5D31-4B95-A484-AECFE585457E}"/>
                  </a:ext>
                </a:extLst>
              </p:cNvPr>
              <p:cNvSpPr/>
              <p:nvPr/>
            </p:nvSpPr>
            <p:spPr>
              <a:xfrm>
                <a:off x="4810447" y="3643735"/>
                <a:ext cx="219075" cy="247650"/>
              </a:xfrm>
              <a:custGeom>
                <a:avLst/>
                <a:gdLst>
                  <a:gd name="connsiteX0" fmla="*/ 113347 w 219075"/>
                  <a:gd name="connsiteY0" fmla="*/ 205740 h 247650"/>
                  <a:gd name="connsiteX1" fmla="*/ 153352 w 219075"/>
                  <a:gd name="connsiteY1" fmla="*/ 182880 h 247650"/>
                  <a:gd name="connsiteX2" fmla="*/ 144780 w 219075"/>
                  <a:gd name="connsiteY2" fmla="*/ 167640 h 247650"/>
                  <a:gd name="connsiteX3" fmla="*/ 96202 w 219075"/>
                  <a:gd name="connsiteY3" fmla="*/ 153352 h 247650"/>
                  <a:gd name="connsiteX4" fmla="*/ 32385 w 219075"/>
                  <a:gd name="connsiteY4" fmla="*/ 126683 h 247650"/>
                  <a:gd name="connsiteX5" fmla="*/ 9525 w 219075"/>
                  <a:gd name="connsiteY5" fmla="*/ 75248 h 247650"/>
                  <a:gd name="connsiteX6" fmla="*/ 40005 w 219075"/>
                  <a:gd name="connsiteY6" fmla="*/ 18098 h 247650"/>
                  <a:gd name="connsiteX7" fmla="*/ 115252 w 219075"/>
                  <a:gd name="connsiteY7" fmla="*/ 0 h 247650"/>
                  <a:gd name="connsiteX8" fmla="*/ 194310 w 219075"/>
                  <a:gd name="connsiteY8" fmla="*/ 21908 h 247650"/>
                  <a:gd name="connsiteX9" fmla="*/ 225742 w 219075"/>
                  <a:gd name="connsiteY9" fmla="*/ 73343 h 247650"/>
                  <a:gd name="connsiteX10" fmla="*/ 153352 w 219075"/>
                  <a:gd name="connsiteY10" fmla="*/ 73343 h 247650"/>
                  <a:gd name="connsiteX11" fmla="*/ 113347 w 219075"/>
                  <a:gd name="connsiteY11" fmla="*/ 48578 h 247650"/>
                  <a:gd name="connsiteX12" fmla="*/ 80963 w 219075"/>
                  <a:gd name="connsiteY12" fmla="*/ 68580 h 247650"/>
                  <a:gd name="connsiteX13" fmla="*/ 90488 w 219075"/>
                  <a:gd name="connsiteY13" fmla="*/ 83820 h 247650"/>
                  <a:gd name="connsiteX14" fmla="*/ 131445 w 219075"/>
                  <a:gd name="connsiteY14" fmla="*/ 97155 h 247650"/>
                  <a:gd name="connsiteX15" fmla="*/ 140017 w 219075"/>
                  <a:gd name="connsiteY15" fmla="*/ 99060 h 247650"/>
                  <a:gd name="connsiteX16" fmla="*/ 199072 w 219075"/>
                  <a:gd name="connsiteY16" fmla="*/ 120968 h 247650"/>
                  <a:gd name="connsiteX17" fmla="*/ 226695 w 219075"/>
                  <a:gd name="connsiteY17" fmla="*/ 172402 h 247650"/>
                  <a:gd name="connsiteX18" fmla="*/ 195263 w 219075"/>
                  <a:gd name="connsiteY18" fmla="*/ 233363 h 247650"/>
                  <a:gd name="connsiteX19" fmla="*/ 114300 w 219075"/>
                  <a:gd name="connsiteY19" fmla="*/ 253365 h 247650"/>
                  <a:gd name="connsiteX20" fmla="*/ 31433 w 219075"/>
                  <a:gd name="connsiteY20" fmla="*/ 229552 h 247650"/>
                  <a:gd name="connsiteX21" fmla="*/ 0 w 219075"/>
                  <a:gd name="connsiteY21" fmla="*/ 178118 h 247650"/>
                  <a:gd name="connsiteX22" fmla="*/ 72390 w 219075"/>
                  <a:gd name="connsiteY22" fmla="*/ 178118 h 247650"/>
                  <a:gd name="connsiteX23" fmla="*/ 86677 w 219075"/>
                  <a:gd name="connsiteY23" fmla="*/ 197168 h 247650"/>
                  <a:gd name="connsiteX24" fmla="*/ 113347 w 219075"/>
                  <a:gd name="connsiteY24" fmla="*/ 205740 h 2476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</a:cxnLst>
                <a:rect l="l" t="t" r="r" b="b"/>
                <a:pathLst>
                  <a:path w="219075" h="247650">
                    <a:moveTo>
                      <a:pt x="113347" y="205740"/>
                    </a:moveTo>
                    <a:cubicBezTo>
                      <a:pt x="140017" y="205740"/>
                      <a:pt x="153352" y="198120"/>
                      <a:pt x="153352" y="182880"/>
                    </a:cubicBezTo>
                    <a:cubicBezTo>
                      <a:pt x="153352" y="175260"/>
                      <a:pt x="150495" y="170498"/>
                      <a:pt x="144780" y="167640"/>
                    </a:cubicBezTo>
                    <a:cubicBezTo>
                      <a:pt x="139065" y="164783"/>
                      <a:pt x="122872" y="160020"/>
                      <a:pt x="96202" y="153352"/>
                    </a:cubicBezTo>
                    <a:cubicBezTo>
                      <a:pt x="66675" y="146685"/>
                      <a:pt x="44767" y="137160"/>
                      <a:pt x="32385" y="126683"/>
                    </a:cubicBezTo>
                    <a:cubicBezTo>
                      <a:pt x="17145" y="114300"/>
                      <a:pt x="9525" y="97155"/>
                      <a:pt x="9525" y="75248"/>
                    </a:cubicBezTo>
                    <a:cubicBezTo>
                      <a:pt x="9525" y="50483"/>
                      <a:pt x="20002" y="31433"/>
                      <a:pt x="40005" y="18098"/>
                    </a:cubicBezTo>
                    <a:cubicBezTo>
                      <a:pt x="58102" y="5715"/>
                      <a:pt x="83820" y="0"/>
                      <a:pt x="115252" y="0"/>
                    </a:cubicBezTo>
                    <a:cubicBezTo>
                      <a:pt x="148590" y="0"/>
                      <a:pt x="174308" y="7620"/>
                      <a:pt x="194310" y="21908"/>
                    </a:cubicBezTo>
                    <a:cubicBezTo>
                      <a:pt x="211455" y="34290"/>
                      <a:pt x="221933" y="51435"/>
                      <a:pt x="225742" y="73343"/>
                    </a:cubicBezTo>
                    <a:lnTo>
                      <a:pt x="153352" y="73343"/>
                    </a:lnTo>
                    <a:cubicBezTo>
                      <a:pt x="149542" y="57150"/>
                      <a:pt x="136208" y="48578"/>
                      <a:pt x="113347" y="48578"/>
                    </a:cubicBezTo>
                    <a:cubicBezTo>
                      <a:pt x="91440" y="48578"/>
                      <a:pt x="80963" y="55245"/>
                      <a:pt x="80963" y="68580"/>
                    </a:cubicBezTo>
                    <a:cubicBezTo>
                      <a:pt x="80963" y="75248"/>
                      <a:pt x="83820" y="80010"/>
                      <a:pt x="90488" y="83820"/>
                    </a:cubicBezTo>
                    <a:cubicBezTo>
                      <a:pt x="96202" y="87630"/>
                      <a:pt x="110490" y="91440"/>
                      <a:pt x="131445" y="97155"/>
                    </a:cubicBezTo>
                    <a:lnTo>
                      <a:pt x="140017" y="99060"/>
                    </a:lnTo>
                    <a:cubicBezTo>
                      <a:pt x="167640" y="105727"/>
                      <a:pt x="187642" y="113348"/>
                      <a:pt x="199072" y="120968"/>
                    </a:cubicBezTo>
                    <a:cubicBezTo>
                      <a:pt x="217170" y="133350"/>
                      <a:pt x="226695" y="149543"/>
                      <a:pt x="226695" y="172402"/>
                    </a:cubicBezTo>
                    <a:cubicBezTo>
                      <a:pt x="226695" y="199073"/>
                      <a:pt x="216217" y="219075"/>
                      <a:pt x="195263" y="233363"/>
                    </a:cubicBezTo>
                    <a:cubicBezTo>
                      <a:pt x="175260" y="246698"/>
                      <a:pt x="148590" y="253365"/>
                      <a:pt x="114300" y="253365"/>
                    </a:cubicBezTo>
                    <a:cubicBezTo>
                      <a:pt x="80010" y="253365"/>
                      <a:pt x="52388" y="245745"/>
                      <a:pt x="31433" y="229552"/>
                    </a:cubicBezTo>
                    <a:cubicBezTo>
                      <a:pt x="14288" y="216218"/>
                      <a:pt x="2858" y="199073"/>
                      <a:pt x="0" y="178118"/>
                    </a:cubicBezTo>
                    <a:lnTo>
                      <a:pt x="72390" y="178118"/>
                    </a:lnTo>
                    <a:cubicBezTo>
                      <a:pt x="74295" y="185738"/>
                      <a:pt x="78105" y="192405"/>
                      <a:pt x="86677" y="197168"/>
                    </a:cubicBezTo>
                    <a:cubicBezTo>
                      <a:pt x="92392" y="203835"/>
                      <a:pt x="101917" y="205740"/>
                      <a:pt x="113347" y="205740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2489">
                  <a:latin typeface="CiscoSansTT Light" panose="020B0503020201020303" pitchFamily="34" charset="0"/>
                  <a:cs typeface="CiscoSansTT Light" panose="020B0503020201020303" pitchFamily="34" charset="0"/>
                </a:endParaRPr>
              </a:p>
            </p:txBody>
          </p:sp>
          <p:sp>
            <p:nvSpPr>
              <p:cNvPr id="15" name="Freeform: Shape 14">
                <a:extLst>
                  <a:ext uri="{FF2B5EF4-FFF2-40B4-BE49-F238E27FC236}">
                    <a16:creationId xmlns:a16="http://schemas.microsoft.com/office/drawing/2014/main" id="{235BA894-88A9-4B6D-96F6-D671B66122E2}"/>
                  </a:ext>
                </a:extLst>
              </p:cNvPr>
              <p:cNvSpPr/>
              <p:nvPr/>
            </p:nvSpPr>
            <p:spPr>
              <a:xfrm>
                <a:off x="5056192" y="3594205"/>
                <a:ext cx="152400" cy="295275"/>
              </a:xfrm>
              <a:custGeom>
                <a:avLst/>
                <a:gdLst>
                  <a:gd name="connsiteX0" fmla="*/ 158115 w 152400"/>
                  <a:gd name="connsiteY0" fmla="*/ 248602 h 295275"/>
                  <a:gd name="connsiteX1" fmla="*/ 158115 w 152400"/>
                  <a:gd name="connsiteY1" fmla="*/ 297180 h 295275"/>
                  <a:gd name="connsiteX2" fmla="*/ 114300 w 152400"/>
                  <a:gd name="connsiteY2" fmla="*/ 303848 h 295275"/>
                  <a:gd name="connsiteX3" fmla="*/ 54292 w 152400"/>
                  <a:gd name="connsiteY3" fmla="*/ 281940 h 295275"/>
                  <a:gd name="connsiteX4" fmla="*/ 36195 w 152400"/>
                  <a:gd name="connsiteY4" fmla="*/ 229552 h 295275"/>
                  <a:gd name="connsiteX5" fmla="*/ 36195 w 152400"/>
                  <a:gd name="connsiteY5" fmla="*/ 107632 h 295275"/>
                  <a:gd name="connsiteX6" fmla="*/ 0 w 152400"/>
                  <a:gd name="connsiteY6" fmla="*/ 107632 h 295275"/>
                  <a:gd name="connsiteX7" fmla="*/ 0 w 152400"/>
                  <a:gd name="connsiteY7" fmla="*/ 58102 h 295275"/>
                  <a:gd name="connsiteX8" fmla="*/ 36195 w 152400"/>
                  <a:gd name="connsiteY8" fmla="*/ 58102 h 295275"/>
                  <a:gd name="connsiteX9" fmla="*/ 40957 w 152400"/>
                  <a:gd name="connsiteY9" fmla="*/ 0 h 295275"/>
                  <a:gd name="connsiteX10" fmla="*/ 108585 w 152400"/>
                  <a:gd name="connsiteY10" fmla="*/ 0 h 295275"/>
                  <a:gd name="connsiteX11" fmla="*/ 108585 w 152400"/>
                  <a:gd name="connsiteY11" fmla="*/ 58102 h 295275"/>
                  <a:gd name="connsiteX12" fmla="*/ 158115 w 152400"/>
                  <a:gd name="connsiteY12" fmla="*/ 58102 h 295275"/>
                  <a:gd name="connsiteX13" fmla="*/ 158115 w 152400"/>
                  <a:gd name="connsiteY13" fmla="*/ 107632 h 295275"/>
                  <a:gd name="connsiteX14" fmla="*/ 108585 w 152400"/>
                  <a:gd name="connsiteY14" fmla="*/ 107632 h 295275"/>
                  <a:gd name="connsiteX15" fmla="*/ 108585 w 152400"/>
                  <a:gd name="connsiteY15" fmla="*/ 233363 h 295275"/>
                  <a:gd name="connsiteX16" fmla="*/ 115253 w 152400"/>
                  <a:gd name="connsiteY16" fmla="*/ 248602 h 295275"/>
                  <a:gd name="connsiteX17" fmla="*/ 132397 w 152400"/>
                  <a:gd name="connsiteY17" fmla="*/ 254317 h 295275"/>
                  <a:gd name="connsiteX18" fmla="*/ 158115 w 152400"/>
                  <a:gd name="connsiteY18" fmla="*/ 248602 h 2952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152400" h="295275">
                    <a:moveTo>
                      <a:pt x="158115" y="248602"/>
                    </a:moveTo>
                    <a:lnTo>
                      <a:pt x="158115" y="297180"/>
                    </a:lnTo>
                    <a:cubicBezTo>
                      <a:pt x="142875" y="301942"/>
                      <a:pt x="128588" y="303848"/>
                      <a:pt x="114300" y="303848"/>
                    </a:cubicBezTo>
                    <a:cubicBezTo>
                      <a:pt x="88582" y="303848"/>
                      <a:pt x="68580" y="296228"/>
                      <a:pt x="54292" y="281940"/>
                    </a:cubicBezTo>
                    <a:cubicBezTo>
                      <a:pt x="41910" y="269557"/>
                      <a:pt x="36195" y="252413"/>
                      <a:pt x="36195" y="229552"/>
                    </a:cubicBezTo>
                    <a:lnTo>
                      <a:pt x="36195" y="107632"/>
                    </a:lnTo>
                    <a:lnTo>
                      <a:pt x="0" y="107632"/>
                    </a:lnTo>
                    <a:lnTo>
                      <a:pt x="0" y="58102"/>
                    </a:lnTo>
                    <a:lnTo>
                      <a:pt x="36195" y="58102"/>
                    </a:lnTo>
                    <a:lnTo>
                      <a:pt x="40957" y="0"/>
                    </a:lnTo>
                    <a:lnTo>
                      <a:pt x="108585" y="0"/>
                    </a:lnTo>
                    <a:lnTo>
                      <a:pt x="108585" y="58102"/>
                    </a:lnTo>
                    <a:lnTo>
                      <a:pt x="158115" y="58102"/>
                    </a:lnTo>
                    <a:lnTo>
                      <a:pt x="158115" y="107632"/>
                    </a:lnTo>
                    <a:lnTo>
                      <a:pt x="108585" y="107632"/>
                    </a:lnTo>
                    <a:lnTo>
                      <a:pt x="108585" y="233363"/>
                    </a:lnTo>
                    <a:cubicBezTo>
                      <a:pt x="108585" y="240030"/>
                      <a:pt x="110490" y="244792"/>
                      <a:pt x="115253" y="248602"/>
                    </a:cubicBezTo>
                    <a:cubicBezTo>
                      <a:pt x="119063" y="252413"/>
                      <a:pt x="124778" y="254317"/>
                      <a:pt x="132397" y="254317"/>
                    </a:cubicBezTo>
                    <a:cubicBezTo>
                      <a:pt x="138113" y="253365"/>
                      <a:pt x="146685" y="251460"/>
                      <a:pt x="158115" y="248602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2489">
                  <a:latin typeface="CiscoSansTT Light" panose="020B0503020201020303" pitchFamily="34" charset="0"/>
                  <a:cs typeface="CiscoSansTT Light" panose="020B0503020201020303" pitchFamily="34" charset="0"/>
                </a:endParaRPr>
              </a:p>
            </p:txBody>
          </p:sp>
          <p:sp>
            <p:nvSpPr>
              <p:cNvPr id="16" name="Freeform: Shape 15">
                <a:extLst>
                  <a:ext uri="{FF2B5EF4-FFF2-40B4-BE49-F238E27FC236}">
                    <a16:creationId xmlns:a16="http://schemas.microsoft.com/office/drawing/2014/main" id="{F90A1336-2D46-49AB-AD59-131208C200DC}"/>
                  </a:ext>
                </a:extLst>
              </p:cNvPr>
              <p:cNvSpPr/>
              <p:nvPr/>
            </p:nvSpPr>
            <p:spPr>
              <a:xfrm>
                <a:off x="5231452" y="3644688"/>
                <a:ext cx="247650" cy="247650"/>
              </a:xfrm>
              <a:custGeom>
                <a:avLst/>
                <a:gdLst>
                  <a:gd name="connsiteX0" fmla="*/ 0 w 247650"/>
                  <a:gd name="connsiteY0" fmla="*/ 125730 h 247650"/>
                  <a:gd name="connsiteX1" fmla="*/ 38100 w 247650"/>
                  <a:gd name="connsiteY1" fmla="*/ 27622 h 247650"/>
                  <a:gd name="connsiteX2" fmla="*/ 126682 w 247650"/>
                  <a:gd name="connsiteY2" fmla="*/ 0 h 247650"/>
                  <a:gd name="connsiteX3" fmla="*/ 224790 w 247650"/>
                  <a:gd name="connsiteY3" fmla="*/ 36195 h 247650"/>
                  <a:gd name="connsiteX4" fmla="*/ 254318 w 247650"/>
                  <a:gd name="connsiteY4" fmla="*/ 125730 h 247650"/>
                  <a:gd name="connsiteX5" fmla="*/ 216218 w 247650"/>
                  <a:gd name="connsiteY5" fmla="*/ 224790 h 247650"/>
                  <a:gd name="connsiteX6" fmla="*/ 127635 w 247650"/>
                  <a:gd name="connsiteY6" fmla="*/ 253365 h 247650"/>
                  <a:gd name="connsiteX7" fmla="*/ 30480 w 247650"/>
                  <a:gd name="connsiteY7" fmla="*/ 216218 h 247650"/>
                  <a:gd name="connsiteX8" fmla="*/ 0 w 247650"/>
                  <a:gd name="connsiteY8" fmla="*/ 125730 h 247650"/>
                  <a:gd name="connsiteX9" fmla="*/ 73343 w 247650"/>
                  <a:gd name="connsiteY9" fmla="*/ 125730 h 247650"/>
                  <a:gd name="connsiteX10" fmla="*/ 88582 w 247650"/>
                  <a:gd name="connsiteY10" fmla="*/ 189547 h 247650"/>
                  <a:gd name="connsiteX11" fmla="*/ 125730 w 247650"/>
                  <a:gd name="connsiteY11" fmla="*/ 204787 h 247650"/>
                  <a:gd name="connsiteX12" fmla="*/ 166688 w 247650"/>
                  <a:gd name="connsiteY12" fmla="*/ 184785 h 247650"/>
                  <a:gd name="connsiteX13" fmla="*/ 178118 w 247650"/>
                  <a:gd name="connsiteY13" fmla="*/ 125730 h 247650"/>
                  <a:gd name="connsiteX14" fmla="*/ 162878 w 247650"/>
                  <a:gd name="connsiteY14" fmla="*/ 62865 h 247650"/>
                  <a:gd name="connsiteX15" fmla="*/ 124778 w 247650"/>
                  <a:gd name="connsiteY15" fmla="*/ 48577 h 247650"/>
                  <a:gd name="connsiteX16" fmla="*/ 82868 w 247650"/>
                  <a:gd name="connsiteY16" fmla="*/ 68580 h 247650"/>
                  <a:gd name="connsiteX17" fmla="*/ 73343 w 247650"/>
                  <a:gd name="connsiteY17" fmla="*/ 125730 h 2476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247650" h="247650">
                    <a:moveTo>
                      <a:pt x="0" y="125730"/>
                    </a:moveTo>
                    <a:cubicBezTo>
                      <a:pt x="0" y="81915"/>
                      <a:pt x="12382" y="49530"/>
                      <a:pt x="38100" y="27622"/>
                    </a:cubicBezTo>
                    <a:cubicBezTo>
                      <a:pt x="60007" y="9525"/>
                      <a:pt x="89535" y="0"/>
                      <a:pt x="126682" y="0"/>
                    </a:cubicBezTo>
                    <a:cubicBezTo>
                      <a:pt x="170497" y="0"/>
                      <a:pt x="202882" y="12382"/>
                      <a:pt x="224790" y="36195"/>
                    </a:cubicBezTo>
                    <a:cubicBezTo>
                      <a:pt x="243840" y="58103"/>
                      <a:pt x="254318" y="87630"/>
                      <a:pt x="254318" y="125730"/>
                    </a:cubicBezTo>
                    <a:cubicBezTo>
                      <a:pt x="254318" y="169545"/>
                      <a:pt x="241935" y="202883"/>
                      <a:pt x="216218" y="224790"/>
                    </a:cubicBezTo>
                    <a:cubicBezTo>
                      <a:pt x="194310" y="243840"/>
                      <a:pt x="164782" y="253365"/>
                      <a:pt x="127635" y="253365"/>
                    </a:cubicBezTo>
                    <a:cubicBezTo>
                      <a:pt x="84772" y="253365"/>
                      <a:pt x="53340" y="240983"/>
                      <a:pt x="30480" y="216218"/>
                    </a:cubicBezTo>
                    <a:cubicBezTo>
                      <a:pt x="9525" y="194310"/>
                      <a:pt x="0" y="164783"/>
                      <a:pt x="0" y="125730"/>
                    </a:cubicBezTo>
                    <a:close/>
                    <a:moveTo>
                      <a:pt x="73343" y="125730"/>
                    </a:moveTo>
                    <a:cubicBezTo>
                      <a:pt x="73343" y="155258"/>
                      <a:pt x="78105" y="177165"/>
                      <a:pt x="88582" y="189547"/>
                    </a:cubicBezTo>
                    <a:cubicBezTo>
                      <a:pt x="97155" y="200025"/>
                      <a:pt x="109538" y="204787"/>
                      <a:pt x="125730" y="204787"/>
                    </a:cubicBezTo>
                    <a:cubicBezTo>
                      <a:pt x="144780" y="204787"/>
                      <a:pt x="159068" y="198120"/>
                      <a:pt x="166688" y="184785"/>
                    </a:cubicBezTo>
                    <a:cubicBezTo>
                      <a:pt x="174307" y="172403"/>
                      <a:pt x="178118" y="152400"/>
                      <a:pt x="178118" y="125730"/>
                    </a:cubicBezTo>
                    <a:cubicBezTo>
                      <a:pt x="178118" y="95250"/>
                      <a:pt x="173355" y="74295"/>
                      <a:pt x="162878" y="62865"/>
                    </a:cubicBezTo>
                    <a:cubicBezTo>
                      <a:pt x="154305" y="53340"/>
                      <a:pt x="141922" y="48577"/>
                      <a:pt x="124778" y="48577"/>
                    </a:cubicBezTo>
                    <a:cubicBezTo>
                      <a:pt x="105728" y="48577"/>
                      <a:pt x="91440" y="55245"/>
                      <a:pt x="82868" y="68580"/>
                    </a:cubicBezTo>
                    <a:cubicBezTo>
                      <a:pt x="77153" y="80010"/>
                      <a:pt x="73343" y="100012"/>
                      <a:pt x="73343" y="125730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2489">
                  <a:latin typeface="CiscoSansTT Light" panose="020B0503020201020303" pitchFamily="34" charset="0"/>
                  <a:cs typeface="CiscoSansTT Light" panose="020B0503020201020303" pitchFamily="34" charset="0"/>
                </a:endParaRPr>
              </a:p>
            </p:txBody>
          </p:sp>
          <p:sp>
            <p:nvSpPr>
              <p:cNvPr id="17" name="Freeform: Shape 16">
                <a:extLst>
                  <a:ext uri="{FF2B5EF4-FFF2-40B4-BE49-F238E27FC236}">
                    <a16:creationId xmlns:a16="http://schemas.microsoft.com/office/drawing/2014/main" id="{B240106F-2142-4512-9261-2BFFC7910B11}"/>
                  </a:ext>
                </a:extLst>
              </p:cNvPr>
              <p:cNvSpPr/>
              <p:nvPr/>
            </p:nvSpPr>
            <p:spPr>
              <a:xfrm>
                <a:off x="5521965" y="3644688"/>
                <a:ext cx="371475" cy="238125"/>
              </a:xfrm>
              <a:custGeom>
                <a:avLst/>
                <a:gdLst>
                  <a:gd name="connsiteX0" fmla="*/ 72390 w 371475"/>
                  <a:gd name="connsiteY0" fmla="*/ 246697 h 238125"/>
                  <a:gd name="connsiteX1" fmla="*/ 0 w 371475"/>
                  <a:gd name="connsiteY1" fmla="*/ 246697 h 238125"/>
                  <a:gd name="connsiteX2" fmla="*/ 0 w 371475"/>
                  <a:gd name="connsiteY2" fmla="*/ 6668 h 238125"/>
                  <a:gd name="connsiteX3" fmla="*/ 50482 w 371475"/>
                  <a:gd name="connsiteY3" fmla="*/ 6668 h 238125"/>
                  <a:gd name="connsiteX4" fmla="*/ 62865 w 371475"/>
                  <a:gd name="connsiteY4" fmla="*/ 33338 h 238125"/>
                  <a:gd name="connsiteX5" fmla="*/ 136207 w 371475"/>
                  <a:gd name="connsiteY5" fmla="*/ 0 h 238125"/>
                  <a:gd name="connsiteX6" fmla="*/ 208597 w 371475"/>
                  <a:gd name="connsiteY6" fmla="*/ 33338 h 238125"/>
                  <a:gd name="connsiteX7" fmla="*/ 287655 w 371475"/>
                  <a:gd name="connsiteY7" fmla="*/ 0 h 238125"/>
                  <a:gd name="connsiteX8" fmla="*/ 353378 w 371475"/>
                  <a:gd name="connsiteY8" fmla="*/ 23813 h 238125"/>
                  <a:gd name="connsiteX9" fmla="*/ 375285 w 371475"/>
                  <a:gd name="connsiteY9" fmla="*/ 90487 h 238125"/>
                  <a:gd name="connsiteX10" fmla="*/ 375285 w 371475"/>
                  <a:gd name="connsiteY10" fmla="*/ 246697 h 238125"/>
                  <a:gd name="connsiteX11" fmla="*/ 302895 w 371475"/>
                  <a:gd name="connsiteY11" fmla="*/ 246697 h 238125"/>
                  <a:gd name="connsiteX12" fmla="*/ 302895 w 371475"/>
                  <a:gd name="connsiteY12" fmla="*/ 89535 h 238125"/>
                  <a:gd name="connsiteX13" fmla="*/ 264795 w 371475"/>
                  <a:gd name="connsiteY13" fmla="*/ 51435 h 238125"/>
                  <a:gd name="connsiteX14" fmla="*/ 231457 w 371475"/>
                  <a:gd name="connsiteY14" fmla="*/ 67628 h 238125"/>
                  <a:gd name="connsiteX15" fmla="*/ 222885 w 371475"/>
                  <a:gd name="connsiteY15" fmla="*/ 100012 h 238125"/>
                  <a:gd name="connsiteX16" fmla="*/ 222885 w 371475"/>
                  <a:gd name="connsiteY16" fmla="*/ 246697 h 238125"/>
                  <a:gd name="connsiteX17" fmla="*/ 150495 w 371475"/>
                  <a:gd name="connsiteY17" fmla="*/ 246697 h 238125"/>
                  <a:gd name="connsiteX18" fmla="*/ 150495 w 371475"/>
                  <a:gd name="connsiteY18" fmla="*/ 89535 h 238125"/>
                  <a:gd name="connsiteX19" fmla="*/ 112395 w 371475"/>
                  <a:gd name="connsiteY19" fmla="*/ 51435 h 238125"/>
                  <a:gd name="connsiteX20" fmla="*/ 80963 w 371475"/>
                  <a:gd name="connsiteY20" fmla="*/ 66675 h 238125"/>
                  <a:gd name="connsiteX21" fmla="*/ 71438 w 371475"/>
                  <a:gd name="connsiteY21" fmla="*/ 97155 h 238125"/>
                  <a:gd name="connsiteX22" fmla="*/ 71438 w 371475"/>
                  <a:gd name="connsiteY22" fmla="*/ 246697 h 2381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</a:cxnLst>
                <a:rect l="l" t="t" r="r" b="b"/>
                <a:pathLst>
                  <a:path w="371475" h="238125">
                    <a:moveTo>
                      <a:pt x="72390" y="246697"/>
                    </a:moveTo>
                    <a:lnTo>
                      <a:pt x="0" y="246697"/>
                    </a:lnTo>
                    <a:lnTo>
                      <a:pt x="0" y="6668"/>
                    </a:lnTo>
                    <a:lnTo>
                      <a:pt x="50482" y="6668"/>
                    </a:lnTo>
                    <a:lnTo>
                      <a:pt x="62865" y="33338"/>
                    </a:lnTo>
                    <a:cubicBezTo>
                      <a:pt x="80963" y="11430"/>
                      <a:pt x="105728" y="0"/>
                      <a:pt x="136207" y="0"/>
                    </a:cubicBezTo>
                    <a:cubicBezTo>
                      <a:pt x="169545" y="0"/>
                      <a:pt x="194310" y="11430"/>
                      <a:pt x="208597" y="33338"/>
                    </a:cubicBezTo>
                    <a:cubicBezTo>
                      <a:pt x="228600" y="11430"/>
                      <a:pt x="254318" y="0"/>
                      <a:pt x="287655" y="0"/>
                    </a:cubicBezTo>
                    <a:cubicBezTo>
                      <a:pt x="316230" y="0"/>
                      <a:pt x="338138" y="7620"/>
                      <a:pt x="353378" y="23813"/>
                    </a:cubicBezTo>
                    <a:cubicBezTo>
                      <a:pt x="367665" y="39052"/>
                      <a:pt x="375285" y="61912"/>
                      <a:pt x="375285" y="90487"/>
                    </a:cubicBezTo>
                    <a:lnTo>
                      <a:pt x="375285" y="246697"/>
                    </a:lnTo>
                    <a:lnTo>
                      <a:pt x="302895" y="246697"/>
                    </a:lnTo>
                    <a:lnTo>
                      <a:pt x="302895" y="89535"/>
                    </a:lnTo>
                    <a:cubicBezTo>
                      <a:pt x="302895" y="63818"/>
                      <a:pt x="290513" y="51435"/>
                      <a:pt x="264795" y="51435"/>
                    </a:cubicBezTo>
                    <a:cubicBezTo>
                      <a:pt x="250507" y="51435"/>
                      <a:pt x="239078" y="57150"/>
                      <a:pt x="231457" y="67628"/>
                    </a:cubicBezTo>
                    <a:cubicBezTo>
                      <a:pt x="225743" y="76200"/>
                      <a:pt x="222885" y="86678"/>
                      <a:pt x="222885" y="100012"/>
                    </a:cubicBezTo>
                    <a:lnTo>
                      <a:pt x="222885" y="246697"/>
                    </a:lnTo>
                    <a:lnTo>
                      <a:pt x="150495" y="246697"/>
                    </a:lnTo>
                    <a:lnTo>
                      <a:pt x="150495" y="89535"/>
                    </a:lnTo>
                    <a:cubicBezTo>
                      <a:pt x="150495" y="63818"/>
                      <a:pt x="138113" y="51435"/>
                      <a:pt x="112395" y="51435"/>
                    </a:cubicBezTo>
                    <a:cubicBezTo>
                      <a:pt x="99060" y="51435"/>
                      <a:pt x="88582" y="56197"/>
                      <a:pt x="80963" y="66675"/>
                    </a:cubicBezTo>
                    <a:cubicBezTo>
                      <a:pt x="74295" y="75247"/>
                      <a:pt x="71438" y="85725"/>
                      <a:pt x="71438" y="97155"/>
                    </a:cubicBezTo>
                    <a:lnTo>
                      <a:pt x="71438" y="246697"/>
                    </a:ln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2489">
                  <a:latin typeface="CiscoSansTT Light" panose="020B0503020201020303" pitchFamily="34" charset="0"/>
                  <a:cs typeface="CiscoSansTT Light" panose="020B0503020201020303" pitchFamily="34" charset="0"/>
                </a:endParaRPr>
              </a:p>
            </p:txBody>
          </p:sp>
          <p:sp>
            <p:nvSpPr>
              <p:cNvPr id="18" name="Freeform: Shape 17">
                <a:extLst>
                  <a:ext uri="{FF2B5EF4-FFF2-40B4-BE49-F238E27FC236}">
                    <a16:creationId xmlns:a16="http://schemas.microsoft.com/office/drawing/2014/main" id="{DB8CFF30-3B90-4182-8B59-B81025B2D96E}"/>
                  </a:ext>
                </a:extLst>
              </p:cNvPr>
              <p:cNvSpPr/>
              <p:nvPr/>
            </p:nvSpPr>
            <p:spPr>
              <a:xfrm>
                <a:off x="5934397" y="3645640"/>
                <a:ext cx="247650" cy="247650"/>
              </a:xfrm>
              <a:custGeom>
                <a:avLst/>
                <a:gdLst>
                  <a:gd name="connsiteX0" fmla="*/ 170498 w 247650"/>
                  <a:gd name="connsiteY0" fmla="*/ 176213 h 247650"/>
                  <a:gd name="connsiteX1" fmla="*/ 243840 w 247650"/>
                  <a:gd name="connsiteY1" fmla="*/ 176213 h 247650"/>
                  <a:gd name="connsiteX2" fmla="*/ 203835 w 247650"/>
                  <a:gd name="connsiteY2" fmla="*/ 234315 h 247650"/>
                  <a:gd name="connsiteX3" fmla="*/ 125730 w 247650"/>
                  <a:gd name="connsiteY3" fmla="*/ 253365 h 247650"/>
                  <a:gd name="connsiteX4" fmla="*/ 30480 w 247650"/>
                  <a:gd name="connsiteY4" fmla="*/ 215265 h 247650"/>
                  <a:gd name="connsiteX5" fmla="*/ 0 w 247650"/>
                  <a:gd name="connsiteY5" fmla="*/ 126682 h 247650"/>
                  <a:gd name="connsiteX6" fmla="*/ 38100 w 247650"/>
                  <a:gd name="connsiteY6" fmla="*/ 28575 h 247650"/>
                  <a:gd name="connsiteX7" fmla="*/ 123825 w 247650"/>
                  <a:gd name="connsiteY7" fmla="*/ 0 h 247650"/>
                  <a:gd name="connsiteX8" fmla="*/ 218123 w 247650"/>
                  <a:gd name="connsiteY8" fmla="*/ 40957 h 247650"/>
                  <a:gd name="connsiteX9" fmla="*/ 247650 w 247650"/>
                  <a:gd name="connsiteY9" fmla="*/ 144780 h 247650"/>
                  <a:gd name="connsiteX10" fmla="*/ 72390 w 247650"/>
                  <a:gd name="connsiteY10" fmla="*/ 144780 h 247650"/>
                  <a:gd name="connsiteX11" fmla="*/ 129540 w 247650"/>
                  <a:gd name="connsiteY11" fmla="*/ 203835 h 247650"/>
                  <a:gd name="connsiteX12" fmla="*/ 157163 w 247650"/>
                  <a:gd name="connsiteY12" fmla="*/ 197168 h 247650"/>
                  <a:gd name="connsiteX13" fmla="*/ 170498 w 247650"/>
                  <a:gd name="connsiteY13" fmla="*/ 176213 h 247650"/>
                  <a:gd name="connsiteX14" fmla="*/ 121920 w 247650"/>
                  <a:gd name="connsiteY14" fmla="*/ 44768 h 247650"/>
                  <a:gd name="connsiteX15" fmla="*/ 72390 w 247650"/>
                  <a:gd name="connsiteY15" fmla="*/ 101918 h 247650"/>
                  <a:gd name="connsiteX16" fmla="*/ 173355 w 247650"/>
                  <a:gd name="connsiteY16" fmla="*/ 101918 h 247650"/>
                  <a:gd name="connsiteX17" fmla="*/ 121920 w 247650"/>
                  <a:gd name="connsiteY17" fmla="*/ 44768 h 2476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247650" h="247650">
                    <a:moveTo>
                      <a:pt x="170498" y="176213"/>
                    </a:moveTo>
                    <a:lnTo>
                      <a:pt x="243840" y="176213"/>
                    </a:lnTo>
                    <a:cubicBezTo>
                      <a:pt x="238125" y="200978"/>
                      <a:pt x="223838" y="220980"/>
                      <a:pt x="203835" y="234315"/>
                    </a:cubicBezTo>
                    <a:cubicBezTo>
                      <a:pt x="183833" y="246697"/>
                      <a:pt x="157163" y="253365"/>
                      <a:pt x="125730" y="253365"/>
                    </a:cubicBezTo>
                    <a:cubicBezTo>
                      <a:pt x="84773" y="253365"/>
                      <a:pt x="53340" y="240983"/>
                      <a:pt x="30480" y="215265"/>
                    </a:cubicBezTo>
                    <a:cubicBezTo>
                      <a:pt x="9525" y="192405"/>
                      <a:pt x="0" y="162878"/>
                      <a:pt x="0" y="126682"/>
                    </a:cubicBezTo>
                    <a:cubicBezTo>
                      <a:pt x="0" y="83820"/>
                      <a:pt x="12383" y="50482"/>
                      <a:pt x="38100" y="28575"/>
                    </a:cubicBezTo>
                    <a:cubicBezTo>
                      <a:pt x="60008" y="9525"/>
                      <a:pt x="88583" y="0"/>
                      <a:pt x="123825" y="0"/>
                    </a:cubicBezTo>
                    <a:cubicBezTo>
                      <a:pt x="165735" y="0"/>
                      <a:pt x="197168" y="13335"/>
                      <a:pt x="218123" y="40957"/>
                    </a:cubicBezTo>
                    <a:cubicBezTo>
                      <a:pt x="237173" y="65722"/>
                      <a:pt x="247650" y="100013"/>
                      <a:pt x="247650" y="144780"/>
                    </a:cubicBezTo>
                    <a:lnTo>
                      <a:pt x="72390" y="144780"/>
                    </a:lnTo>
                    <a:cubicBezTo>
                      <a:pt x="77153" y="183833"/>
                      <a:pt x="96203" y="203835"/>
                      <a:pt x="129540" y="203835"/>
                    </a:cubicBezTo>
                    <a:cubicBezTo>
                      <a:pt x="140018" y="203835"/>
                      <a:pt x="149543" y="201930"/>
                      <a:pt x="157163" y="197168"/>
                    </a:cubicBezTo>
                    <a:cubicBezTo>
                      <a:pt x="163830" y="191453"/>
                      <a:pt x="168593" y="184785"/>
                      <a:pt x="170498" y="176213"/>
                    </a:cubicBezTo>
                    <a:close/>
                    <a:moveTo>
                      <a:pt x="121920" y="44768"/>
                    </a:moveTo>
                    <a:cubicBezTo>
                      <a:pt x="92393" y="44768"/>
                      <a:pt x="76200" y="63818"/>
                      <a:pt x="72390" y="101918"/>
                    </a:cubicBezTo>
                    <a:lnTo>
                      <a:pt x="173355" y="101918"/>
                    </a:lnTo>
                    <a:cubicBezTo>
                      <a:pt x="170498" y="63818"/>
                      <a:pt x="153353" y="44768"/>
                      <a:pt x="121920" y="44768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2489">
                  <a:latin typeface="CiscoSansTT Light" panose="020B0503020201020303" pitchFamily="34" charset="0"/>
                  <a:cs typeface="CiscoSansTT Light" panose="020B0503020201020303" pitchFamily="34" charset="0"/>
                </a:endParaRPr>
              </a:p>
            </p:txBody>
          </p:sp>
          <p:sp>
            <p:nvSpPr>
              <p:cNvPr id="19" name="Freeform: Shape 18">
                <a:extLst>
                  <a:ext uri="{FF2B5EF4-FFF2-40B4-BE49-F238E27FC236}">
                    <a16:creationId xmlns:a16="http://schemas.microsoft.com/office/drawing/2014/main" id="{2D192A82-0EAF-4951-B698-9291EB2AF632}"/>
                  </a:ext>
                </a:extLst>
              </p:cNvPr>
              <p:cNvSpPr/>
              <p:nvPr/>
            </p:nvSpPr>
            <p:spPr>
              <a:xfrm>
                <a:off x="6216337" y="3643735"/>
                <a:ext cx="152400" cy="247650"/>
              </a:xfrm>
              <a:custGeom>
                <a:avLst/>
                <a:gdLst>
                  <a:gd name="connsiteX0" fmla="*/ 72390 w 152400"/>
                  <a:gd name="connsiteY0" fmla="*/ 247650 h 247650"/>
                  <a:gd name="connsiteX1" fmla="*/ 0 w 152400"/>
                  <a:gd name="connsiteY1" fmla="*/ 247650 h 247650"/>
                  <a:gd name="connsiteX2" fmla="*/ 0 w 152400"/>
                  <a:gd name="connsiteY2" fmla="*/ 7620 h 247650"/>
                  <a:gd name="connsiteX3" fmla="*/ 60008 w 152400"/>
                  <a:gd name="connsiteY3" fmla="*/ 7620 h 247650"/>
                  <a:gd name="connsiteX4" fmla="*/ 67628 w 152400"/>
                  <a:gd name="connsiteY4" fmla="*/ 43815 h 247650"/>
                  <a:gd name="connsiteX5" fmla="*/ 130493 w 152400"/>
                  <a:gd name="connsiteY5" fmla="*/ 0 h 247650"/>
                  <a:gd name="connsiteX6" fmla="*/ 158115 w 152400"/>
                  <a:gd name="connsiteY6" fmla="*/ 2858 h 247650"/>
                  <a:gd name="connsiteX7" fmla="*/ 158115 w 152400"/>
                  <a:gd name="connsiteY7" fmla="*/ 69533 h 247650"/>
                  <a:gd name="connsiteX8" fmla="*/ 127635 w 152400"/>
                  <a:gd name="connsiteY8" fmla="*/ 64770 h 247650"/>
                  <a:gd name="connsiteX9" fmla="*/ 87630 w 152400"/>
                  <a:gd name="connsiteY9" fmla="*/ 88583 h 247650"/>
                  <a:gd name="connsiteX10" fmla="*/ 73343 w 152400"/>
                  <a:gd name="connsiteY10" fmla="*/ 146685 h 247650"/>
                  <a:gd name="connsiteX11" fmla="*/ 73343 w 152400"/>
                  <a:gd name="connsiteY11" fmla="*/ 247650 h 2476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152400" h="247650">
                    <a:moveTo>
                      <a:pt x="72390" y="247650"/>
                    </a:moveTo>
                    <a:lnTo>
                      <a:pt x="0" y="247650"/>
                    </a:lnTo>
                    <a:lnTo>
                      <a:pt x="0" y="7620"/>
                    </a:lnTo>
                    <a:lnTo>
                      <a:pt x="60008" y="7620"/>
                    </a:lnTo>
                    <a:lnTo>
                      <a:pt x="67628" y="43815"/>
                    </a:lnTo>
                    <a:cubicBezTo>
                      <a:pt x="80963" y="15240"/>
                      <a:pt x="101918" y="0"/>
                      <a:pt x="130493" y="0"/>
                    </a:cubicBezTo>
                    <a:cubicBezTo>
                      <a:pt x="140970" y="0"/>
                      <a:pt x="150495" y="953"/>
                      <a:pt x="158115" y="2858"/>
                    </a:cubicBezTo>
                    <a:lnTo>
                      <a:pt x="158115" y="69533"/>
                    </a:lnTo>
                    <a:cubicBezTo>
                      <a:pt x="148590" y="66675"/>
                      <a:pt x="138113" y="64770"/>
                      <a:pt x="127635" y="64770"/>
                    </a:cubicBezTo>
                    <a:cubicBezTo>
                      <a:pt x="111443" y="64770"/>
                      <a:pt x="98108" y="72390"/>
                      <a:pt x="87630" y="88583"/>
                    </a:cubicBezTo>
                    <a:cubicBezTo>
                      <a:pt x="78105" y="102870"/>
                      <a:pt x="73343" y="122873"/>
                      <a:pt x="73343" y="146685"/>
                    </a:cubicBezTo>
                    <a:lnTo>
                      <a:pt x="73343" y="247650"/>
                    </a:ln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2489">
                  <a:latin typeface="CiscoSansTT Light" panose="020B0503020201020303" pitchFamily="34" charset="0"/>
                  <a:cs typeface="CiscoSansTT Light" panose="020B0503020201020303" pitchFamily="34" charset="0"/>
                </a:endParaRPr>
              </a:p>
            </p:txBody>
          </p:sp>
          <p:sp>
            <p:nvSpPr>
              <p:cNvPr id="20" name="Freeform: Shape 19">
                <a:extLst>
                  <a:ext uri="{FF2B5EF4-FFF2-40B4-BE49-F238E27FC236}">
                    <a16:creationId xmlns:a16="http://schemas.microsoft.com/office/drawing/2014/main" id="{80C91A13-B1E2-46AB-A230-643F57D492E5}"/>
                  </a:ext>
                </a:extLst>
              </p:cNvPr>
              <p:cNvSpPr/>
              <p:nvPr/>
            </p:nvSpPr>
            <p:spPr>
              <a:xfrm>
                <a:off x="6522090" y="3559915"/>
                <a:ext cx="219075" cy="323850"/>
              </a:xfrm>
              <a:custGeom>
                <a:avLst/>
                <a:gdLst>
                  <a:gd name="connsiteX0" fmla="*/ 210503 w 219075"/>
                  <a:gd name="connsiteY0" fmla="*/ 137160 h 323850"/>
                  <a:gd name="connsiteX1" fmla="*/ 210503 w 219075"/>
                  <a:gd name="connsiteY1" fmla="*/ 190500 h 323850"/>
                  <a:gd name="connsiteX2" fmla="*/ 77153 w 219075"/>
                  <a:gd name="connsiteY2" fmla="*/ 190500 h 323850"/>
                  <a:gd name="connsiteX3" fmla="*/ 77153 w 219075"/>
                  <a:gd name="connsiteY3" fmla="*/ 275272 h 323850"/>
                  <a:gd name="connsiteX4" fmla="*/ 223838 w 219075"/>
                  <a:gd name="connsiteY4" fmla="*/ 275272 h 323850"/>
                  <a:gd name="connsiteX5" fmla="*/ 223838 w 219075"/>
                  <a:gd name="connsiteY5" fmla="*/ 331470 h 323850"/>
                  <a:gd name="connsiteX6" fmla="*/ 0 w 219075"/>
                  <a:gd name="connsiteY6" fmla="*/ 331470 h 323850"/>
                  <a:gd name="connsiteX7" fmla="*/ 0 w 219075"/>
                  <a:gd name="connsiteY7" fmla="*/ 0 h 323850"/>
                  <a:gd name="connsiteX8" fmla="*/ 223838 w 219075"/>
                  <a:gd name="connsiteY8" fmla="*/ 0 h 323850"/>
                  <a:gd name="connsiteX9" fmla="*/ 223838 w 219075"/>
                  <a:gd name="connsiteY9" fmla="*/ 57150 h 323850"/>
                  <a:gd name="connsiteX10" fmla="*/ 77153 w 219075"/>
                  <a:gd name="connsiteY10" fmla="*/ 57150 h 323850"/>
                  <a:gd name="connsiteX11" fmla="*/ 77153 w 219075"/>
                  <a:gd name="connsiteY11" fmla="*/ 138113 h 323850"/>
                  <a:gd name="connsiteX12" fmla="*/ 210503 w 219075"/>
                  <a:gd name="connsiteY12" fmla="*/ 138113 h 3238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219075" h="323850">
                    <a:moveTo>
                      <a:pt x="210503" y="137160"/>
                    </a:moveTo>
                    <a:lnTo>
                      <a:pt x="210503" y="190500"/>
                    </a:lnTo>
                    <a:lnTo>
                      <a:pt x="77153" y="190500"/>
                    </a:lnTo>
                    <a:lnTo>
                      <a:pt x="77153" y="275272"/>
                    </a:lnTo>
                    <a:lnTo>
                      <a:pt x="223838" y="275272"/>
                    </a:lnTo>
                    <a:lnTo>
                      <a:pt x="223838" y="331470"/>
                    </a:lnTo>
                    <a:lnTo>
                      <a:pt x="0" y="331470"/>
                    </a:lnTo>
                    <a:lnTo>
                      <a:pt x="0" y="0"/>
                    </a:lnTo>
                    <a:lnTo>
                      <a:pt x="223838" y="0"/>
                    </a:lnTo>
                    <a:lnTo>
                      <a:pt x="223838" y="57150"/>
                    </a:lnTo>
                    <a:lnTo>
                      <a:pt x="77153" y="57150"/>
                    </a:lnTo>
                    <a:lnTo>
                      <a:pt x="77153" y="138113"/>
                    </a:lnTo>
                    <a:lnTo>
                      <a:pt x="210503" y="138113"/>
                    </a:ln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2489">
                  <a:latin typeface="CiscoSansTT Light" panose="020B0503020201020303" pitchFamily="34" charset="0"/>
                  <a:cs typeface="CiscoSansTT Light" panose="020B0503020201020303" pitchFamily="34" charset="0"/>
                </a:endParaRPr>
              </a:p>
            </p:txBody>
          </p:sp>
          <p:sp>
            <p:nvSpPr>
              <p:cNvPr id="21" name="Freeform: Shape 20">
                <a:extLst>
                  <a:ext uri="{FF2B5EF4-FFF2-40B4-BE49-F238E27FC236}">
                    <a16:creationId xmlns:a16="http://schemas.microsoft.com/office/drawing/2014/main" id="{2D1B10F0-040A-47F8-B34E-69FE25EF43B1}"/>
                  </a:ext>
                </a:extLst>
              </p:cNvPr>
              <p:cNvSpPr/>
              <p:nvPr/>
            </p:nvSpPr>
            <p:spPr>
              <a:xfrm>
                <a:off x="6768787" y="3651355"/>
                <a:ext cx="257175" cy="238125"/>
              </a:xfrm>
              <a:custGeom>
                <a:avLst/>
                <a:gdLst>
                  <a:gd name="connsiteX0" fmla="*/ 246697 w 257175"/>
                  <a:gd name="connsiteY0" fmla="*/ 0 h 238125"/>
                  <a:gd name="connsiteX1" fmla="*/ 167640 w 257175"/>
                  <a:gd name="connsiteY1" fmla="*/ 113348 h 238125"/>
                  <a:gd name="connsiteX2" fmla="*/ 259080 w 257175"/>
                  <a:gd name="connsiteY2" fmla="*/ 240982 h 238125"/>
                  <a:gd name="connsiteX3" fmla="*/ 172403 w 257175"/>
                  <a:gd name="connsiteY3" fmla="*/ 240982 h 238125"/>
                  <a:gd name="connsiteX4" fmla="*/ 125730 w 257175"/>
                  <a:gd name="connsiteY4" fmla="*/ 166688 h 238125"/>
                  <a:gd name="connsiteX5" fmla="*/ 76200 w 257175"/>
                  <a:gd name="connsiteY5" fmla="*/ 240982 h 238125"/>
                  <a:gd name="connsiteX6" fmla="*/ 0 w 257175"/>
                  <a:gd name="connsiteY6" fmla="*/ 240982 h 238125"/>
                  <a:gd name="connsiteX7" fmla="*/ 89535 w 257175"/>
                  <a:gd name="connsiteY7" fmla="*/ 114300 h 238125"/>
                  <a:gd name="connsiteX8" fmla="*/ 4763 w 257175"/>
                  <a:gd name="connsiteY8" fmla="*/ 952 h 238125"/>
                  <a:gd name="connsiteX9" fmla="*/ 88583 w 257175"/>
                  <a:gd name="connsiteY9" fmla="*/ 952 h 238125"/>
                  <a:gd name="connsiteX10" fmla="*/ 129540 w 257175"/>
                  <a:gd name="connsiteY10" fmla="*/ 62865 h 238125"/>
                  <a:gd name="connsiteX11" fmla="*/ 171450 w 257175"/>
                  <a:gd name="connsiteY11" fmla="*/ 0 h 238125"/>
                  <a:gd name="connsiteX12" fmla="*/ 246697 w 257175"/>
                  <a:gd name="connsiteY12" fmla="*/ 0 h 2381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257175" h="238125">
                    <a:moveTo>
                      <a:pt x="246697" y="0"/>
                    </a:moveTo>
                    <a:lnTo>
                      <a:pt x="167640" y="113348"/>
                    </a:lnTo>
                    <a:lnTo>
                      <a:pt x="259080" y="240982"/>
                    </a:lnTo>
                    <a:lnTo>
                      <a:pt x="172403" y="240982"/>
                    </a:lnTo>
                    <a:lnTo>
                      <a:pt x="125730" y="166688"/>
                    </a:lnTo>
                    <a:lnTo>
                      <a:pt x="76200" y="240982"/>
                    </a:lnTo>
                    <a:lnTo>
                      <a:pt x="0" y="240982"/>
                    </a:lnTo>
                    <a:lnTo>
                      <a:pt x="89535" y="114300"/>
                    </a:lnTo>
                    <a:lnTo>
                      <a:pt x="4763" y="952"/>
                    </a:lnTo>
                    <a:lnTo>
                      <a:pt x="88583" y="952"/>
                    </a:lnTo>
                    <a:lnTo>
                      <a:pt x="129540" y="62865"/>
                    </a:lnTo>
                    <a:lnTo>
                      <a:pt x="171450" y="0"/>
                    </a:lnTo>
                    <a:lnTo>
                      <a:pt x="246697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2489">
                  <a:latin typeface="CiscoSansTT Light" panose="020B0503020201020303" pitchFamily="34" charset="0"/>
                  <a:cs typeface="CiscoSansTT Light" panose="020B0503020201020303" pitchFamily="34" charset="0"/>
                </a:endParaRPr>
              </a:p>
            </p:txBody>
          </p:sp>
          <p:sp>
            <p:nvSpPr>
              <p:cNvPr id="22" name="Freeform: Shape 21">
                <a:extLst>
                  <a:ext uri="{FF2B5EF4-FFF2-40B4-BE49-F238E27FC236}">
                    <a16:creationId xmlns:a16="http://schemas.microsoft.com/office/drawing/2014/main" id="{89AB0E61-3929-4193-9DEA-833BB0837D27}"/>
                  </a:ext>
                </a:extLst>
              </p:cNvPr>
              <p:cNvSpPr/>
              <p:nvPr/>
            </p:nvSpPr>
            <p:spPr>
              <a:xfrm>
                <a:off x="7052632" y="3644688"/>
                <a:ext cx="247650" cy="323850"/>
              </a:xfrm>
              <a:custGeom>
                <a:avLst/>
                <a:gdLst>
                  <a:gd name="connsiteX0" fmla="*/ 138113 w 247650"/>
                  <a:gd name="connsiteY0" fmla="*/ 253365 h 323850"/>
                  <a:gd name="connsiteX1" fmla="*/ 72390 w 247650"/>
                  <a:gd name="connsiteY1" fmla="*/ 225743 h 323850"/>
                  <a:gd name="connsiteX2" fmla="*/ 72390 w 247650"/>
                  <a:gd name="connsiteY2" fmla="*/ 329565 h 323850"/>
                  <a:gd name="connsiteX3" fmla="*/ 0 w 247650"/>
                  <a:gd name="connsiteY3" fmla="*/ 329565 h 323850"/>
                  <a:gd name="connsiteX4" fmla="*/ 0 w 247650"/>
                  <a:gd name="connsiteY4" fmla="*/ 6668 h 323850"/>
                  <a:gd name="connsiteX5" fmla="*/ 54292 w 247650"/>
                  <a:gd name="connsiteY5" fmla="*/ 6668 h 323850"/>
                  <a:gd name="connsiteX6" fmla="*/ 68580 w 247650"/>
                  <a:gd name="connsiteY6" fmla="*/ 33338 h 323850"/>
                  <a:gd name="connsiteX7" fmla="*/ 144780 w 247650"/>
                  <a:gd name="connsiteY7" fmla="*/ 0 h 323850"/>
                  <a:gd name="connsiteX8" fmla="*/ 225742 w 247650"/>
                  <a:gd name="connsiteY8" fmla="*/ 36195 h 323850"/>
                  <a:gd name="connsiteX9" fmla="*/ 251460 w 247650"/>
                  <a:gd name="connsiteY9" fmla="*/ 123825 h 323850"/>
                  <a:gd name="connsiteX10" fmla="*/ 214313 w 247650"/>
                  <a:gd name="connsiteY10" fmla="*/ 224790 h 323850"/>
                  <a:gd name="connsiteX11" fmla="*/ 138113 w 247650"/>
                  <a:gd name="connsiteY11" fmla="*/ 253365 h 323850"/>
                  <a:gd name="connsiteX12" fmla="*/ 179070 w 247650"/>
                  <a:gd name="connsiteY12" fmla="*/ 124778 h 323850"/>
                  <a:gd name="connsiteX13" fmla="*/ 125730 w 247650"/>
                  <a:gd name="connsiteY13" fmla="*/ 52387 h 323850"/>
                  <a:gd name="connsiteX14" fmla="*/ 83820 w 247650"/>
                  <a:gd name="connsiteY14" fmla="*/ 72390 h 323850"/>
                  <a:gd name="connsiteX15" fmla="*/ 69532 w 247650"/>
                  <a:gd name="connsiteY15" fmla="*/ 123825 h 323850"/>
                  <a:gd name="connsiteX16" fmla="*/ 122872 w 247650"/>
                  <a:gd name="connsiteY16" fmla="*/ 200978 h 323850"/>
                  <a:gd name="connsiteX17" fmla="*/ 164782 w 247650"/>
                  <a:gd name="connsiteY17" fmla="*/ 180022 h 323850"/>
                  <a:gd name="connsiteX18" fmla="*/ 179070 w 247650"/>
                  <a:gd name="connsiteY18" fmla="*/ 124778 h 3238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247650" h="323850">
                    <a:moveTo>
                      <a:pt x="138113" y="253365"/>
                    </a:moveTo>
                    <a:cubicBezTo>
                      <a:pt x="112395" y="253365"/>
                      <a:pt x="89535" y="243840"/>
                      <a:pt x="72390" y="225743"/>
                    </a:cubicBezTo>
                    <a:lnTo>
                      <a:pt x="72390" y="329565"/>
                    </a:lnTo>
                    <a:lnTo>
                      <a:pt x="0" y="329565"/>
                    </a:lnTo>
                    <a:lnTo>
                      <a:pt x="0" y="6668"/>
                    </a:lnTo>
                    <a:lnTo>
                      <a:pt x="54292" y="6668"/>
                    </a:lnTo>
                    <a:lnTo>
                      <a:pt x="68580" y="33338"/>
                    </a:lnTo>
                    <a:cubicBezTo>
                      <a:pt x="87630" y="10477"/>
                      <a:pt x="113347" y="0"/>
                      <a:pt x="144780" y="0"/>
                    </a:cubicBezTo>
                    <a:cubicBezTo>
                      <a:pt x="180022" y="0"/>
                      <a:pt x="206692" y="12382"/>
                      <a:pt x="225742" y="36195"/>
                    </a:cubicBezTo>
                    <a:cubicBezTo>
                      <a:pt x="242888" y="58103"/>
                      <a:pt x="251460" y="86678"/>
                      <a:pt x="251460" y="123825"/>
                    </a:cubicBezTo>
                    <a:cubicBezTo>
                      <a:pt x="251460" y="166687"/>
                      <a:pt x="239077" y="200025"/>
                      <a:pt x="214313" y="224790"/>
                    </a:cubicBezTo>
                    <a:cubicBezTo>
                      <a:pt x="194310" y="243840"/>
                      <a:pt x="169545" y="253365"/>
                      <a:pt x="138113" y="253365"/>
                    </a:cubicBezTo>
                    <a:close/>
                    <a:moveTo>
                      <a:pt x="179070" y="124778"/>
                    </a:moveTo>
                    <a:cubicBezTo>
                      <a:pt x="179070" y="76200"/>
                      <a:pt x="160972" y="52387"/>
                      <a:pt x="125730" y="52387"/>
                    </a:cubicBezTo>
                    <a:cubicBezTo>
                      <a:pt x="107632" y="52387"/>
                      <a:pt x="93345" y="59055"/>
                      <a:pt x="83820" y="72390"/>
                    </a:cubicBezTo>
                    <a:cubicBezTo>
                      <a:pt x="74295" y="84772"/>
                      <a:pt x="69532" y="101918"/>
                      <a:pt x="69532" y="123825"/>
                    </a:cubicBezTo>
                    <a:cubicBezTo>
                      <a:pt x="69532" y="175260"/>
                      <a:pt x="87630" y="200978"/>
                      <a:pt x="122872" y="200978"/>
                    </a:cubicBezTo>
                    <a:cubicBezTo>
                      <a:pt x="140970" y="200978"/>
                      <a:pt x="155257" y="194310"/>
                      <a:pt x="164782" y="180022"/>
                    </a:cubicBezTo>
                    <a:cubicBezTo>
                      <a:pt x="175260" y="166687"/>
                      <a:pt x="179070" y="148590"/>
                      <a:pt x="179070" y="124778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2489">
                  <a:latin typeface="CiscoSansTT Light" panose="020B0503020201020303" pitchFamily="34" charset="0"/>
                  <a:cs typeface="CiscoSansTT Light" panose="020B0503020201020303" pitchFamily="34" charset="0"/>
                </a:endParaRPr>
              </a:p>
            </p:txBody>
          </p:sp>
          <p:sp>
            <p:nvSpPr>
              <p:cNvPr id="23" name="Freeform: Shape 22">
                <a:extLst>
                  <a:ext uri="{FF2B5EF4-FFF2-40B4-BE49-F238E27FC236}">
                    <a16:creationId xmlns:a16="http://schemas.microsoft.com/office/drawing/2014/main" id="{2E4DD595-C4FA-44EC-8D49-177AF0C87545}"/>
                  </a:ext>
                </a:extLst>
              </p:cNvPr>
              <p:cNvSpPr/>
              <p:nvPr/>
            </p:nvSpPr>
            <p:spPr>
              <a:xfrm>
                <a:off x="7332667" y="3645640"/>
                <a:ext cx="238125" cy="247650"/>
              </a:xfrm>
              <a:custGeom>
                <a:avLst/>
                <a:gdLst>
                  <a:gd name="connsiteX0" fmla="*/ 170497 w 238125"/>
                  <a:gd name="connsiteY0" fmla="*/ 176213 h 247650"/>
                  <a:gd name="connsiteX1" fmla="*/ 243840 w 238125"/>
                  <a:gd name="connsiteY1" fmla="*/ 176213 h 247650"/>
                  <a:gd name="connsiteX2" fmla="*/ 203835 w 238125"/>
                  <a:gd name="connsiteY2" fmla="*/ 234315 h 247650"/>
                  <a:gd name="connsiteX3" fmla="*/ 125730 w 238125"/>
                  <a:gd name="connsiteY3" fmla="*/ 253365 h 247650"/>
                  <a:gd name="connsiteX4" fmla="*/ 30480 w 238125"/>
                  <a:gd name="connsiteY4" fmla="*/ 215265 h 247650"/>
                  <a:gd name="connsiteX5" fmla="*/ 0 w 238125"/>
                  <a:gd name="connsiteY5" fmla="*/ 126682 h 247650"/>
                  <a:gd name="connsiteX6" fmla="*/ 38100 w 238125"/>
                  <a:gd name="connsiteY6" fmla="*/ 28575 h 247650"/>
                  <a:gd name="connsiteX7" fmla="*/ 123825 w 238125"/>
                  <a:gd name="connsiteY7" fmla="*/ 0 h 247650"/>
                  <a:gd name="connsiteX8" fmla="*/ 218122 w 238125"/>
                  <a:gd name="connsiteY8" fmla="*/ 40957 h 247650"/>
                  <a:gd name="connsiteX9" fmla="*/ 247650 w 238125"/>
                  <a:gd name="connsiteY9" fmla="*/ 144780 h 247650"/>
                  <a:gd name="connsiteX10" fmla="*/ 72390 w 238125"/>
                  <a:gd name="connsiteY10" fmla="*/ 144780 h 247650"/>
                  <a:gd name="connsiteX11" fmla="*/ 129540 w 238125"/>
                  <a:gd name="connsiteY11" fmla="*/ 203835 h 247650"/>
                  <a:gd name="connsiteX12" fmla="*/ 157163 w 238125"/>
                  <a:gd name="connsiteY12" fmla="*/ 197168 h 247650"/>
                  <a:gd name="connsiteX13" fmla="*/ 170497 w 238125"/>
                  <a:gd name="connsiteY13" fmla="*/ 176213 h 247650"/>
                  <a:gd name="connsiteX14" fmla="*/ 121920 w 238125"/>
                  <a:gd name="connsiteY14" fmla="*/ 44768 h 247650"/>
                  <a:gd name="connsiteX15" fmla="*/ 72390 w 238125"/>
                  <a:gd name="connsiteY15" fmla="*/ 101918 h 247650"/>
                  <a:gd name="connsiteX16" fmla="*/ 173355 w 238125"/>
                  <a:gd name="connsiteY16" fmla="*/ 101918 h 247650"/>
                  <a:gd name="connsiteX17" fmla="*/ 121920 w 238125"/>
                  <a:gd name="connsiteY17" fmla="*/ 44768 h 2476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238125" h="247650">
                    <a:moveTo>
                      <a:pt x="170497" y="176213"/>
                    </a:moveTo>
                    <a:lnTo>
                      <a:pt x="243840" y="176213"/>
                    </a:lnTo>
                    <a:cubicBezTo>
                      <a:pt x="238125" y="200978"/>
                      <a:pt x="224790" y="220980"/>
                      <a:pt x="203835" y="234315"/>
                    </a:cubicBezTo>
                    <a:cubicBezTo>
                      <a:pt x="183832" y="246697"/>
                      <a:pt x="157163" y="253365"/>
                      <a:pt x="125730" y="253365"/>
                    </a:cubicBezTo>
                    <a:cubicBezTo>
                      <a:pt x="84772" y="253365"/>
                      <a:pt x="53340" y="240983"/>
                      <a:pt x="30480" y="215265"/>
                    </a:cubicBezTo>
                    <a:cubicBezTo>
                      <a:pt x="9525" y="192405"/>
                      <a:pt x="0" y="162878"/>
                      <a:pt x="0" y="126682"/>
                    </a:cubicBezTo>
                    <a:cubicBezTo>
                      <a:pt x="0" y="83820"/>
                      <a:pt x="12382" y="50482"/>
                      <a:pt x="38100" y="28575"/>
                    </a:cubicBezTo>
                    <a:cubicBezTo>
                      <a:pt x="60007" y="9525"/>
                      <a:pt x="88582" y="0"/>
                      <a:pt x="123825" y="0"/>
                    </a:cubicBezTo>
                    <a:cubicBezTo>
                      <a:pt x="165735" y="0"/>
                      <a:pt x="197167" y="13335"/>
                      <a:pt x="218122" y="40957"/>
                    </a:cubicBezTo>
                    <a:cubicBezTo>
                      <a:pt x="237172" y="65722"/>
                      <a:pt x="247650" y="100013"/>
                      <a:pt x="247650" y="144780"/>
                    </a:cubicBezTo>
                    <a:lnTo>
                      <a:pt x="72390" y="144780"/>
                    </a:lnTo>
                    <a:cubicBezTo>
                      <a:pt x="77153" y="183833"/>
                      <a:pt x="96203" y="203835"/>
                      <a:pt x="129540" y="203835"/>
                    </a:cubicBezTo>
                    <a:cubicBezTo>
                      <a:pt x="140017" y="203835"/>
                      <a:pt x="149542" y="201930"/>
                      <a:pt x="157163" y="197168"/>
                    </a:cubicBezTo>
                    <a:cubicBezTo>
                      <a:pt x="164782" y="192405"/>
                      <a:pt x="168592" y="184785"/>
                      <a:pt x="170497" y="176213"/>
                    </a:cubicBezTo>
                    <a:close/>
                    <a:moveTo>
                      <a:pt x="121920" y="44768"/>
                    </a:moveTo>
                    <a:cubicBezTo>
                      <a:pt x="92392" y="44768"/>
                      <a:pt x="76200" y="63818"/>
                      <a:pt x="72390" y="101918"/>
                    </a:cubicBezTo>
                    <a:lnTo>
                      <a:pt x="173355" y="101918"/>
                    </a:lnTo>
                    <a:cubicBezTo>
                      <a:pt x="171450" y="63818"/>
                      <a:pt x="154305" y="44768"/>
                      <a:pt x="121920" y="44768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2489">
                  <a:latin typeface="CiscoSansTT Light" panose="020B0503020201020303" pitchFamily="34" charset="0"/>
                  <a:cs typeface="CiscoSansTT Light" panose="020B0503020201020303" pitchFamily="34" charset="0"/>
                </a:endParaRPr>
              </a:p>
            </p:txBody>
          </p:sp>
          <p:sp>
            <p:nvSpPr>
              <p:cNvPr id="24" name="Freeform: Shape 23">
                <a:extLst>
                  <a:ext uri="{FF2B5EF4-FFF2-40B4-BE49-F238E27FC236}">
                    <a16:creationId xmlns:a16="http://schemas.microsoft.com/office/drawing/2014/main" id="{44F3F178-9A7F-42B2-A659-A9EFAFEEB18E}"/>
                  </a:ext>
                </a:extLst>
              </p:cNvPr>
              <p:cNvSpPr/>
              <p:nvPr/>
            </p:nvSpPr>
            <p:spPr>
              <a:xfrm>
                <a:off x="7614607" y="3643735"/>
                <a:ext cx="152400" cy="247650"/>
              </a:xfrm>
              <a:custGeom>
                <a:avLst/>
                <a:gdLst>
                  <a:gd name="connsiteX0" fmla="*/ 72390 w 152400"/>
                  <a:gd name="connsiteY0" fmla="*/ 247650 h 247650"/>
                  <a:gd name="connsiteX1" fmla="*/ 0 w 152400"/>
                  <a:gd name="connsiteY1" fmla="*/ 247650 h 247650"/>
                  <a:gd name="connsiteX2" fmla="*/ 0 w 152400"/>
                  <a:gd name="connsiteY2" fmla="*/ 7620 h 247650"/>
                  <a:gd name="connsiteX3" fmla="*/ 60007 w 152400"/>
                  <a:gd name="connsiteY3" fmla="*/ 7620 h 247650"/>
                  <a:gd name="connsiteX4" fmla="*/ 67627 w 152400"/>
                  <a:gd name="connsiteY4" fmla="*/ 43815 h 247650"/>
                  <a:gd name="connsiteX5" fmla="*/ 130493 w 152400"/>
                  <a:gd name="connsiteY5" fmla="*/ 0 h 247650"/>
                  <a:gd name="connsiteX6" fmla="*/ 158115 w 152400"/>
                  <a:gd name="connsiteY6" fmla="*/ 2858 h 247650"/>
                  <a:gd name="connsiteX7" fmla="*/ 158115 w 152400"/>
                  <a:gd name="connsiteY7" fmla="*/ 69533 h 247650"/>
                  <a:gd name="connsiteX8" fmla="*/ 127635 w 152400"/>
                  <a:gd name="connsiteY8" fmla="*/ 64770 h 247650"/>
                  <a:gd name="connsiteX9" fmla="*/ 87630 w 152400"/>
                  <a:gd name="connsiteY9" fmla="*/ 88583 h 247650"/>
                  <a:gd name="connsiteX10" fmla="*/ 73343 w 152400"/>
                  <a:gd name="connsiteY10" fmla="*/ 146685 h 247650"/>
                  <a:gd name="connsiteX11" fmla="*/ 73343 w 152400"/>
                  <a:gd name="connsiteY11" fmla="*/ 247650 h 2476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152400" h="247650">
                    <a:moveTo>
                      <a:pt x="72390" y="247650"/>
                    </a:moveTo>
                    <a:lnTo>
                      <a:pt x="0" y="247650"/>
                    </a:lnTo>
                    <a:lnTo>
                      <a:pt x="0" y="7620"/>
                    </a:lnTo>
                    <a:lnTo>
                      <a:pt x="60007" y="7620"/>
                    </a:lnTo>
                    <a:lnTo>
                      <a:pt x="67627" y="43815"/>
                    </a:lnTo>
                    <a:cubicBezTo>
                      <a:pt x="80963" y="15240"/>
                      <a:pt x="101918" y="0"/>
                      <a:pt x="130493" y="0"/>
                    </a:cubicBezTo>
                    <a:cubicBezTo>
                      <a:pt x="140970" y="0"/>
                      <a:pt x="150495" y="953"/>
                      <a:pt x="158115" y="2858"/>
                    </a:cubicBezTo>
                    <a:lnTo>
                      <a:pt x="158115" y="69533"/>
                    </a:lnTo>
                    <a:cubicBezTo>
                      <a:pt x="148590" y="66675"/>
                      <a:pt x="138113" y="64770"/>
                      <a:pt x="127635" y="64770"/>
                    </a:cubicBezTo>
                    <a:cubicBezTo>
                      <a:pt x="111443" y="64770"/>
                      <a:pt x="98107" y="72390"/>
                      <a:pt x="87630" y="88583"/>
                    </a:cubicBezTo>
                    <a:cubicBezTo>
                      <a:pt x="78105" y="102870"/>
                      <a:pt x="73343" y="122873"/>
                      <a:pt x="73343" y="146685"/>
                    </a:cubicBezTo>
                    <a:lnTo>
                      <a:pt x="73343" y="247650"/>
                    </a:ln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2489">
                  <a:latin typeface="CiscoSansTT Light" panose="020B0503020201020303" pitchFamily="34" charset="0"/>
                  <a:cs typeface="CiscoSansTT Light" panose="020B0503020201020303" pitchFamily="34" charset="0"/>
                </a:endParaRPr>
              </a:p>
            </p:txBody>
          </p:sp>
          <p:sp>
            <p:nvSpPr>
              <p:cNvPr id="25" name="Freeform: Shape 24">
                <a:extLst>
                  <a:ext uri="{FF2B5EF4-FFF2-40B4-BE49-F238E27FC236}">
                    <a16:creationId xmlns:a16="http://schemas.microsoft.com/office/drawing/2014/main" id="{C6DEB7E9-6706-4C5F-B271-C7423D03763C}"/>
                  </a:ext>
                </a:extLst>
              </p:cNvPr>
              <p:cNvSpPr/>
              <p:nvPr/>
            </p:nvSpPr>
            <p:spPr>
              <a:xfrm>
                <a:off x="7793677" y="3559915"/>
                <a:ext cx="76200" cy="323850"/>
              </a:xfrm>
              <a:custGeom>
                <a:avLst/>
                <a:gdLst>
                  <a:gd name="connsiteX0" fmla="*/ 78105 w 76200"/>
                  <a:gd name="connsiteY0" fmla="*/ 60960 h 323850"/>
                  <a:gd name="connsiteX1" fmla="*/ 0 w 76200"/>
                  <a:gd name="connsiteY1" fmla="*/ 60960 h 323850"/>
                  <a:gd name="connsiteX2" fmla="*/ 0 w 76200"/>
                  <a:gd name="connsiteY2" fmla="*/ 0 h 323850"/>
                  <a:gd name="connsiteX3" fmla="*/ 77152 w 76200"/>
                  <a:gd name="connsiteY3" fmla="*/ 0 h 323850"/>
                  <a:gd name="connsiteX4" fmla="*/ 77152 w 76200"/>
                  <a:gd name="connsiteY4" fmla="*/ 60960 h 323850"/>
                  <a:gd name="connsiteX5" fmla="*/ 75248 w 76200"/>
                  <a:gd name="connsiteY5" fmla="*/ 331470 h 323850"/>
                  <a:gd name="connsiteX6" fmla="*/ 2857 w 76200"/>
                  <a:gd name="connsiteY6" fmla="*/ 331470 h 323850"/>
                  <a:gd name="connsiteX7" fmla="*/ 2857 w 76200"/>
                  <a:gd name="connsiteY7" fmla="*/ 91440 h 323850"/>
                  <a:gd name="connsiteX8" fmla="*/ 75248 w 76200"/>
                  <a:gd name="connsiteY8" fmla="*/ 91440 h 323850"/>
                  <a:gd name="connsiteX9" fmla="*/ 75248 w 76200"/>
                  <a:gd name="connsiteY9" fmla="*/ 331470 h 3238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76200" h="323850">
                    <a:moveTo>
                      <a:pt x="78105" y="60960"/>
                    </a:moveTo>
                    <a:lnTo>
                      <a:pt x="0" y="60960"/>
                    </a:lnTo>
                    <a:lnTo>
                      <a:pt x="0" y="0"/>
                    </a:lnTo>
                    <a:lnTo>
                      <a:pt x="77152" y="0"/>
                    </a:lnTo>
                    <a:lnTo>
                      <a:pt x="77152" y="60960"/>
                    </a:lnTo>
                    <a:close/>
                    <a:moveTo>
                      <a:pt x="75248" y="331470"/>
                    </a:moveTo>
                    <a:lnTo>
                      <a:pt x="2857" y="331470"/>
                    </a:lnTo>
                    <a:lnTo>
                      <a:pt x="2857" y="91440"/>
                    </a:lnTo>
                    <a:lnTo>
                      <a:pt x="75248" y="91440"/>
                    </a:lnTo>
                    <a:lnTo>
                      <a:pt x="75248" y="331470"/>
                    </a:ln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2489">
                  <a:latin typeface="CiscoSansTT Light" panose="020B0503020201020303" pitchFamily="34" charset="0"/>
                  <a:cs typeface="CiscoSansTT Light" panose="020B0503020201020303" pitchFamily="34" charset="0"/>
                </a:endParaRPr>
              </a:p>
            </p:txBody>
          </p:sp>
          <p:sp>
            <p:nvSpPr>
              <p:cNvPr id="26" name="Freeform: Shape 25">
                <a:extLst>
                  <a:ext uri="{FF2B5EF4-FFF2-40B4-BE49-F238E27FC236}">
                    <a16:creationId xmlns:a16="http://schemas.microsoft.com/office/drawing/2014/main" id="{95A062F9-FA01-4CE8-90EC-8589B31E96CE}"/>
                  </a:ext>
                </a:extLst>
              </p:cNvPr>
              <p:cNvSpPr/>
              <p:nvPr/>
            </p:nvSpPr>
            <p:spPr>
              <a:xfrm>
                <a:off x="7907025" y="3645640"/>
                <a:ext cx="247650" cy="247650"/>
              </a:xfrm>
              <a:custGeom>
                <a:avLst/>
                <a:gdLst>
                  <a:gd name="connsiteX0" fmla="*/ 170497 w 247650"/>
                  <a:gd name="connsiteY0" fmla="*/ 176213 h 247650"/>
                  <a:gd name="connsiteX1" fmla="*/ 243840 w 247650"/>
                  <a:gd name="connsiteY1" fmla="*/ 176213 h 247650"/>
                  <a:gd name="connsiteX2" fmla="*/ 203835 w 247650"/>
                  <a:gd name="connsiteY2" fmla="*/ 234315 h 247650"/>
                  <a:gd name="connsiteX3" fmla="*/ 125730 w 247650"/>
                  <a:gd name="connsiteY3" fmla="*/ 253365 h 247650"/>
                  <a:gd name="connsiteX4" fmla="*/ 30480 w 247650"/>
                  <a:gd name="connsiteY4" fmla="*/ 215265 h 247650"/>
                  <a:gd name="connsiteX5" fmla="*/ 0 w 247650"/>
                  <a:gd name="connsiteY5" fmla="*/ 126682 h 247650"/>
                  <a:gd name="connsiteX6" fmla="*/ 38100 w 247650"/>
                  <a:gd name="connsiteY6" fmla="*/ 28575 h 247650"/>
                  <a:gd name="connsiteX7" fmla="*/ 123825 w 247650"/>
                  <a:gd name="connsiteY7" fmla="*/ 0 h 247650"/>
                  <a:gd name="connsiteX8" fmla="*/ 218122 w 247650"/>
                  <a:gd name="connsiteY8" fmla="*/ 40957 h 247650"/>
                  <a:gd name="connsiteX9" fmla="*/ 247650 w 247650"/>
                  <a:gd name="connsiteY9" fmla="*/ 144780 h 247650"/>
                  <a:gd name="connsiteX10" fmla="*/ 73342 w 247650"/>
                  <a:gd name="connsiteY10" fmla="*/ 144780 h 247650"/>
                  <a:gd name="connsiteX11" fmla="*/ 130492 w 247650"/>
                  <a:gd name="connsiteY11" fmla="*/ 203835 h 247650"/>
                  <a:gd name="connsiteX12" fmla="*/ 158115 w 247650"/>
                  <a:gd name="connsiteY12" fmla="*/ 197168 h 247650"/>
                  <a:gd name="connsiteX13" fmla="*/ 170497 w 247650"/>
                  <a:gd name="connsiteY13" fmla="*/ 176213 h 247650"/>
                  <a:gd name="connsiteX14" fmla="*/ 120967 w 247650"/>
                  <a:gd name="connsiteY14" fmla="*/ 44768 h 247650"/>
                  <a:gd name="connsiteX15" fmla="*/ 71438 w 247650"/>
                  <a:gd name="connsiteY15" fmla="*/ 101918 h 247650"/>
                  <a:gd name="connsiteX16" fmla="*/ 172402 w 247650"/>
                  <a:gd name="connsiteY16" fmla="*/ 101918 h 247650"/>
                  <a:gd name="connsiteX17" fmla="*/ 120967 w 247650"/>
                  <a:gd name="connsiteY17" fmla="*/ 44768 h 2476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247650" h="247650">
                    <a:moveTo>
                      <a:pt x="170497" y="176213"/>
                    </a:moveTo>
                    <a:lnTo>
                      <a:pt x="243840" y="176213"/>
                    </a:lnTo>
                    <a:cubicBezTo>
                      <a:pt x="238125" y="200978"/>
                      <a:pt x="223838" y="220980"/>
                      <a:pt x="203835" y="234315"/>
                    </a:cubicBezTo>
                    <a:cubicBezTo>
                      <a:pt x="183832" y="246697"/>
                      <a:pt x="157163" y="253365"/>
                      <a:pt x="125730" y="253365"/>
                    </a:cubicBezTo>
                    <a:cubicBezTo>
                      <a:pt x="84772" y="253365"/>
                      <a:pt x="53340" y="240983"/>
                      <a:pt x="30480" y="215265"/>
                    </a:cubicBezTo>
                    <a:cubicBezTo>
                      <a:pt x="9525" y="192405"/>
                      <a:pt x="0" y="162878"/>
                      <a:pt x="0" y="126682"/>
                    </a:cubicBezTo>
                    <a:cubicBezTo>
                      <a:pt x="0" y="83820"/>
                      <a:pt x="12382" y="50482"/>
                      <a:pt x="38100" y="28575"/>
                    </a:cubicBezTo>
                    <a:cubicBezTo>
                      <a:pt x="60007" y="9525"/>
                      <a:pt x="88582" y="0"/>
                      <a:pt x="123825" y="0"/>
                    </a:cubicBezTo>
                    <a:cubicBezTo>
                      <a:pt x="165735" y="0"/>
                      <a:pt x="197167" y="13335"/>
                      <a:pt x="218122" y="40957"/>
                    </a:cubicBezTo>
                    <a:cubicBezTo>
                      <a:pt x="237172" y="65722"/>
                      <a:pt x="247650" y="100013"/>
                      <a:pt x="247650" y="144780"/>
                    </a:cubicBezTo>
                    <a:lnTo>
                      <a:pt x="73342" y="144780"/>
                    </a:lnTo>
                    <a:cubicBezTo>
                      <a:pt x="78105" y="183833"/>
                      <a:pt x="97155" y="203835"/>
                      <a:pt x="130492" y="203835"/>
                    </a:cubicBezTo>
                    <a:cubicBezTo>
                      <a:pt x="140970" y="203835"/>
                      <a:pt x="150495" y="201930"/>
                      <a:pt x="158115" y="197168"/>
                    </a:cubicBezTo>
                    <a:cubicBezTo>
                      <a:pt x="165735" y="192405"/>
                      <a:pt x="167640" y="184785"/>
                      <a:pt x="170497" y="176213"/>
                    </a:cubicBezTo>
                    <a:close/>
                    <a:moveTo>
                      <a:pt x="120967" y="44768"/>
                    </a:moveTo>
                    <a:cubicBezTo>
                      <a:pt x="91440" y="44768"/>
                      <a:pt x="75247" y="63818"/>
                      <a:pt x="71438" y="101918"/>
                    </a:cubicBezTo>
                    <a:lnTo>
                      <a:pt x="172402" y="101918"/>
                    </a:lnTo>
                    <a:cubicBezTo>
                      <a:pt x="170497" y="63818"/>
                      <a:pt x="153352" y="44768"/>
                      <a:pt x="120967" y="44768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2489">
                  <a:latin typeface="CiscoSansTT Light" panose="020B0503020201020303" pitchFamily="34" charset="0"/>
                  <a:cs typeface="CiscoSansTT Light" panose="020B0503020201020303" pitchFamily="34" charset="0"/>
                </a:endParaRPr>
              </a:p>
            </p:txBody>
          </p:sp>
          <p:sp>
            <p:nvSpPr>
              <p:cNvPr id="27" name="Freeform: Shape 26">
                <a:extLst>
                  <a:ext uri="{FF2B5EF4-FFF2-40B4-BE49-F238E27FC236}">
                    <a16:creationId xmlns:a16="http://schemas.microsoft.com/office/drawing/2014/main" id="{657CA19F-91C2-4AD4-A596-6465D36C1560}"/>
                  </a:ext>
                </a:extLst>
              </p:cNvPr>
              <p:cNvSpPr/>
              <p:nvPr/>
            </p:nvSpPr>
            <p:spPr>
              <a:xfrm>
                <a:off x="8188965" y="3644688"/>
                <a:ext cx="228600" cy="238125"/>
              </a:xfrm>
              <a:custGeom>
                <a:avLst/>
                <a:gdLst>
                  <a:gd name="connsiteX0" fmla="*/ 72390 w 228600"/>
                  <a:gd name="connsiteY0" fmla="*/ 246697 h 238125"/>
                  <a:gd name="connsiteX1" fmla="*/ 0 w 228600"/>
                  <a:gd name="connsiteY1" fmla="*/ 246697 h 238125"/>
                  <a:gd name="connsiteX2" fmla="*/ 0 w 228600"/>
                  <a:gd name="connsiteY2" fmla="*/ 6668 h 238125"/>
                  <a:gd name="connsiteX3" fmla="*/ 59055 w 228600"/>
                  <a:gd name="connsiteY3" fmla="*/ 6668 h 238125"/>
                  <a:gd name="connsiteX4" fmla="*/ 65723 w 228600"/>
                  <a:gd name="connsiteY4" fmla="*/ 33338 h 238125"/>
                  <a:gd name="connsiteX5" fmla="*/ 139065 w 228600"/>
                  <a:gd name="connsiteY5" fmla="*/ 0 h 238125"/>
                  <a:gd name="connsiteX6" fmla="*/ 207645 w 228600"/>
                  <a:gd name="connsiteY6" fmla="*/ 27622 h 238125"/>
                  <a:gd name="connsiteX7" fmla="*/ 228600 w 228600"/>
                  <a:gd name="connsiteY7" fmla="*/ 92393 h 238125"/>
                  <a:gd name="connsiteX8" fmla="*/ 228600 w 228600"/>
                  <a:gd name="connsiteY8" fmla="*/ 247650 h 238125"/>
                  <a:gd name="connsiteX9" fmla="*/ 157163 w 228600"/>
                  <a:gd name="connsiteY9" fmla="*/ 247650 h 238125"/>
                  <a:gd name="connsiteX10" fmla="*/ 157163 w 228600"/>
                  <a:gd name="connsiteY10" fmla="*/ 95250 h 238125"/>
                  <a:gd name="connsiteX11" fmla="*/ 120015 w 228600"/>
                  <a:gd name="connsiteY11" fmla="*/ 51435 h 238125"/>
                  <a:gd name="connsiteX12" fmla="*/ 83820 w 228600"/>
                  <a:gd name="connsiteY12" fmla="*/ 67628 h 238125"/>
                  <a:gd name="connsiteX13" fmla="*/ 71438 w 228600"/>
                  <a:gd name="connsiteY13" fmla="*/ 104775 h 238125"/>
                  <a:gd name="connsiteX14" fmla="*/ 71438 w 228600"/>
                  <a:gd name="connsiteY14" fmla="*/ 246697 h 2381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228600" h="238125">
                    <a:moveTo>
                      <a:pt x="72390" y="246697"/>
                    </a:moveTo>
                    <a:lnTo>
                      <a:pt x="0" y="246697"/>
                    </a:lnTo>
                    <a:lnTo>
                      <a:pt x="0" y="6668"/>
                    </a:lnTo>
                    <a:lnTo>
                      <a:pt x="59055" y="6668"/>
                    </a:lnTo>
                    <a:lnTo>
                      <a:pt x="65723" y="33338"/>
                    </a:lnTo>
                    <a:cubicBezTo>
                      <a:pt x="82868" y="11430"/>
                      <a:pt x="107632" y="0"/>
                      <a:pt x="139065" y="0"/>
                    </a:cubicBezTo>
                    <a:cubicBezTo>
                      <a:pt x="168593" y="0"/>
                      <a:pt x="191452" y="9525"/>
                      <a:pt x="207645" y="27622"/>
                    </a:cubicBezTo>
                    <a:cubicBezTo>
                      <a:pt x="221932" y="43815"/>
                      <a:pt x="228600" y="64770"/>
                      <a:pt x="228600" y="92393"/>
                    </a:cubicBezTo>
                    <a:lnTo>
                      <a:pt x="228600" y="247650"/>
                    </a:lnTo>
                    <a:lnTo>
                      <a:pt x="157163" y="247650"/>
                    </a:lnTo>
                    <a:lnTo>
                      <a:pt x="157163" y="95250"/>
                    </a:lnTo>
                    <a:cubicBezTo>
                      <a:pt x="157163" y="65722"/>
                      <a:pt x="144780" y="51435"/>
                      <a:pt x="120015" y="51435"/>
                    </a:cubicBezTo>
                    <a:cubicBezTo>
                      <a:pt x="104775" y="51435"/>
                      <a:pt x="93345" y="57150"/>
                      <a:pt x="83820" y="67628"/>
                    </a:cubicBezTo>
                    <a:cubicBezTo>
                      <a:pt x="76200" y="77153"/>
                      <a:pt x="71438" y="89535"/>
                      <a:pt x="71438" y="104775"/>
                    </a:cubicBezTo>
                    <a:lnTo>
                      <a:pt x="71438" y="246697"/>
                    </a:ln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2489">
                  <a:latin typeface="CiscoSansTT Light" panose="020B0503020201020303" pitchFamily="34" charset="0"/>
                  <a:cs typeface="CiscoSansTT Light" panose="020B0503020201020303" pitchFamily="34" charset="0"/>
                </a:endParaRPr>
              </a:p>
            </p:txBody>
          </p:sp>
          <p:sp>
            <p:nvSpPr>
              <p:cNvPr id="28" name="Freeform: Shape 27">
                <a:extLst>
                  <a:ext uri="{FF2B5EF4-FFF2-40B4-BE49-F238E27FC236}">
                    <a16:creationId xmlns:a16="http://schemas.microsoft.com/office/drawing/2014/main" id="{1DB4FF96-DDBB-4849-B539-FD06C513DCCD}"/>
                  </a:ext>
                </a:extLst>
              </p:cNvPr>
              <p:cNvSpPr/>
              <p:nvPr/>
            </p:nvSpPr>
            <p:spPr>
              <a:xfrm>
                <a:off x="8453759" y="3644688"/>
                <a:ext cx="238125" cy="247650"/>
              </a:xfrm>
              <a:custGeom>
                <a:avLst/>
                <a:gdLst>
                  <a:gd name="connsiteX0" fmla="*/ 166688 w 238125"/>
                  <a:gd name="connsiteY0" fmla="*/ 166687 h 247650"/>
                  <a:gd name="connsiteX1" fmla="*/ 241935 w 238125"/>
                  <a:gd name="connsiteY1" fmla="*/ 166687 h 247650"/>
                  <a:gd name="connsiteX2" fmla="*/ 200025 w 238125"/>
                  <a:gd name="connsiteY2" fmla="*/ 231458 h 247650"/>
                  <a:gd name="connsiteX3" fmla="*/ 121920 w 238125"/>
                  <a:gd name="connsiteY3" fmla="*/ 253365 h 247650"/>
                  <a:gd name="connsiteX4" fmla="*/ 27623 w 238125"/>
                  <a:gd name="connsiteY4" fmla="*/ 216218 h 247650"/>
                  <a:gd name="connsiteX5" fmla="*/ 0 w 238125"/>
                  <a:gd name="connsiteY5" fmla="*/ 128587 h 247650"/>
                  <a:gd name="connsiteX6" fmla="*/ 38100 w 238125"/>
                  <a:gd name="connsiteY6" fmla="*/ 29527 h 247650"/>
                  <a:gd name="connsiteX7" fmla="*/ 123825 w 238125"/>
                  <a:gd name="connsiteY7" fmla="*/ 0 h 247650"/>
                  <a:gd name="connsiteX8" fmla="*/ 207645 w 238125"/>
                  <a:gd name="connsiteY8" fmla="*/ 25718 h 247650"/>
                  <a:gd name="connsiteX9" fmla="*/ 242888 w 238125"/>
                  <a:gd name="connsiteY9" fmla="*/ 80962 h 247650"/>
                  <a:gd name="connsiteX10" fmla="*/ 167640 w 238125"/>
                  <a:gd name="connsiteY10" fmla="*/ 80962 h 247650"/>
                  <a:gd name="connsiteX11" fmla="*/ 152400 w 238125"/>
                  <a:gd name="connsiteY11" fmla="*/ 58103 h 247650"/>
                  <a:gd name="connsiteX12" fmla="*/ 126682 w 238125"/>
                  <a:gd name="connsiteY12" fmla="*/ 49530 h 247650"/>
                  <a:gd name="connsiteX13" fmla="*/ 76200 w 238125"/>
                  <a:gd name="connsiteY13" fmla="*/ 131445 h 247650"/>
                  <a:gd name="connsiteX14" fmla="*/ 91440 w 238125"/>
                  <a:gd name="connsiteY14" fmla="*/ 190500 h 247650"/>
                  <a:gd name="connsiteX15" fmla="*/ 123825 w 238125"/>
                  <a:gd name="connsiteY15" fmla="*/ 205740 h 247650"/>
                  <a:gd name="connsiteX16" fmla="*/ 166688 w 238125"/>
                  <a:gd name="connsiteY16" fmla="*/ 166687 h 2476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238125" h="247650">
                    <a:moveTo>
                      <a:pt x="166688" y="166687"/>
                    </a:moveTo>
                    <a:lnTo>
                      <a:pt x="241935" y="166687"/>
                    </a:lnTo>
                    <a:cubicBezTo>
                      <a:pt x="235268" y="195262"/>
                      <a:pt x="221932" y="216218"/>
                      <a:pt x="200025" y="231458"/>
                    </a:cubicBezTo>
                    <a:cubicBezTo>
                      <a:pt x="180023" y="245745"/>
                      <a:pt x="153353" y="253365"/>
                      <a:pt x="121920" y="253365"/>
                    </a:cubicBezTo>
                    <a:cubicBezTo>
                      <a:pt x="80010" y="253365"/>
                      <a:pt x="48578" y="240983"/>
                      <a:pt x="27623" y="216218"/>
                    </a:cubicBezTo>
                    <a:cubicBezTo>
                      <a:pt x="9525" y="195262"/>
                      <a:pt x="0" y="165735"/>
                      <a:pt x="0" y="128587"/>
                    </a:cubicBezTo>
                    <a:cubicBezTo>
                      <a:pt x="0" y="85725"/>
                      <a:pt x="12382" y="52387"/>
                      <a:pt x="38100" y="29527"/>
                    </a:cubicBezTo>
                    <a:cubicBezTo>
                      <a:pt x="60007" y="9525"/>
                      <a:pt x="87630" y="0"/>
                      <a:pt x="123825" y="0"/>
                    </a:cubicBezTo>
                    <a:cubicBezTo>
                      <a:pt x="157163" y="0"/>
                      <a:pt x="184785" y="8572"/>
                      <a:pt x="207645" y="25718"/>
                    </a:cubicBezTo>
                    <a:cubicBezTo>
                      <a:pt x="226695" y="40005"/>
                      <a:pt x="238125" y="59055"/>
                      <a:pt x="242888" y="80962"/>
                    </a:cubicBezTo>
                    <a:lnTo>
                      <a:pt x="167640" y="80962"/>
                    </a:lnTo>
                    <a:cubicBezTo>
                      <a:pt x="164782" y="71437"/>
                      <a:pt x="160020" y="63818"/>
                      <a:pt x="152400" y="58103"/>
                    </a:cubicBezTo>
                    <a:cubicBezTo>
                      <a:pt x="144780" y="52387"/>
                      <a:pt x="136207" y="49530"/>
                      <a:pt x="126682" y="49530"/>
                    </a:cubicBezTo>
                    <a:cubicBezTo>
                      <a:pt x="92393" y="49530"/>
                      <a:pt x="76200" y="77153"/>
                      <a:pt x="76200" y="131445"/>
                    </a:cubicBezTo>
                    <a:cubicBezTo>
                      <a:pt x="76200" y="157162"/>
                      <a:pt x="80963" y="177165"/>
                      <a:pt x="91440" y="190500"/>
                    </a:cubicBezTo>
                    <a:cubicBezTo>
                      <a:pt x="100013" y="200978"/>
                      <a:pt x="110490" y="205740"/>
                      <a:pt x="123825" y="205740"/>
                    </a:cubicBezTo>
                    <a:cubicBezTo>
                      <a:pt x="144780" y="204787"/>
                      <a:pt x="159068" y="192405"/>
                      <a:pt x="166688" y="166687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2489">
                  <a:latin typeface="CiscoSansTT Light" panose="020B0503020201020303" pitchFamily="34" charset="0"/>
                  <a:cs typeface="CiscoSansTT Light" panose="020B0503020201020303" pitchFamily="34" charset="0"/>
                </a:endParaRPr>
              </a:p>
            </p:txBody>
          </p:sp>
          <p:sp>
            <p:nvSpPr>
              <p:cNvPr id="29" name="Freeform: Shape 28">
                <a:extLst>
                  <a:ext uri="{FF2B5EF4-FFF2-40B4-BE49-F238E27FC236}">
                    <a16:creationId xmlns:a16="http://schemas.microsoft.com/office/drawing/2014/main" id="{8B1EC5E7-7FFA-4DF0-BD79-7A18F4EC7C8A}"/>
                  </a:ext>
                </a:extLst>
              </p:cNvPr>
              <p:cNvSpPr/>
              <p:nvPr/>
            </p:nvSpPr>
            <p:spPr>
              <a:xfrm>
                <a:off x="8721412" y="3645640"/>
                <a:ext cx="238125" cy="247650"/>
              </a:xfrm>
              <a:custGeom>
                <a:avLst/>
                <a:gdLst>
                  <a:gd name="connsiteX0" fmla="*/ 170497 w 238125"/>
                  <a:gd name="connsiteY0" fmla="*/ 176213 h 247650"/>
                  <a:gd name="connsiteX1" fmla="*/ 243840 w 238125"/>
                  <a:gd name="connsiteY1" fmla="*/ 176213 h 247650"/>
                  <a:gd name="connsiteX2" fmla="*/ 203835 w 238125"/>
                  <a:gd name="connsiteY2" fmla="*/ 234315 h 247650"/>
                  <a:gd name="connsiteX3" fmla="*/ 125730 w 238125"/>
                  <a:gd name="connsiteY3" fmla="*/ 253365 h 247650"/>
                  <a:gd name="connsiteX4" fmla="*/ 30480 w 238125"/>
                  <a:gd name="connsiteY4" fmla="*/ 215265 h 247650"/>
                  <a:gd name="connsiteX5" fmla="*/ 0 w 238125"/>
                  <a:gd name="connsiteY5" fmla="*/ 126682 h 247650"/>
                  <a:gd name="connsiteX6" fmla="*/ 38100 w 238125"/>
                  <a:gd name="connsiteY6" fmla="*/ 28575 h 247650"/>
                  <a:gd name="connsiteX7" fmla="*/ 123825 w 238125"/>
                  <a:gd name="connsiteY7" fmla="*/ 0 h 247650"/>
                  <a:gd name="connsiteX8" fmla="*/ 218122 w 238125"/>
                  <a:gd name="connsiteY8" fmla="*/ 40957 h 247650"/>
                  <a:gd name="connsiteX9" fmla="*/ 246697 w 238125"/>
                  <a:gd name="connsiteY9" fmla="*/ 144780 h 247650"/>
                  <a:gd name="connsiteX10" fmla="*/ 72390 w 238125"/>
                  <a:gd name="connsiteY10" fmla="*/ 144780 h 247650"/>
                  <a:gd name="connsiteX11" fmla="*/ 129540 w 238125"/>
                  <a:gd name="connsiteY11" fmla="*/ 203835 h 247650"/>
                  <a:gd name="connsiteX12" fmla="*/ 157163 w 238125"/>
                  <a:gd name="connsiteY12" fmla="*/ 197168 h 247650"/>
                  <a:gd name="connsiteX13" fmla="*/ 170497 w 238125"/>
                  <a:gd name="connsiteY13" fmla="*/ 176213 h 247650"/>
                  <a:gd name="connsiteX14" fmla="*/ 121920 w 238125"/>
                  <a:gd name="connsiteY14" fmla="*/ 44768 h 247650"/>
                  <a:gd name="connsiteX15" fmla="*/ 72390 w 238125"/>
                  <a:gd name="connsiteY15" fmla="*/ 101918 h 247650"/>
                  <a:gd name="connsiteX16" fmla="*/ 173355 w 238125"/>
                  <a:gd name="connsiteY16" fmla="*/ 101918 h 247650"/>
                  <a:gd name="connsiteX17" fmla="*/ 121920 w 238125"/>
                  <a:gd name="connsiteY17" fmla="*/ 44768 h 2476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238125" h="247650">
                    <a:moveTo>
                      <a:pt x="170497" y="176213"/>
                    </a:moveTo>
                    <a:lnTo>
                      <a:pt x="243840" y="176213"/>
                    </a:lnTo>
                    <a:cubicBezTo>
                      <a:pt x="238125" y="200978"/>
                      <a:pt x="223838" y="220980"/>
                      <a:pt x="203835" y="234315"/>
                    </a:cubicBezTo>
                    <a:cubicBezTo>
                      <a:pt x="183832" y="246697"/>
                      <a:pt x="157163" y="253365"/>
                      <a:pt x="125730" y="253365"/>
                    </a:cubicBezTo>
                    <a:cubicBezTo>
                      <a:pt x="84772" y="253365"/>
                      <a:pt x="53340" y="240983"/>
                      <a:pt x="30480" y="215265"/>
                    </a:cubicBezTo>
                    <a:cubicBezTo>
                      <a:pt x="9525" y="192405"/>
                      <a:pt x="0" y="162878"/>
                      <a:pt x="0" y="126682"/>
                    </a:cubicBezTo>
                    <a:cubicBezTo>
                      <a:pt x="0" y="83820"/>
                      <a:pt x="12382" y="50482"/>
                      <a:pt x="38100" y="28575"/>
                    </a:cubicBezTo>
                    <a:cubicBezTo>
                      <a:pt x="60007" y="9525"/>
                      <a:pt x="88582" y="0"/>
                      <a:pt x="123825" y="0"/>
                    </a:cubicBezTo>
                    <a:cubicBezTo>
                      <a:pt x="165735" y="0"/>
                      <a:pt x="197167" y="13335"/>
                      <a:pt x="218122" y="40957"/>
                    </a:cubicBezTo>
                    <a:cubicBezTo>
                      <a:pt x="237172" y="65722"/>
                      <a:pt x="246697" y="100013"/>
                      <a:pt x="246697" y="144780"/>
                    </a:cubicBezTo>
                    <a:lnTo>
                      <a:pt x="72390" y="144780"/>
                    </a:lnTo>
                    <a:cubicBezTo>
                      <a:pt x="77152" y="183833"/>
                      <a:pt x="96202" y="203835"/>
                      <a:pt x="129540" y="203835"/>
                    </a:cubicBezTo>
                    <a:cubicBezTo>
                      <a:pt x="140017" y="203835"/>
                      <a:pt x="149542" y="201930"/>
                      <a:pt x="157163" y="197168"/>
                    </a:cubicBezTo>
                    <a:cubicBezTo>
                      <a:pt x="163830" y="191453"/>
                      <a:pt x="168592" y="184785"/>
                      <a:pt x="170497" y="176213"/>
                    </a:cubicBezTo>
                    <a:close/>
                    <a:moveTo>
                      <a:pt x="121920" y="44768"/>
                    </a:moveTo>
                    <a:cubicBezTo>
                      <a:pt x="92392" y="44768"/>
                      <a:pt x="76200" y="63818"/>
                      <a:pt x="72390" y="101918"/>
                    </a:cubicBezTo>
                    <a:lnTo>
                      <a:pt x="173355" y="101918"/>
                    </a:lnTo>
                    <a:cubicBezTo>
                      <a:pt x="171450" y="63818"/>
                      <a:pt x="154305" y="44768"/>
                      <a:pt x="121920" y="44768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2489">
                  <a:latin typeface="CiscoSansTT Light" panose="020B0503020201020303" pitchFamily="34" charset="0"/>
                  <a:cs typeface="CiscoSansTT Light" panose="020B0503020201020303" pitchFamily="34" charset="0"/>
                </a:endParaRPr>
              </a:p>
            </p:txBody>
          </p:sp>
        </p:grpSp>
        <p:pic>
          <p:nvPicPr>
            <p:cNvPr id="6" name="Picture 5">
              <a:extLst>
                <a:ext uri="{FF2B5EF4-FFF2-40B4-BE49-F238E27FC236}">
                  <a16:creationId xmlns:a16="http://schemas.microsoft.com/office/drawing/2014/main" id="{3D48E1E3-5340-4D4A-B34B-F197FEF4CBC0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/>
            <a:stretch>
              <a:fillRect/>
            </a:stretch>
          </p:blipFill>
          <p:spPr>
            <a:xfrm>
              <a:off x="2641883" y="2331434"/>
              <a:ext cx="742128" cy="426578"/>
            </a:xfrm>
            <a:custGeom>
              <a:avLst/>
              <a:gdLst>
                <a:gd name="connsiteX0" fmla="*/ 0 w 1209675"/>
                <a:gd name="connsiteY0" fmla="*/ 0 h 695325"/>
                <a:gd name="connsiteX1" fmla="*/ 1213866 w 1209675"/>
                <a:gd name="connsiteY1" fmla="*/ 0 h 695325"/>
                <a:gd name="connsiteX2" fmla="*/ 1213866 w 1209675"/>
                <a:gd name="connsiteY2" fmla="*/ 699516 h 695325"/>
                <a:gd name="connsiteX3" fmla="*/ 0 w 1209675"/>
                <a:gd name="connsiteY3" fmla="*/ 699516 h 6953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09675" h="695325">
                  <a:moveTo>
                    <a:pt x="0" y="0"/>
                  </a:moveTo>
                  <a:lnTo>
                    <a:pt x="1213866" y="0"/>
                  </a:lnTo>
                  <a:lnTo>
                    <a:pt x="1213866" y="699516"/>
                  </a:lnTo>
                  <a:lnTo>
                    <a:pt x="0" y="699516"/>
                  </a:lnTo>
                  <a:close/>
                </a:path>
              </a:pathLst>
            </a:custGeom>
            <a:ln/>
          </p:spPr>
        </p:pic>
      </p:grpSp>
    </p:spTree>
    <p:extLst>
      <p:ext uri="{BB962C8B-B14F-4D97-AF65-F5344CB8AC3E}">
        <p14:creationId xmlns:p14="http://schemas.microsoft.com/office/powerpoint/2010/main" val="41684587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Google Shape;775;p184">
            <a:extLst>
              <a:ext uri="{FF2B5EF4-FFF2-40B4-BE49-F238E27FC236}">
                <a16:creationId xmlns:a16="http://schemas.microsoft.com/office/drawing/2014/main" id="{1F96B0EF-5BA5-BC40-B6CA-0097F15501B5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177849" y="2070100"/>
            <a:ext cx="3864400" cy="37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>
              <a:defRPr sz="2000" b="0" i="0">
                <a:solidFill>
                  <a:schemeClr val="tx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defRPr>
            </a:lvl1pPr>
          </a:lstStyle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800"/>
              <a:buNone/>
            </a:pPr>
            <a:endParaRPr sz="2133">
              <a:solidFill>
                <a:schemeClr val="tx1"/>
              </a:solidFill>
              <a:latin typeface="CiscoSansTT ExtraLight" panose="020B0303020201020303" pitchFamily="34" charset="0"/>
              <a:ea typeface="Helvetica Neue Light"/>
              <a:cs typeface="CiscoSansTT ExtraLight" panose="020B0303020201020303" pitchFamily="34" charset="0"/>
              <a:sym typeface="Helvetica Neue Light"/>
            </a:endParaRPr>
          </a:p>
        </p:txBody>
      </p:sp>
      <p:sp>
        <p:nvSpPr>
          <p:cNvPr id="21" name="Google Shape;779;p184">
            <a:extLst>
              <a:ext uri="{FF2B5EF4-FFF2-40B4-BE49-F238E27FC236}">
                <a16:creationId xmlns:a16="http://schemas.microsoft.com/office/drawing/2014/main" id="{2FAC391D-7651-9E42-AD70-5EC4CC6B6045}"/>
              </a:ext>
            </a:extLst>
          </p:cNvPr>
          <p:cNvSpPr txBox="1">
            <a:spLocks noGrp="1"/>
          </p:cNvSpPr>
          <p:nvPr>
            <p:ph type="body" idx="2"/>
          </p:nvPr>
        </p:nvSpPr>
        <p:spPr>
          <a:xfrm>
            <a:off x="6177849" y="2843529"/>
            <a:ext cx="3864400" cy="37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>
              <a:defRPr sz="2000" b="0" i="0">
                <a:solidFill>
                  <a:schemeClr val="tx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defRPr>
            </a:lvl1pPr>
          </a:lstStyle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800"/>
              <a:buNone/>
            </a:pPr>
            <a:endParaRPr sz="2133">
              <a:solidFill>
                <a:schemeClr val="tx1"/>
              </a:solidFill>
              <a:latin typeface="CiscoSansTT ExtraLight" panose="020B0303020201020303" pitchFamily="34" charset="0"/>
              <a:ea typeface="Helvetica Neue Light"/>
              <a:cs typeface="CiscoSansTT ExtraLight" panose="020B0303020201020303" pitchFamily="34" charset="0"/>
              <a:sym typeface="Helvetica Neue Light"/>
            </a:endParaRPr>
          </a:p>
        </p:txBody>
      </p:sp>
      <p:sp>
        <p:nvSpPr>
          <p:cNvPr id="22" name="Google Shape;783;p184">
            <a:extLst>
              <a:ext uri="{FF2B5EF4-FFF2-40B4-BE49-F238E27FC236}">
                <a16:creationId xmlns:a16="http://schemas.microsoft.com/office/drawing/2014/main" id="{CDD9A77B-7D9C-E74D-80C6-8F466DAA4D24}"/>
              </a:ext>
            </a:extLst>
          </p:cNvPr>
          <p:cNvSpPr txBox="1">
            <a:spLocks noGrp="1"/>
          </p:cNvSpPr>
          <p:nvPr>
            <p:ph type="body" idx="3"/>
          </p:nvPr>
        </p:nvSpPr>
        <p:spPr>
          <a:xfrm>
            <a:off x="6177849" y="3616960"/>
            <a:ext cx="3864400" cy="37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>
              <a:defRPr sz="2000" b="0" i="0">
                <a:solidFill>
                  <a:schemeClr val="tx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defRPr>
            </a:lvl1pPr>
          </a:lstStyle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800"/>
              <a:buNone/>
            </a:pPr>
            <a:endParaRPr sz="2133">
              <a:solidFill>
                <a:schemeClr val="tx1"/>
              </a:solidFill>
              <a:latin typeface="CiscoSansTT ExtraLight" panose="020B0303020201020303" pitchFamily="34" charset="0"/>
              <a:ea typeface="Helvetica Neue Light"/>
              <a:cs typeface="CiscoSansTT ExtraLight" panose="020B0303020201020303" pitchFamily="34" charset="0"/>
              <a:sym typeface="Helvetica Neue Light"/>
            </a:endParaRPr>
          </a:p>
        </p:txBody>
      </p:sp>
      <p:sp>
        <p:nvSpPr>
          <p:cNvPr id="23" name="Google Shape;784;p184">
            <a:extLst>
              <a:ext uri="{FF2B5EF4-FFF2-40B4-BE49-F238E27FC236}">
                <a16:creationId xmlns:a16="http://schemas.microsoft.com/office/drawing/2014/main" id="{B052B460-E61C-054F-AF5D-07E563AA7526}"/>
              </a:ext>
            </a:extLst>
          </p:cNvPr>
          <p:cNvSpPr txBox="1">
            <a:spLocks noGrp="1"/>
          </p:cNvSpPr>
          <p:nvPr>
            <p:ph type="body" idx="4"/>
          </p:nvPr>
        </p:nvSpPr>
        <p:spPr>
          <a:xfrm>
            <a:off x="6177849" y="4390391"/>
            <a:ext cx="3864400" cy="37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>
              <a:defRPr sz="2000" b="0" i="0">
                <a:solidFill>
                  <a:schemeClr val="tx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defRPr>
            </a:lvl1pPr>
          </a:lstStyle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800"/>
              <a:buNone/>
            </a:pPr>
            <a:endParaRPr sz="2133">
              <a:solidFill>
                <a:schemeClr val="tx1"/>
              </a:solidFill>
              <a:latin typeface="CiscoSansTT ExtraLight" panose="020B0303020201020303" pitchFamily="34" charset="0"/>
              <a:ea typeface="Helvetica Neue Light"/>
              <a:cs typeface="CiscoSansTT ExtraLight" panose="020B0303020201020303" pitchFamily="34" charset="0"/>
              <a:sym typeface="Helvetica Neue Light"/>
            </a:endParaRPr>
          </a:p>
        </p:txBody>
      </p:sp>
      <p:sp>
        <p:nvSpPr>
          <p:cNvPr id="26" name="Google Shape;784;p184">
            <a:extLst>
              <a:ext uri="{FF2B5EF4-FFF2-40B4-BE49-F238E27FC236}">
                <a16:creationId xmlns:a16="http://schemas.microsoft.com/office/drawing/2014/main" id="{B4C8CF3B-7A8D-9540-8152-EE4B85686AD8}"/>
              </a:ext>
            </a:extLst>
          </p:cNvPr>
          <p:cNvSpPr txBox="1">
            <a:spLocks noGrp="1"/>
          </p:cNvSpPr>
          <p:nvPr>
            <p:ph type="body" idx="10"/>
          </p:nvPr>
        </p:nvSpPr>
        <p:spPr>
          <a:xfrm>
            <a:off x="6177849" y="5163820"/>
            <a:ext cx="3864400" cy="37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>
              <a:defRPr sz="2000" b="0" i="0">
                <a:solidFill>
                  <a:schemeClr val="tx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defRPr>
            </a:lvl1pPr>
          </a:lstStyle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800"/>
              <a:buNone/>
            </a:pPr>
            <a:endParaRPr sz="2133">
              <a:solidFill>
                <a:schemeClr val="tx1"/>
              </a:solidFill>
              <a:latin typeface="CiscoSansTT ExtraLight" panose="020B0303020201020303" pitchFamily="34" charset="0"/>
              <a:ea typeface="Helvetica Neue Light"/>
              <a:cs typeface="CiscoSansTT ExtraLight" panose="020B0303020201020303" pitchFamily="34" charset="0"/>
              <a:sym typeface="Helvetica Neue Light"/>
            </a:endParaRPr>
          </a:p>
        </p:txBody>
      </p:sp>
      <p:sp>
        <p:nvSpPr>
          <p:cNvPr id="24" name="Text Placeholder 23">
            <a:extLst>
              <a:ext uri="{FF2B5EF4-FFF2-40B4-BE49-F238E27FC236}">
                <a16:creationId xmlns:a16="http://schemas.microsoft.com/office/drawing/2014/main" id="{A934575A-85EC-4073-BC40-5A80AF9728F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489618" y="2027339"/>
            <a:ext cx="463125" cy="463124"/>
          </a:xfrm>
          <a:prstGeom prst="ellipse">
            <a:avLst/>
          </a:prstGeom>
          <a:solidFill>
            <a:schemeClr val="accent1"/>
          </a:solidFill>
        </p:spPr>
        <p:txBody>
          <a:bodyPr lIns="0" tIns="0" rIns="0" bIns="0" anchor="ctr" anchorCtr="0">
            <a:noAutofit/>
          </a:bodyPr>
          <a:lstStyle>
            <a:lvl1pPr algn="ctr">
              <a:defRPr sz="1600">
                <a:solidFill>
                  <a:schemeClr val="bg1"/>
                </a:solidFill>
                <a:latin typeface="+mn-lt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(#)</a:t>
            </a:r>
          </a:p>
        </p:txBody>
      </p:sp>
      <p:sp>
        <p:nvSpPr>
          <p:cNvPr id="27" name="Text Placeholder 23">
            <a:extLst>
              <a:ext uri="{FF2B5EF4-FFF2-40B4-BE49-F238E27FC236}">
                <a16:creationId xmlns:a16="http://schemas.microsoft.com/office/drawing/2014/main" id="{B194B551-9D89-4F8B-BDD0-DBFCDD72D71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489618" y="2800769"/>
            <a:ext cx="463125" cy="463124"/>
          </a:xfrm>
          <a:prstGeom prst="ellipse">
            <a:avLst/>
          </a:prstGeom>
          <a:solidFill>
            <a:schemeClr val="accent1"/>
          </a:solidFill>
        </p:spPr>
        <p:txBody>
          <a:bodyPr lIns="0" tIns="0" rIns="0" bIns="0" anchor="ctr" anchorCtr="0">
            <a:noAutofit/>
          </a:bodyPr>
          <a:lstStyle>
            <a:lvl1pPr algn="ctr">
              <a:defRPr sz="1600">
                <a:solidFill>
                  <a:schemeClr val="bg1"/>
                </a:solidFill>
                <a:latin typeface="+mn-lt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(#)</a:t>
            </a:r>
          </a:p>
        </p:txBody>
      </p:sp>
      <p:sp>
        <p:nvSpPr>
          <p:cNvPr id="28" name="Text Placeholder 23">
            <a:extLst>
              <a:ext uri="{FF2B5EF4-FFF2-40B4-BE49-F238E27FC236}">
                <a16:creationId xmlns:a16="http://schemas.microsoft.com/office/drawing/2014/main" id="{724E0C06-B347-44E1-BE44-CC39258896C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489618" y="3574199"/>
            <a:ext cx="463125" cy="463124"/>
          </a:xfrm>
          <a:prstGeom prst="ellipse">
            <a:avLst/>
          </a:prstGeom>
          <a:solidFill>
            <a:schemeClr val="accent1"/>
          </a:solidFill>
        </p:spPr>
        <p:txBody>
          <a:bodyPr lIns="0" tIns="0" rIns="0" bIns="0" anchor="ctr" anchorCtr="0">
            <a:noAutofit/>
          </a:bodyPr>
          <a:lstStyle>
            <a:lvl1pPr algn="ctr">
              <a:defRPr sz="1600">
                <a:solidFill>
                  <a:schemeClr val="bg1"/>
                </a:solidFill>
                <a:latin typeface="+mn-lt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(#)</a:t>
            </a:r>
          </a:p>
        </p:txBody>
      </p:sp>
      <p:sp>
        <p:nvSpPr>
          <p:cNvPr id="29" name="Text Placeholder 23">
            <a:extLst>
              <a:ext uri="{FF2B5EF4-FFF2-40B4-BE49-F238E27FC236}">
                <a16:creationId xmlns:a16="http://schemas.microsoft.com/office/drawing/2014/main" id="{387A1886-320B-4F84-8140-CAC80774DD5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489618" y="4347630"/>
            <a:ext cx="463125" cy="463124"/>
          </a:xfrm>
          <a:prstGeom prst="ellipse">
            <a:avLst/>
          </a:prstGeom>
          <a:solidFill>
            <a:schemeClr val="accent1"/>
          </a:solidFill>
        </p:spPr>
        <p:txBody>
          <a:bodyPr lIns="0" tIns="0" rIns="0" bIns="0" anchor="ctr" anchorCtr="0">
            <a:noAutofit/>
          </a:bodyPr>
          <a:lstStyle>
            <a:lvl1pPr algn="ctr">
              <a:defRPr sz="1600">
                <a:solidFill>
                  <a:schemeClr val="bg1"/>
                </a:solidFill>
                <a:latin typeface="+mn-lt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(#)</a:t>
            </a:r>
          </a:p>
        </p:txBody>
      </p:sp>
      <p:sp>
        <p:nvSpPr>
          <p:cNvPr id="30" name="Text Placeholder 23">
            <a:extLst>
              <a:ext uri="{FF2B5EF4-FFF2-40B4-BE49-F238E27FC236}">
                <a16:creationId xmlns:a16="http://schemas.microsoft.com/office/drawing/2014/main" id="{A1C3FF93-83D9-48D7-8495-968320A4A20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489618" y="5121059"/>
            <a:ext cx="463125" cy="463124"/>
          </a:xfrm>
          <a:prstGeom prst="ellipse">
            <a:avLst/>
          </a:prstGeom>
          <a:solidFill>
            <a:schemeClr val="accent1"/>
          </a:solidFill>
        </p:spPr>
        <p:txBody>
          <a:bodyPr lIns="0" tIns="0" rIns="0" bIns="0" anchor="ctr" anchorCtr="0">
            <a:noAutofit/>
          </a:bodyPr>
          <a:lstStyle>
            <a:lvl1pPr algn="ctr">
              <a:defRPr sz="1600">
                <a:solidFill>
                  <a:schemeClr val="bg1"/>
                </a:solidFill>
                <a:latin typeface="+mn-lt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(#)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B592C14-52D0-4997-864B-3B6418B8F6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667" y="2070102"/>
            <a:ext cx="4015907" cy="2252133"/>
          </a:xfrm>
        </p:spPr>
        <p:txBody>
          <a:bodyPr>
            <a:noAutofit/>
          </a:bodyPr>
          <a:lstStyle>
            <a:lvl1pPr>
              <a:defRPr sz="4800"/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972586471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Closing Slide" preserve="1">
  <p:cSld name="1_Closing Slide">
    <p:bg>
      <p:bgRef idx="1001">
        <a:schemeClr val="bg2"/>
      </p:bgRef>
    </p:bg>
    <p:spTree>
      <p:nvGrpSpPr>
        <p:cNvPr id="1" name="Shape 17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6BF3AF67-12D7-4D88-BCCE-10648527FAC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185334" y="2912022"/>
            <a:ext cx="1821333" cy="1046908"/>
          </a:xfrm>
          <a:custGeom>
            <a:avLst/>
            <a:gdLst>
              <a:gd name="connsiteX0" fmla="*/ 0 w 1366000"/>
              <a:gd name="connsiteY0" fmla="*/ 0 h 785181"/>
              <a:gd name="connsiteX1" fmla="*/ 1370733 w 1366000"/>
              <a:gd name="connsiteY1" fmla="*/ 0 h 785181"/>
              <a:gd name="connsiteX2" fmla="*/ 1370733 w 1366000"/>
              <a:gd name="connsiteY2" fmla="*/ 789914 h 785181"/>
              <a:gd name="connsiteX3" fmla="*/ 0 w 1366000"/>
              <a:gd name="connsiteY3" fmla="*/ 789914 h 7851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366000" h="785181">
                <a:moveTo>
                  <a:pt x="0" y="0"/>
                </a:moveTo>
                <a:lnTo>
                  <a:pt x="1370733" y="0"/>
                </a:lnTo>
                <a:lnTo>
                  <a:pt x="1370733" y="789914"/>
                </a:lnTo>
                <a:lnTo>
                  <a:pt x="0" y="789914"/>
                </a:lnTo>
                <a:close/>
              </a:path>
            </a:pathLst>
          </a:custGeom>
          <a:ln/>
        </p:spPr>
      </p:pic>
    </p:spTree>
    <p:extLst>
      <p:ext uri="{BB962C8B-B14F-4D97-AF65-F5344CB8AC3E}">
        <p14:creationId xmlns:p14="http://schemas.microsoft.com/office/powerpoint/2010/main" val="238069328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itle Slide" preserve="1" userDrawn="1">
  <p:cSld name="Title Slide">
    <p:bg>
      <p:bgPr>
        <a:solidFill>
          <a:schemeClr val="lt2"/>
        </a:solidFill>
        <a:effectLst/>
      </p:bgPr>
    </p:bg>
    <p:spTree>
      <p:nvGrpSpPr>
        <p:cNvPr id="1" name="Shape 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BD151278-EFE9-BA45-A974-3B6CA72F990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19667" y="3856567"/>
            <a:ext cx="3312584" cy="412751"/>
          </a:xfrm>
          <a:prstGeom prst="rect">
            <a:avLst/>
          </a:prstGeom>
        </p:spPr>
        <p:txBody>
          <a:bodyPr/>
          <a:lstStyle>
            <a:lvl1pPr>
              <a:defRPr sz="2133" b="0" i="0">
                <a:solidFill>
                  <a:schemeClr val="tx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defRPr>
            </a:lvl1pPr>
            <a:lvl2pPr>
              <a:defRPr sz="2133" b="0" i="0">
                <a:solidFill>
                  <a:schemeClr val="tx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defRPr>
            </a:lvl2pPr>
            <a:lvl3pPr>
              <a:defRPr sz="2133" b="0" i="0">
                <a:solidFill>
                  <a:schemeClr val="tx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defRPr>
            </a:lvl3pPr>
            <a:lvl4pPr>
              <a:defRPr sz="2133" b="0" i="0">
                <a:solidFill>
                  <a:schemeClr val="tx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defRPr>
            </a:lvl4pPr>
            <a:lvl5pPr>
              <a:defRPr sz="2133" b="0" i="0">
                <a:solidFill>
                  <a:schemeClr val="tx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defRPr>
            </a:lvl5pPr>
          </a:lstStyle>
          <a:p>
            <a:pPr lvl="0"/>
            <a:r>
              <a:rPr lang="en-GB"/>
              <a:t>Lorem ipsum</a:t>
            </a:r>
            <a:endParaRPr lang="en-US"/>
          </a:p>
        </p:txBody>
      </p:sp>
      <p:pic>
        <p:nvPicPr>
          <p:cNvPr id="2" name="Picture 1" descr="A close up of a sign&#10;&#10;Description automatically generated">
            <a:extLst>
              <a:ext uri="{FF2B5EF4-FFF2-40B4-BE49-F238E27FC236}">
                <a16:creationId xmlns:a16="http://schemas.microsoft.com/office/drawing/2014/main" id="{C7C290BF-922A-8D40-A281-C883E1525E9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129963" y="2310511"/>
            <a:ext cx="7680768" cy="5504549"/>
          </a:xfrm>
          <a:prstGeom prst="rect">
            <a:avLst/>
          </a:prstGeom>
        </p:spPr>
      </p:pic>
      <p:sp>
        <p:nvSpPr>
          <p:cNvPr id="3" name="Google Shape;735;p181">
            <a:extLst>
              <a:ext uri="{FF2B5EF4-FFF2-40B4-BE49-F238E27FC236}">
                <a16:creationId xmlns:a16="http://schemas.microsoft.com/office/drawing/2014/main" id="{8A995F9F-CBE8-6D4F-A6C6-07F1D1840F96}"/>
              </a:ext>
            </a:extLst>
          </p:cNvPr>
          <p:cNvSpPr/>
          <p:nvPr userDrawn="1"/>
        </p:nvSpPr>
        <p:spPr>
          <a:xfrm>
            <a:off x="713229" y="661025"/>
            <a:ext cx="826145" cy="438900"/>
          </a:xfrm>
          <a:custGeom>
            <a:avLst/>
            <a:gdLst/>
            <a:ahLst/>
            <a:cxnLst/>
            <a:rect l="l" t="t" r="r" b="b"/>
            <a:pathLst>
              <a:path w="3456" h="1834" extrusionOk="0">
                <a:moveTo>
                  <a:pt x="2828" y="1362"/>
                </a:moveTo>
                <a:lnTo>
                  <a:pt x="2798" y="1364"/>
                </a:lnTo>
                <a:lnTo>
                  <a:pt x="2771" y="1371"/>
                </a:lnTo>
                <a:lnTo>
                  <a:pt x="2747" y="1384"/>
                </a:lnTo>
                <a:lnTo>
                  <a:pt x="2725" y="1400"/>
                </a:lnTo>
                <a:lnTo>
                  <a:pt x="2706" y="1419"/>
                </a:lnTo>
                <a:lnTo>
                  <a:pt x="2691" y="1441"/>
                </a:lnTo>
                <a:lnTo>
                  <a:pt x="2680" y="1465"/>
                </a:lnTo>
                <a:lnTo>
                  <a:pt x="2674" y="1492"/>
                </a:lnTo>
                <a:lnTo>
                  <a:pt x="2671" y="1521"/>
                </a:lnTo>
                <a:lnTo>
                  <a:pt x="2674" y="1549"/>
                </a:lnTo>
                <a:lnTo>
                  <a:pt x="2680" y="1577"/>
                </a:lnTo>
                <a:lnTo>
                  <a:pt x="2691" y="1601"/>
                </a:lnTo>
                <a:lnTo>
                  <a:pt x="2706" y="1623"/>
                </a:lnTo>
                <a:lnTo>
                  <a:pt x="2725" y="1642"/>
                </a:lnTo>
                <a:lnTo>
                  <a:pt x="2747" y="1658"/>
                </a:lnTo>
                <a:lnTo>
                  <a:pt x="2771" y="1669"/>
                </a:lnTo>
                <a:lnTo>
                  <a:pt x="2798" y="1677"/>
                </a:lnTo>
                <a:lnTo>
                  <a:pt x="2828" y="1680"/>
                </a:lnTo>
                <a:lnTo>
                  <a:pt x="2857" y="1677"/>
                </a:lnTo>
                <a:lnTo>
                  <a:pt x="2883" y="1669"/>
                </a:lnTo>
                <a:lnTo>
                  <a:pt x="2908" y="1658"/>
                </a:lnTo>
                <a:lnTo>
                  <a:pt x="2930" y="1642"/>
                </a:lnTo>
                <a:lnTo>
                  <a:pt x="2948" y="1623"/>
                </a:lnTo>
                <a:lnTo>
                  <a:pt x="2964" y="1601"/>
                </a:lnTo>
                <a:lnTo>
                  <a:pt x="2975" y="1577"/>
                </a:lnTo>
                <a:lnTo>
                  <a:pt x="2982" y="1549"/>
                </a:lnTo>
                <a:lnTo>
                  <a:pt x="2985" y="1521"/>
                </a:lnTo>
                <a:lnTo>
                  <a:pt x="2982" y="1492"/>
                </a:lnTo>
                <a:lnTo>
                  <a:pt x="2975" y="1465"/>
                </a:lnTo>
                <a:lnTo>
                  <a:pt x="2964" y="1441"/>
                </a:lnTo>
                <a:lnTo>
                  <a:pt x="2948" y="1419"/>
                </a:lnTo>
                <a:lnTo>
                  <a:pt x="2930" y="1400"/>
                </a:lnTo>
                <a:lnTo>
                  <a:pt x="2908" y="1384"/>
                </a:lnTo>
                <a:lnTo>
                  <a:pt x="2883" y="1371"/>
                </a:lnTo>
                <a:lnTo>
                  <a:pt x="2857" y="1364"/>
                </a:lnTo>
                <a:lnTo>
                  <a:pt x="2828" y="1362"/>
                </a:lnTo>
                <a:close/>
                <a:moveTo>
                  <a:pt x="977" y="1218"/>
                </a:moveTo>
                <a:lnTo>
                  <a:pt x="1129" y="1218"/>
                </a:lnTo>
                <a:lnTo>
                  <a:pt x="1129" y="1823"/>
                </a:lnTo>
                <a:lnTo>
                  <a:pt x="977" y="1823"/>
                </a:lnTo>
                <a:lnTo>
                  <a:pt x="977" y="1218"/>
                </a:lnTo>
                <a:close/>
                <a:moveTo>
                  <a:pt x="2828" y="1208"/>
                </a:moveTo>
                <a:lnTo>
                  <a:pt x="2873" y="1211"/>
                </a:lnTo>
                <a:lnTo>
                  <a:pt x="2916" y="1219"/>
                </a:lnTo>
                <a:lnTo>
                  <a:pt x="2955" y="1232"/>
                </a:lnTo>
                <a:lnTo>
                  <a:pt x="2992" y="1251"/>
                </a:lnTo>
                <a:lnTo>
                  <a:pt x="3026" y="1273"/>
                </a:lnTo>
                <a:lnTo>
                  <a:pt x="3056" y="1299"/>
                </a:lnTo>
                <a:lnTo>
                  <a:pt x="3082" y="1330"/>
                </a:lnTo>
                <a:lnTo>
                  <a:pt x="3104" y="1363"/>
                </a:lnTo>
                <a:lnTo>
                  <a:pt x="3121" y="1398"/>
                </a:lnTo>
                <a:lnTo>
                  <a:pt x="3134" y="1437"/>
                </a:lnTo>
                <a:lnTo>
                  <a:pt x="3142" y="1479"/>
                </a:lnTo>
                <a:lnTo>
                  <a:pt x="3145" y="1521"/>
                </a:lnTo>
                <a:lnTo>
                  <a:pt x="3142" y="1563"/>
                </a:lnTo>
                <a:lnTo>
                  <a:pt x="3134" y="1604"/>
                </a:lnTo>
                <a:lnTo>
                  <a:pt x="3121" y="1642"/>
                </a:lnTo>
                <a:lnTo>
                  <a:pt x="3104" y="1679"/>
                </a:lnTo>
                <a:lnTo>
                  <a:pt x="3082" y="1712"/>
                </a:lnTo>
                <a:lnTo>
                  <a:pt x="3056" y="1742"/>
                </a:lnTo>
                <a:lnTo>
                  <a:pt x="3026" y="1769"/>
                </a:lnTo>
                <a:lnTo>
                  <a:pt x="2992" y="1791"/>
                </a:lnTo>
                <a:lnTo>
                  <a:pt x="2955" y="1809"/>
                </a:lnTo>
                <a:lnTo>
                  <a:pt x="2916" y="1822"/>
                </a:lnTo>
                <a:lnTo>
                  <a:pt x="2873" y="1831"/>
                </a:lnTo>
                <a:lnTo>
                  <a:pt x="2828" y="1834"/>
                </a:lnTo>
                <a:lnTo>
                  <a:pt x="2783" y="1831"/>
                </a:lnTo>
                <a:lnTo>
                  <a:pt x="2740" y="1822"/>
                </a:lnTo>
                <a:lnTo>
                  <a:pt x="2700" y="1809"/>
                </a:lnTo>
                <a:lnTo>
                  <a:pt x="2663" y="1791"/>
                </a:lnTo>
                <a:lnTo>
                  <a:pt x="2630" y="1769"/>
                </a:lnTo>
                <a:lnTo>
                  <a:pt x="2599" y="1742"/>
                </a:lnTo>
                <a:lnTo>
                  <a:pt x="2573" y="1712"/>
                </a:lnTo>
                <a:lnTo>
                  <a:pt x="2551" y="1679"/>
                </a:lnTo>
                <a:lnTo>
                  <a:pt x="2534" y="1642"/>
                </a:lnTo>
                <a:lnTo>
                  <a:pt x="2521" y="1604"/>
                </a:lnTo>
                <a:lnTo>
                  <a:pt x="2513" y="1563"/>
                </a:lnTo>
                <a:lnTo>
                  <a:pt x="2510" y="1521"/>
                </a:lnTo>
                <a:lnTo>
                  <a:pt x="2513" y="1479"/>
                </a:lnTo>
                <a:lnTo>
                  <a:pt x="2521" y="1437"/>
                </a:lnTo>
                <a:lnTo>
                  <a:pt x="2534" y="1398"/>
                </a:lnTo>
                <a:lnTo>
                  <a:pt x="2551" y="1363"/>
                </a:lnTo>
                <a:lnTo>
                  <a:pt x="2573" y="1330"/>
                </a:lnTo>
                <a:lnTo>
                  <a:pt x="2599" y="1299"/>
                </a:lnTo>
                <a:lnTo>
                  <a:pt x="2630" y="1273"/>
                </a:lnTo>
                <a:lnTo>
                  <a:pt x="2663" y="1251"/>
                </a:lnTo>
                <a:lnTo>
                  <a:pt x="2700" y="1232"/>
                </a:lnTo>
                <a:lnTo>
                  <a:pt x="2740" y="1219"/>
                </a:lnTo>
                <a:lnTo>
                  <a:pt x="2783" y="1211"/>
                </a:lnTo>
                <a:lnTo>
                  <a:pt x="2828" y="1208"/>
                </a:lnTo>
                <a:close/>
                <a:moveTo>
                  <a:pt x="2213" y="1208"/>
                </a:moveTo>
                <a:lnTo>
                  <a:pt x="2242" y="1209"/>
                </a:lnTo>
                <a:lnTo>
                  <a:pt x="2268" y="1211"/>
                </a:lnTo>
                <a:lnTo>
                  <a:pt x="2292" y="1215"/>
                </a:lnTo>
                <a:lnTo>
                  <a:pt x="2312" y="1219"/>
                </a:lnTo>
                <a:lnTo>
                  <a:pt x="2329" y="1223"/>
                </a:lnTo>
                <a:lnTo>
                  <a:pt x="2343" y="1227"/>
                </a:lnTo>
                <a:lnTo>
                  <a:pt x="2351" y="1230"/>
                </a:lnTo>
                <a:lnTo>
                  <a:pt x="2351" y="1392"/>
                </a:lnTo>
                <a:lnTo>
                  <a:pt x="2346" y="1389"/>
                </a:lnTo>
                <a:lnTo>
                  <a:pt x="2335" y="1384"/>
                </a:lnTo>
                <a:lnTo>
                  <a:pt x="2321" y="1377"/>
                </a:lnTo>
                <a:lnTo>
                  <a:pt x="2302" y="1371"/>
                </a:lnTo>
                <a:lnTo>
                  <a:pt x="2279" y="1365"/>
                </a:lnTo>
                <a:lnTo>
                  <a:pt x="2253" y="1360"/>
                </a:lnTo>
                <a:lnTo>
                  <a:pt x="2223" y="1359"/>
                </a:lnTo>
                <a:lnTo>
                  <a:pt x="2192" y="1362"/>
                </a:lnTo>
                <a:lnTo>
                  <a:pt x="2163" y="1369"/>
                </a:lnTo>
                <a:lnTo>
                  <a:pt x="2136" y="1381"/>
                </a:lnTo>
                <a:lnTo>
                  <a:pt x="2113" y="1396"/>
                </a:lnTo>
                <a:lnTo>
                  <a:pt x="2095" y="1415"/>
                </a:lnTo>
                <a:lnTo>
                  <a:pt x="2079" y="1437"/>
                </a:lnTo>
                <a:lnTo>
                  <a:pt x="2067" y="1463"/>
                </a:lnTo>
                <a:lnTo>
                  <a:pt x="2060" y="1490"/>
                </a:lnTo>
                <a:lnTo>
                  <a:pt x="2058" y="1521"/>
                </a:lnTo>
                <a:lnTo>
                  <a:pt x="2060" y="1550"/>
                </a:lnTo>
                <a:lnTo>
                  <a:pt x="2066" y="1578"/>
                </a:lnTo>
                <a:lnTo>
                  <a:pt x="2078" y="1602"/>
                </a:lnTo>
                <a:lnTo>
                  <a:pt x="2093" y="1625"/>
                </a:lnTo>
                <a:lnTo>
                  <a:pt x="2112" y="1644"/>
                </a:lnTo>
                <a:lnTo>
                  <a:pt x="2135" y="1660"/>
                </a:lnTo>
                <a:lnTo>
                  <a:pt x="2162" y="1672"/>
                </a:lnTo>
                <a:lnTo>
                  <a:pt x="2191" y="1679"/>
                </a:lnTo>
                <a:lnTo>
                  <a:pt x="2223" y="1682"/>
                </a:lnTo>
                <a:lnTo>
                  <a:pt x="2253" y="1680"/>
                </a:lnTo>
                <a:lnTo>
                  <a:pt x="2279" y="1676"/>
                </a:lnTo>
                <a:lnTo>
                  <a:pt x="2301" y="1671"/>
                </a:lnTo>
                <a:lnTo>
                  <a:pt x="2321" y="1664"/>
                </a:lnTo>
                <a:lnTo>
                  <a:pt x="2335" y="1658"/>
                </a:lnTo>
                <a:lnTo>
                  <a:pt x="2346" y="1653"/>
                </a:lnTo>
                <a:lnTo>
                  <a:pt x="2351" y="1649"/>
                </a:lnTo>
                <a:lnTo>
                  <a:pt x="2351" y="1812"/>
                </a:lnTo>
                <a:lnTo>
                  <a:pt x="2339" y="1816"/>
                </a:lnTo>
                <a:lnTo>
                  <a:pt x="2322" y="1820"/>
                </a:lnTo>
                <a:lnTo>
                  <a:pt x="2300" y="1826"/>
                </a:lnTo>
                <a:lnTo>
                  <a:pt x="2275" y="1830"/>
                </a:lnTo>
                <a:lnTo>
                  <a:pt x="2245" y="1833"/>
                </a:lnTo>
                <a:lnTo>
                  <a:pt x="2213" y="1834"/>
                </a:lnTo>
                <a:lnTo>
                  <a:pt x="2174" y="1832"/>
                </a:lnTo>
                <a:lnTo>
                  <a:pt x="2136" y="1826"/>
                </a:lnTo>
                <a:lnTo>
                  <a:pt x="2100" y="1815"/>
                </a:lnTo>
                <a:lnTo>
                  <a:pt x="2065" y="1801"/>
                </a:lnTo>
                <a:lnTo>
                  <a:pt x="2033" y="1783"/>
                </a:lnTo>
                <a:lnTo>
                  <a:pt x="2002" y="1762"/>
                </a:lnTo>
                <a:lnTo>
                  <a:pt x="1975" y="1737"/>
                </a:lnTo>
                <a:lnTo>
                  <a:pt x="1952" y="1710"/>
                </a:lnTo>
                <a:lnTo>
                  <a:pt x="1931" y="1678"/>
                </a:lnTo>
                <a:lnTo>
                  <a:pt x="1915" y="1643"/>
                </a:lnTo>
                <a:lnTo>
                  <a:pt x="1903" y="1605"/>
                </a:lnTo>
                <a:lnTo>
                  <a:pt x="1896" y="1564"/>
                </a:lnTo>
                <a:lnTo>
                  <a:pt x="1892" y="1521"/>
                </a:lnTo>
                <a:lnTo>
                  <a:pt x="1896" y="1477"/>
                </a:lnTo>
                <a:lnTo>
                  <a:pt x="1904" y="1434"/>
                </a:lnTo>
                <a:lnTo>
                  <a:pt x="1917" y="1395"/>
                </a:lnTo>
                <a:lnTo>
                  <a:pt x="1934" y="1359"/>
                </a:lnTo>
                <a:lnTo>
                  <a:pt x="1957" y="1326"/>
                </a:lnTo>
                <a:lnTo>
                  <a:pt x="1984" y="1296"/>
                </a:lnTo>
                <a:lnTo>
                  <a:pt x="2014" y="1271"/>
                </a:lnTo>
                <a:lnTo>
                  <a:pt x="2047" y="1249"/>
                </a:lnTo>
                <a:lnTo>
                  <a:pt x="2085" y="1231"/>
                </a:lnTo>
                <a:lnTo>
                  <a:pt x="2125" y="1218"/>
                </a:lnTo>
                <a:lnTo>
                  <a:pt x="2168" y="1211"/>
                </a:lnTo>
                <a:lnTo>
                  <a:pt x="2213" y="1208"/>
                </a:lnTo>
                <a:close/>
                <a:moveTo>
                  <a:pt x="630" y="1208"/>
                </a:moveTo>
                <a:lnTo>
                  <a:pt x="660" y="1209"/>
                </a:lnTo>
                <a:lnTo>
                  <a:pt x="687" y="1211"/>
                </a:lnTo>
                <a:lnTo>
                  <a:pt x="711" y="1215"/>
                </a:lnTo>
                <a:lnTo>
                  <a:pt x="731" y="1219"/>
                </a:lnTo>
                <a:lnTo>
                  <a:pt x="748" y="1223"/>
                </a:lnTo>
                <a:lnTo>
                  <a:pt x="760" y="1227"/>
                </a:lnTo>
                <a:lnTo>
                  <a:pt x="769" y="1230"/>
                </a:lnTo>
                <a:lnTo>
                  <a:pt x="769" y="1392"/>
                </a:lnTo>
                <a:lnTo>
                  <a:pt x="763" y="1389"/>
                </a:lnTo>
                <a:lnTo>
                  <a:pt x="754" y="1384"/>
                </a:lnTo>
                <a:lnTo>
                  <a:pt x="739" y="1377"/>
                </a:lnTo>
                <a:lnTo>
                  <a:pt x="721" y="1371"/>
                </a:lnTo>
                <a:lnTo>
                  <a:pt x="697" y="1365"/>
                </a:lnTo>
                <a:lnTo>
                  <a:pt x="671" y="1360"/>
                </a:lnTo>
                <a:lnTo>
                  <a:pt x="642" y="1359"/>
                </a:lnTo>
                <a:lnTo>
                  <a:pt x="611" y="1362"/>
                </a:lnTo>
                <a:lnTo>
                  <a:pt x="581" y="1369"/>
                </a:lnTo>
                <a:lnTo>
                  <a:pt x="555" y="1381"/>
                </a:lnTo>
                <a:lnTo>
                  <a:pt x="532" y="1396"/>
                </a:lnTo>
                <a:lnTo>
                  <a:pt x="513" y="1415"/>
                </a:lnTo>
                <a:lnTo>
                  <a:pt x="497" y="1437"/>
                </a:lnTo>
                <a:lnTo>
                  <a:pt x="485" y="1463"/>
                </a:lnTo>
                <a:lnTo>
                  <a:pt x="479" y="1490"/>
                </a:lnTo>
                <a:lnTo>
                  <a:pt x="475" y="1521"/>
                </a:lnTo>
                <a:lnTo>
                  <a:pt x="479" y="1550"/>
                </a:lnTo>
                <a:lnTo>
                  <a:pt x="485" y="1578"/>
                </a:lnTo>
                <a:lnTo>
                  <a:pt x="496" y="1602"/>
                </a:lnTo>
                <a:lnTo>
                  <a:pt x="512" y="1625"/>
                </a:lnTo>
                <a:lnTo>
                  <a:pt x="531" y="1644"/>
                </a:lnTo>
                <a:lnTo>
                  <a:pt x="554" y="1660"/>
                </a:lnTo>
                <a:lnTo>
                  <a:pt x="580" y="1672"/>
                </a:lnTo>
                <a:lnTo>
                  <a:pt x="610" y="1679"/>
                </a:lnTo>
                <a:lnTo>
                  <a:pt x="642" y="1682"/>
                </a:lnTo>
                <a:lnTo>
                  <a:pt x="671" y="1680"/>
                </a:lnTo>
                <a:lnTo>
                  <a:pt x="697" y="1676"/>
                </a:lnTo>
                <a:lnTo>
                  <a:pt x="719" y="1671"/>
                </a:lnTo>
                <a:lnTo>
                  <a:pt x="738" y="1664"/>
                </a:lnTo>
                <a:lnTo>
                  <a:pt x="753" y="1658"/>
                </a:lnTo>
                <a:lnTo>
                  <a:pt x="763" y="1653"/>
                </a:lnTo>
                <a:lnTo>
                  <a:pt x="769" y="1649"/>
                </a:lnTo>
                <a:lnTo>
                  <a:pt x="769" y="1812"/>
                </a:lnTo>
                <a:lnTo>
                  <a:pt x="757" y="1816"/>
                </a:lnTo>
                <a:lnTo>
                  <a:pt x="740" y="1820"/>
                </a:lnTo>
                <a:lnTo>
                  <a:pt x="718" y="1826"/>
                </a:lnTo>
                <a:lnTo>
                  <a:pt x="692" y="1830"/>
                </a:lnTo>
                <a:lnTo>
                  <a:pt x="663" y="1833"/>
                </a:lnTo>
                <a:lnTo>
                  <a:pt x="630" y="1834"/>
                </a:lnTo>
                <a:lnTo>
                  <a:pt x="592" y="1832"/>
                </a:lnTo>
                <a:lnTo>
                  <a:pt x="554" y="1826"/>
                </a:lnTo>
                <a:lnTo>
                  <a:pt x="518" y="1815"/>
                </a:lnTo>
                <a:lnTo>
                  <a:pt x="484" y="1801"/>
                </a:lnTo>
                <a:lnTo>
                  <a:pt x="451" y="1783"/>
                </a:lnTo>
                <a:lnTo>
                  <a:pt x="421" y="1762"/>
                </a:lnTo>
                <a:lnTo>
                  <a:pt x="394" y="1737"/>
                </a:lnTo>
                <a:lnTo>
                  <a:pt x="370" y="1710"/>
                </a:lnTo>
                <a:lnTo>
                  <a:pt x="350" y="1678"/>
                </a:lnTo>
                <a:lnTo>
                  <a:pt x="333" y="1643"/>
                </a:lnTo>
                <a:lnTo>
                  <a:pt x="322" y="1605"/>
                </a:lnTo>
                <a:lnTo>
                  <a:pt x="314" y="1564"/>
                </a:lnTo>
                <a:lnTo>
                  <a:pt x="311" y="1521"/>
                </a:lnTo>
                <a:lnTo>
                  <a:pt x="314" y="1477"/>
                </a:lnTo>
                <a:lnTo>
                  <a:pt x="323" y="1434"/>
                </a:lnTo>
                <a:lnTo>
                  <a:pt x="335" y="1395"/>
                </a:lnTo>
                <a:lnTo>
                  <a:pt x="353" y="1359"/>
                </a:lnTo>
                <a:lnTo>
                  <a:pt x="375" y="1326"/>
                </a:lnTo>
                <a:lnTo>
                  <a:pt x="402" y="1296"/>
                </a:lnTo>
                <a:lnTo>
                  <a:pt x="433" y="1271"/>
                </a:lnTo>
                <a:lnTo>
                  <a:pt x="466" y="1249"/>
                </a:lnTo>
                <a:lnTo>
                  <a:pt x="503" y="1231"/>
                </a:lnTo>
                <a:lnTo>
                  <a:pt x="544" y="1218"/>
                </a:lnTo>
                <a:lnTo>
                  <a:pt x="585" y="1211"/>
                </a:lnTo>
                <a:lnTo>
                  <a:pt x="630" y="1208"/>
                </a:lnTo>
                <a:close/>
                <a:moveTo>
                  <a:pt x="1556" y="1208"/>
                </a:moveTo>
                <a:lnTo>
                  <a:pt x="1583" y="1209"/>
                </a:lnTo>
                <a:lnTo>
                  <a:pt x="1610" y="1211"/>
                </a:lnTo>
                <a:lnTo>
                  <a:pt x="1634" y="1213"/>
                </a:lnTo>
                <a:lnTo>
                  <a:pt x="1656" y="1217"/>
                </a:lnTo>
                <a:lnTo>
                  <a:pt x="1675" y="1220"/>
                </a:lnTo>
                <a:lnTo>
                  <a:pt x="1689" y="1223"/>
                </a:lnTo>
                <a:lnTo>
                  <a:pt x="1699" y="1226"/>
                </a:lnTo>
                <a:lnTo>
                  <a:pt x="1704" y="1227"/>
                </a:lnTo>
                <a:lnTo>
                  <a:pt x="1704" y="1356"/>
                </a:lnTo>
                <a:lnTo>
                  <a:pt x="1700" y="1355"/>
                </a:lnTo>
                <a:lnTo>
                  <a:pt x="1691" y="1353"/>
                </a:lnTo>
                <a:lnTo>
                  <a:pt x="1679" y="1350"/>
                </a:lnTo>
                <a:lnTo>
                  <a:pt x="1663" y="1347"/>
                </a:lnTo>
                <a:lnTo>
                  <a:pt x="1645" y="1343"/>
                </a:lnTo>
                <a:lnTo>
                  <a:pt x="1625" y="1340"/>
                </a:lnTo>
                <a:lnTo>
                  <a:pt x="1605" y="1338"/>
                </a:lnTo>
                <a:lnTo>
                  <a:pt x="1586" y="1337"/>
                </a:lnTo>
                <a:lnTo>
                  <a:pt x="1557" y="1339"/>
                </a:lnTo>
                <a:lnTo>
                  <a:pt x="1534" y="1344"/>
                </a:lnTo>
                <a:lnTo>
                  <a:pt x="1515" y="1351"/>
                </a:lnTo>
                <a:lnTo>
                  <a:pt x="1502" y="1362"/>
                </a:lnTo>
                <a:lnTo>
                  <a:pt x="1494" y="1373"/>
                </a:lnTo>
                <a:lnTo>
                  <a:pt x="1491" y="1387"/>
                </a:lnTo>
                <a:lnTo>
                  <a:pt x="1494" y="1402"/>
                </a:lnTo>
                <a:lnTo>
                  <a:pt x="1501" y="1413"/>
                </a:lnTo>
                <a:lnTo>
                  <a:pt x="1511" y="1423"/>
                </a:lnTo>
                <a:lnTo>
                  <a:pt x="1523" y="1430"/>
                </a:lnTo>
                <a:lnTo>
                  <a:pt x="1536" y="1436"/>
                </a:lnTo>
                <a:lnTo>
                  <a:pt x="1549" y="1441"/>
                </a:lnTo>
                <a:lnTo>
                  <a:pt x="1560" y="1445"/>
                </a:lnTo>
                <a:lnTo>
                  <a:pt x="1602" y="1458"/>
                </a:lnTo>
                <a:lnTo>
                  <a:pt x="1634" y="1470"/>
                </a:lnTo>
                <a:lnTo>
                  <a:pt x="1661" y="1484"/>
                </a:lnTo>
                <a:lnTo>
                  <a:pt x="1684" y="1501"/>
                </a:lnTo>
                <a:lnTo>
                  <a:pt x="1703" y="1519"/>
                </a:lnTo>
                <a:lnTo>
                  <a:pt x="1719" y="1539"/>
                </a:lnTo>
                <a:lnTo>
                  <a:pt x="1731" y="1560"/>
                </a:lnTo>
                <a:lnTo>
                  <a:pt x="1740" y="1583"/>
                </a:lnTo>
                <a:lnTo>
                  <a:pt x="1745" y="1606"/>
                </a:lnTo>
                <a:lnTo>
                  <a:pt x="1746" y="1630"/>
                </a:lnTo>
                <a:lnTo>
                  <a:pt x="1744" y="1664"/>
                </a:lnTo>
                <a:lnTo>
                  <a:pt x="1737" y="1694"/>
                </a:lnTo>
                <a:lnTo>
                  <a:pt x="1727" y="1720"/>
                </a:lnTo>
                <a:lnTo>
                  <a:pt x="1712" y="1744"/>
                </a:lnTo>
                <a:lnTo>
                  <a:pt x="1696" y="1764"/>
                </a:lnTo>
                <a:lnTo>
                  <a:pt x="1676" y="1781"/>
                </a:lnTo>
                <a:lnTo>
                  <a:pt x="1654" y="1796"/>
                </a:lnTo>
                <a:lnTo>
                  <a:pt x="1630" y="1809"/>
                </a:lnTo>
                <a:lnTo>
                  <a:pt x="1604" y="1818"/>
                </a:lnTo>
                <a:lnTo>
                  <a:pt x="1578" y="1826"/>
                </a:lnTo>
                <a:lnTo>
                  <a:pt x="1551" y="1830"/>
                </a:lnTo>
                <a:lnTo>
                  <a:pt x="1524" y="1833"/>
                </a:lnTo>
                <a:lnTo>
                  <a:pt x="1498" y="1834"/>
                </a:lnTo>
                <a:lnTo>
                  <a:pt x="1467" y="1833"/>
                </a:lnTo>
                <a:lnTo>
                  <a:pt x="1439" y="1832"/>
                </a:lnTo>
                <a:lnTo>
                  <a:pt x="1412" y="1829"/>
                </a:lnTo>
                <a:lnTo>
                  <a:pt x="1388" y="1827"/>
                </a:lnTo>
                <a:lnTo>
                  <a:pt x="1368" y="1823"/>
                </a:lnTo>
                <a:lnTo>
                  <a:pt x="1351" y="1820"/>
                </a:lnTo>
                <a:lnTo>
                  <a:pt x="1339" y="1818"/>
                </a:lnTo>
                <a:lnTo>
                  <a:pt x="1334" y="1817"/>
                </a:lnTo>
                <a:lnTo>
                  <a:pt x="1334" y="1678"/>
                </a:lnTo>
                <a:lnTo>
                  <a:pt x="1343" y="1680"/>
                </a:lnTo>
                <a:lnTo>
                  <a:pt x="1356" y="1684"/>
                </a:lnTo>
                <a:lnTo>
                  <a:pt x="1375" y="1688"/>
                </a:lnTo>
                <a:lnTo>
                  <a:pt x="1397" y="1693"/>
                </a:lnTo>
                <a:lnTo>
                  <a:pt x="1422" y="1697"/>
                </a:lnTo>
                <a:lnTo>
                  <a:pt x="1448" y="1700"/>
                </a:lnTo>
                <a:lnTo>
                  <a:pt x="1477" y="1701"/>
                </a:lnTo>
                <a:lnTo>
                  <a:pt x="1507" y="1699"/>
                </a:lnTo>
                <a:lnTo>
                  <a:pt x="1531" y="1696"/>
                </a:lnTo>
                <a:lnTo>
                  <a:pt x="1552" y="1690"/>
                </a:lnTo>
                <a:lnTo>
                  <a:pt x="1568" y="1681"/>
                </a:lnTo>
                <a:lnTo>
                  <a:pt x="1578" y="1671"/>
                </a:lnTo>
                <a:lnTo>
                  <a:pt x="1585" y="1658"/>
                </a:lnTo>
                <a:lnTo>
                  <a:pt x="1587" y="1644"/>
                </a:lnTo>
                <a:lnTo>
                  <a:pt x="1585" y="1629"/>
                </a:lnTo>
                <a:lnTo>
                  <a:pt x="1578" y="1618"/>
                </a:lnTo>
                <a:lnTo>
                  <a:pt x="1567" y="1607"/>
                </a:lnTo>
                <a:lnTo>
                  <a:pt x="1553" y="1598"/>
                </a:lnTo>
                <a:lnTo>
                  <a:pt x="1537" y="1590"/>
                </a:lnTo>
                <a:lnTo>
                  <a:pt x="1520" y="1584"/>
                </a:lnTo>
                <a:lnTo>
                  <a:pt x="1509" y="1581"/>
                </a:lnTo>
                <a:lnTo>
                  <a:pt x="1498" y="1577"/>
                </a:lnTo>
                <a:lnTo>
                  <a:pt x="1487" y="1574"/>
                </a:lnTo>
                <a:lnTo>
                  <a:pt x="1462" y="1565"/>
                </a:lnTo>
                <a:lnTo>
                  <a:pt x="1439" y="1555"/>
                </a:lnTo>
                <a:lnTo>
                  <a:pt x="1416" y="1542"/>
                </a:lnTo>
                <a:lnTo>
                  <a:pt x="1396" y="1528"/>
                </a:lnTo>
                <a:lnTo>
                  <a:pt x="1378" y="1512"/>
                </a:lnTo>
                <a:lnTo>
                  <a:pt x="1363" y="1494"/>
                </a:lnTo>
                <a:lnTo>
                  <a:pt x="1350" y="1473"/>
                </a:lnTo>
                <a:lnTo>
                  <a:pt x="1341" y="1451"/>
                </a:lnTo>
                <a:lnTo>
                  <a:pt x="1334" y="1425"/>
                </a:lnTo>
                <a:lnTo>
                  <a:pt x="1332" y="1396"/>
                </a:lnTo>
                <a:lnTo>
                  <a:pt x="1334" y="1364"/>
                </a:lnTo>
                <a:lnTo>
                  <a:pt x="1342" y="1333"/>
                </a:lnTo>
                <a:lnTo>
                  <a:pt x="1354" y="1306"/>
                </a:lnTo>
                <a:lnTo>
                  <a:pt x="1371" y="1281"/>
                </a:lnTo>
                <a:lnTo>
                  <a:pt x="1392" y="1259"/>
                </a:lnTo>
                <a:lnTo>
                  <a:pt x="1417" y="1241"/>
                </a:lnTo>
                <a:lnTo>
                  <a:pt x="1446" y="1227"/>
                </a:lnTo>
                <a:lnTo>
                  <a:pt x="1479" y="1216"/>
                </a:lnTo>
                <a:lnTo>
                  <a:pt x="1515" y="1210"/>
                </a:lnTo>
                <a:lnTo>
                  <a:pt x="1556" y="1208"/>
                </a:lnTo>
                <a:close/>
                <a:moveTo>
                  <a:pt x="3381" y="493"/>
                </a:moveTo>
                <a:lnTo>
                  <a:pt x="3400" y="496"/>
                </a:lnTo>
                <a:lnTo>
                  <a:pt x="3418" y="503"/>
                </a:lnTo>
                <a:lnTo>
                  <a:pt x="3434" y="515"/>
                </a:lnTo>
                <a:lnTo>
                  <a:pt x="3446" y="531"/>
                </a:lnTo>
                <a:lnTo>
                  <a:pt x="3453" y="548"/>
                </a:lnTo>
                <a:lnTo>
                  <a:pt x="3456" y="569"/>
                </a:lnTo>
                <a:lnTo>
                  <a:pt x="3456" y="727"/>
                </a:lnTo>
                <a:lnTo>
                  <a:pt x="3453" y="748"/>
                </a:lnTo>
                <a:lnTo>
                  <a:pt x="3446" y="766"/>
                </a:lnTo>
                <a:lnTo>
                  <a:pt x="3434" y="780"/>
                </a:lnTo>
                <a:lnTo>
                  <a:pt x="3418" y="793"/>
                </a:lnTo>
                <a:lnTo>
                  <a:pt x="3400" y="801"/>
                </a:lnTo>
                <a:lnTo>
                  <a:pt x="3381" y="803"/>
                </a:lnTo>
                <a:lnTo>
                  <a:pt x="3361" y="801"/>
                </a:lnTo>
                <a:lnTo>
                  <a:pt x="3343" y="793"/>
                </a:lnTo>
                <a:lnTo>
                  <a:pt x="3328" y="780"/>
                </a:lnTo>
                <a:lnTo>
                  <a:pt x="3316" y="766"/>
                </a:lnTo>
                <a:lnTo>
                  <a:pt x="3308" y="748"/>
                </a:lnTo>
                <a:lnTo>
                  <a:pt x="3306" y="727"/>
                </a:lnTo>
                <a:lnTo>
                  <a:pt x="3306" y="569"/>
                </a:lnTo>
                <a:lnTo>
                  <a:pt x="3308" y="548"/>
                </a:lnTo>
                <a:lnTo>
                  <a:pt x="3316" y="531"/>
                </a:lnTo>
                <a:lnTo>
                  <a:pt x="3328" y="515"/>
                </a:lnTo>
                <a:lnTo>
                  <a:pt x="3343" y="503"/>
                </a:lnTo>
                <a:lnTo>
                  <a:pt x="3361" y="496"/>
                </a:lnTo>
                <a:lnTo>
                  <a:pt x="3381" y="493"/>
                </a:lnTo>
                <a:close/>
                <a:moveTo>
                  <a:pt x="1728" y="493"/>
                </a:moveTo>
                <a:lnTo>
                  <a:pt x="1748" y="496"/>
                </a:lnTo>
                <a:lnTo>
                  <a:pt x="1766" y="503"/>
                </a:lnTo>
                <a:lnTo>
                  <a:pt x="1781" y="515"/>
                </a:lnTo>
                <a:lnTo>
                  <a:pt x="1793" y="531"/>
                </a:lnTo>
                <a:lnTo>
                  <a:pt x="1800" y="548"/>
                </a:lnTo>
                <a:lnTo>
                  <a:pt x="1803" y="569"/>
                </a:lnTo>
                <a:lnTo>
                  <a:pt x="1803" y="727"/>
                </a:lnTo>
                <a:lnTo>
                  <a:pt x="1800" y="748"/>
                </a:lnTo>
                <a:lnTo>
                  <a:pt x="1793" y="766"/>
                </a:lnTo>
                <a:lnTo>
                  <a:pt x="1781" y="780"/>
                </a:lnTo>
                <a:lnTo>
                  <a:pt x="1766" y="793"/>
                </a:lnTo>
                <a:lnTo>
                  <a:pt x="1748" y="801"/>
                </a:lnTo>
                <a:lnTo>
                  <a:pt x="1728" y="803"/>
                </a:lnTo>
                <a:lnTo>
                  <a:pt x="1708" y="801"/>
                </a:lnTo>
                <a:lnTo>
                  <a:pt x="1690" y="793"/>
                </a:lnTo>
                <a:lnTo>
                  <a:pt x="1675" y="780"/>
                </a:lnTo>
                <a:lnTo>
                  <a:pt x="1663" y="766"/>
                </a:lnTo>
                <a:lnTo>
                  <a:pt x="1656" y="748"/>
                </a:lnTo>
                <a:lnTo>
                  <a:pt x="1653" y="727"/>
                </a:lnTo>
                <a:lnTo>
                  <a:pt x="1653" y="569"/>
                </a:lnTo>
                <a:lnTo>
                  <a:pt x="1656" y="548"/>
                </a:lnTo>
                <a:lnTo>
                  <a:pt x="1663" y="531"/>
                </a:lnTo>
                <a:lnTo>
                  <a:pt x="1675" y="515"/>
                </a:lnTo>
                <a:lnTo>
                  <a:pt x="1690" y="503"/>
                </a:lnTo>
                <a:lnTo>
                  <a:pt x="1708" y="496"/>
                </a:lnTo>
                <a:lnTo>
                  <a:pt x="1728" y="493"/>
                </a:lnTo>
                <a:close/>
                <a:moveTo>
                  <a:pt x="75" y="493"/>
                </a:moveTo>
                <a:lnTo>
                  <a:pt x="95" y="496"/>
                </a:lnTo>
                <a:lnTo>
                  <a:pt x="113" y="503"/>
                </a:lnTo>
                <a:lnTo>
                  <a:pt x="129" y="515"/>
                </a:lnTo>
                <a:lnTo>
                  <a:pt x="140" y="531"/>
                </a:lnTo>
                <a:lnTo>
                  <a:pt x="148" y="548"/>
                </a:lnTo>
                <a:lnTo>
                  <a:pt x="151" y="569"/>
                </a:lnTo>
                <a:lnTo>
                  <a:pt x="151" y="727"/>
                </a:lnTo>
                <a:lnTo>
                  <a:pt x="148" y="748"/>
                </a:lnTo>
                <a:lnTo>
                  <a:pt x="140" y="766"/>
                </a:lnTo>
                <a:lnTo>
                  <a:pt x="129" y="780"/>
                </a:lnTo>
                <a:lnTo>
                  <a:pt x="113" y="793"/>
                </a:lnTo>
                <a:lnTo>
                  <a:pt x="95" y="801"/>
                </a:lnTo>
                <a:lnTo>
                  <a:pt x="75" y="803"/>
                </a:lnTo>
                <a:lnTo>
                  <a:pt x="56" y="801"/>
                </a:lnTo>
                <a:lnTo>
                  <a:pt x="38" y="793"/>
                </a:lnTo>
                <a:lnTo>
                  <a:pt x="22" y="780"/>
                </a:lnTo>
                <a:lnTo>
                  <a:pt x="10" y="766"/>
                </a:lnTo>
                <a:lnTo>
                  <a:pt x="3" y="748"/>
                </a:lnTo>
                <a:lnTo>
                  <a:pt x="0" y="727"/>
                </a:lnTo>
                <a:lnTo>
                  <a:pt x="0" y="569"/>
                </a:lnTo>
                <a:lnTo>
                  <a:pt x="3" y="548"/>
                </a:lnTo>
                <a:lnTo>
                  <a:pt x="10" y="531"/>
                </a:lnTo>
                <a:lnTo>
                  <a:pt x="22" y="515"/>
                </a:lnTo>
                <a:lnTo>
                  <a:pt x="38" y="503"/>
                </a:lnTo>
                <a:lnTo>
                  <a:pt x="56" y="496"/>
                </a:lnTo>
                <a:lnTo>
                  <a:pt x="75" y="493"/>
                </a:lnTo>
                <a:close/>
                <a:moveTo>
                  <a:pt x="2968" y="285"/>
                </a:moveTo>
                <a:lnTo>
                  <a:pt x="2988" y="287"/>
                </a:lnTo>
                <a:lnTo>
                  <a:pt x="3006" y="295"/>
                </a:lnTo>
                <a:lnTo>
                  <a:pt x="3021" y="307"/>
                </a:lnTo>
                <a:lnTo>
                  <a:pt x="3033" y="322"/>
                </a:lnTo>
                <a:lnTo>
                  <a:pt x="3040" y="340"/>
                </a:lnTo>
                <a:lnTo>
                  <a:pt x="3043" y="360"/>
                </a:lnTo>
                <a:lnTo>
                  <a:pt x="3043" y="727"/>
                </a:lnTo>
                <a:lnTo>
                  <a:pt x="3040" y="748"/>
                </a:lnTo>
                <a:lnTo>
                  <a:pt x="3033" y="766"/>
                </a:lnTo>
                <a:lnTo>
                  <a:pt x="3021" y="780"/>
                </a:lnTo>
                <a:lnTo>
                  <a:pt x="3006" y="793"/>
                </a:lnTo>
                <a:lnTo>
                  <a:pt x="2988" y="801"/>
                </a:lnTo>
                <a:lnTo>
                  <a:pt x="2968" y="803"/>
                </a:lnTo>
                <a:lnTo>
                  <a:pt x="2947" y="801"/>
                </a:lnTo>
                <a:lnTo>
                  <a:pt x="2929" y="793"/>
                </a:lnTo>
                <a:lnTo>
                  <a:pt x="2915" y="780"/>
                </a:lnTo>
                <a:lnTo>
                  <a:pt x="2903" y="766"/>
                </a:lnTo>
                <a:lnTo>
                  <a:pt x="2895" y="748"/>
                </a:lnTo>
                <a:lnTo>
                  <a:pt x="2893" y="727"/>
                </a:lnTo>
                <a:lnTo>
                  <a:pt x="2893" y="360"/>
                </a:lnTo>
                <a:lnTo>
                  <a:pt x="2895" y="340"/>
                </a:lnTo>
                <a:lnTo>
                  <a:pt x="2903" y="322"/>
                </a:lnTo>
                <a:lnTo>
                  <a:pt x="2915" y="307"/>
                </a:lnTo>
                <a:lnTo>
                  <a:pt x="2929" y="295"/>
                </a:lnTo>
                <a:lnTo>
                  <a:pt x="2947" y="287"/>
                </a:lnTo>
                <a:lnTo>
                  <a:pt x="2968" y="285"/>
                </a:lnTo>
                <a:close/>
                <a:moveTo>
                  <a:pt x="2142" y="285"/>
                </a:moveTo>
                <a:lnTo>
                  <a:pt x="2162" y="287"/>
                </a:lnTo>
                <a:lnTo>
                  <a:pt x="2179" y="295"/>
                </a:lnTo>
                <a:lnTo>
                  <a:pt x="2194" y="307"/>
                </a:lnTo>
                <a:lnTo>
                  <a:pt x="2207" y="322"/>
                </a:lnTo>
                <a:lnTo>
                  <a:pt x="2214" y="340"/>
                </a:lnTo>
                <a:lnTo>
                  <a:pt x="2216" y="360"/>
                </a:lnTo>
                <a:lnTo>
                  <a:pt x="2216" y="727"/>
                </a:lnTo>
                <a:lnTo>
                  <a:pt x="2214" y="748"/>
                </a:lnTo>
                <a:lnTo>
                  <a:pt x="2207" y="766"/>
                </a:lnTo>
                <a:lnTo>
                  <a:pt x="2194" y="780"/>
                </a:lnTo>
                <a:lnTo>
                  <a:pt x="2179" y="793"/>
                </a:lnTo>
                <a:lnTo>
                  <a:pt x="2162" y="801"/>
                </a:lnTo>
                <a:lnTo>
                  <a:pt x="2142" y="803"/>
                </a:lnTo>
                <a:lnTo>
                  <a:pt x="2122" y="801"/>
                </a:lnTo>
                <a:lnTo>
                  <a:pt x="2104" y="793"/>
                </a:lnTo>
                <a:lnTo>
                  <a:pt x="2088" y="780"/>
                </a:lnTo>
                <a:lnTo>
                  <a:pt x="2077" y="766"/>
                </a:lnTo>
                <a:lnTo>
                  <a:pt x="2069" y="748"/>
                </a:lnTo>
                <a:lnTo>
                  <a:pt x="2066" y="727"/>
                </a:lnTo>
                <a:lnTo>
                  <a:pt x="2066" y="360"/>
                </a:lnTo>
                <a:lnTo>
                  <a:pt x="2069" y="340"/>
                </a:lnTo>
                <a:lnTo>
                  <a:pt x="2077" y="322"/>
                </a:lnTo>
                <a:lnTo>
                  <a:pt x="2088" y="307"/>
                </a:lnTo>
                <a:lnTo>
                  <a:pt x="2104" y="295"/>
                </a:lnTo>
                <a:lnTo>
                  <a:pt x="2122" y="287"/>
                </a:lnTo>
                <a:lnTo>
                  <a:pt x="2142" y="285"/>
                </a:lnTo>
                <a:close/>
                <a:moveTo>
                  <a:pt x="1315" y="285"/>
                </a:moveTo>
                <a:lnTo>
                  <a:pt x="1335" y="287"/>
                </a:lnTo>
                <a:lnTo>
                  <a:pt x="1353" y="295"/>
                </a:lnTo>
                <a:lnTo>
                  <a:pt x="1368" y="307"/>
                </a:lnTo>
                <a:lnTo>
                  <a:pt x="1380" y="322"/>
                </a:lnTo>
                <a:lnTo>
                  <a:pt x="1388" y="340"/>
                </a:lnTo>
                <a:lnTo>
                  <a:pt x="1390" y="360"/>
                </a:lnTo>
                <a:lnTo>
                  <a:pt x="1390" y="727"/>
                </a:lnTo>
                <a:lnTo>
                  <a:pt x="1388" y="748"/>
                </a:lnTo>
                <a:lnTo>
                  <a:pt x="1380" y="766"/>
                </a:lnTo>
                <a:lnTo>
                  <a:pt x="1368" y="780"/>
                </a:lnTo>
                <a:lnTo>
                  <a:pt x="1353" y="793"/>
                </a:lnTo>
                <a:lnTo>
                  <a:pt x="1335" y="801"/>
                </a:lnTo>
                <a:lnTo>
                  <a:pt x="1315" y="803"/>
                </a:lnTo>
                <a:lnTo>
                  <a:pt x="1295" y="801"/>
                </a:lnTo>
                <a:lnTo>
                  <a:pt x="1277" y="793"/>
                </a:lnTo>
                <a:lnTo>
                  <a:pt x="1262" y="780"/>
                </a:lnTo>
                <a:lnTo>
                  <a:pt x="1250" y="766"/>
                </a:lnTo>
                <a:lnTo>
                  <a:pt x="1242" y="748"/>
                </a:lnTo>
                <a:lnTo>
                  <a:pt x="1240" y="727"/>
                </a:lnTo>
                <a:lnTo>
                  <a:pt x="1240" y="360"/>
                </a:lnTo>
                <a:lnTo>
                  <a:pt x="1242" y="340"/>
                </a:lnTo>
                <a:lnTo>
                  <a:pt x="1250" y="322"/>
                </a:lnTo>
                <a:lnTo>
                  <a:pt x="1262" y="307"/>
                </a:lnTo>
                <a:lnTo>
                  <a:pt x="1277" y="295"/>
                </a:lnTo>
                <a:lnTo>
                  <a:pt x="1295" y="287"/>
                </a:lnTo>
                <a:lnTo>
                  <a:pt x="1315" y="285"/>
                </a:lnTo>
                <a:close/>
                <a:moveTo>
                  <a:pt x="488" y="285"/>
                </a:moveTo>
                <a:lnTo>
                  <a:pt x="508" y="287"/>
                </a:lnTo>
                <a:lnTo>
                  <a:pt x="527" y="295"/>
                </a:lnTo>
                <a:lnTo>
                  <a:pt x="541" y="307"/>
                </a:lnTo>
                <a:lnTo>
                  <a:pt x="553" y="322"/>
                </a:lnTo>
                <a:lnTo>
                  <a:pt x="561" y="340"/>
                </a:lnTo>
                <a:lnTo>
                  <a:pt x="563" y="360"/>
                </a:lnTo>
                <a:lnTo>
                  <a:pt x="563" y="727"/>
                </a:lnTo>
                <a:lnTo>
                  <a:pt x="561" y="748"/>
                </a:lnTo>
                <a:lnTo>
                  <a:pt x="553" y="766"/>
                </a:lnTo>
                <a:lnTo>
                  <a:pt x="541" y="780"/>
                </a:lnTo>
                <a:lnTo>
                  <a:pt x="527" y="793"/>
                </a:lnTo>
                <a:lnTo>
                  <a:pt x="508" y="801"/>
                </a:lnTo>
                <a:lnTo>
                  <a:pt x="488" y="803"/>
                </a:lnTo>
                <a:lnTo>
                  <a:pt x="468" y="801"/>
                </a:lnTo>
                <a:lnTo>
                  <a:pt x="450" y="793"/>
                </a:lnTo>
                <a:lnTo>
                  <a:pt x="436" y="780"/>
                </a:lnTo>
                <a:lnTo>
                  <a:pt x="423" y="766"/>
                </a:lnTo>
                <a:lnTo>
                  <a:pt x="416" y="748"/>
                </a:lnTo>
                <a:lnTo>
                  <a:pt x="414" y="727"/>
                </a:lnTo>
                <a:lnTo>
                  <a:pt x="414" y="360"/>
                </a:lnTo>
                <a:lnTo>
                  <a:pt x="416" y="340"/>
                </a:lnTo>
                <a:lnTo>
                  <a:pt x="423" y="322"/>
                </a:lnTo>
                <a:lnTo>
                  <a:pt x="436" y="307"/>
                </a:lnTo>
                <a:lnTo>
                  <a:pt x="450" y="295"/>
                </a:lnTo>
                <a:lnTo>
                  <a:pt x="468" y="287"/>
                </a:lnTo>
                <a:lnTo>
                  <a:pt x="488" y="285"/>
                </a:lnTo>
                <a:close/>
                <a:moveTo>
                  <a:pt x="2555" y="0"/>
                </a:moveTo>
                <a:lnTo>
                  <a:pt x="2575" y="2"/>
                </a:lnTo>
                <a:lnTo>
                  <a:pt x="2593" y="10"/>
                </a:lnTo>
                <a:lnTo>
                  <a:pt x="2608" y="22"/>
                </a:lnTo>
                <a:lnTo>
                  <a:pt x="2619" y="37"/>
                </a:lnTo>
                <a:lnTo>
                  <a:pt x="2628" y="55"/>
                </a:lnTo>
                <a:lnTo>
                  <a:pt x="2630" y="75"/>
                </a:lnTo>
                <a:lnTo>
                  <a:pt x="2630" y="879"/>
                </a:lnTo>
                <a:lnTo>
                  <a:pt x="2628" y="899"/>
                </a:lnTo>
                <a:lnTo>
                  <a:pt x="2619" y="917"/>
                </a:lnTo>
                <a:lnTo>
                  <a:pt x="2608" y="931"/>
                </a:lnTo>
                <a:lnTo>
                  <a:pt x="2593" y="944"/>
                </a:lnTo>
                <a:lnTo>
                  <a:pt x="2575" y="951"/>
                </a:lnTo>
                <a:lnTo>
                  <a:pt x="2555" y="953"/>
                </a:lnTo>
                <a:lnTo>
                  <a:pt x="2535" y="951"/>
                </a:lnTo>
                <a:lnTo>
                  <a:pt x="2517" y="944"/>
                </a:lnTo>
                <a:lnTo>
                  <a:pt x="2502" y="931"/>
                </a:lnTo>
                <a:lnTo>
                  <a:pt x="2490" y="917"/>
                </a:lnTo>
                <a:lnTo>
                  <a:pt x="2483" y="899"/>
                </a:lnTo>
                <a:lnTo>
                  <a:pt x="2480" y="879"/>
                </a:lnTo>
                <a:lnTo>
                  <a:pt x="2480" y="75"/>
                </a:lnTo>
                <a:lnTo>
                  <a:pt x="2483" y="55"/>
                </a:lnTo>
                <a:lnTo>
                  <a:pt x="2490" y="37"/>
                </a:lnTo>
                <a:lnTo>
                  <a:pt x="2502" y="22"/>
                </a:lnTo>
                <a:lnTo>
                  <a:pt x="2517" y="10"/>
                </a:lnTo>
                <a:lnTo>
                  <a:pt x="2535" y="2"/>
                </a:lnTo>
                <a:lnTo>
                  <a:pt x="2555" y="0"/>
                </a:lnTo>
                <a:close/>
                <a:moveTo>
                  <a:pt x="902" y="0"/>
                </a:moveTo>
                <a:lnTo>
                  <a:pt x="922" y="2"/>
                </a:lnTo>
                <a:lnTo>
                  <a:pt x="939" y="10"/>
                </a:lnTo>
                <a:lnTo>
                  <a:pt x="955" y="22"/>
                </a:lnTo>
                <a:lnTo>
                  <a:pt x="967" y="37"/>
                </a:lnTo>
                <a:lnTo>
                  <a:pt x="974" y="55"/>
                </a:lnTo>
                <a:lnTo>
                  <a:pt x="977" y="75"/>
                </a:lnTo>
                <a:lnTo>
                  <a:pt x="977" y="879"/>
                </a:lnTo>
                <a:lnTo>
                  <a:pt x="974" y="899"/>
                </a:lnTo>
                <a:lnTo>
                  <a:pt x="967" y="917"/>
                </a:lnTo>
                <a:lnTo>
                  <a:pt x="955" y="931"/>
                </a:lnTo>
                <a:lnTo>
                  <a:pt x="939" y="944"/>
                </a:lnTo>
                <a:lnTo>
                  <a:pt x="922" y="951"/>
                </a:lnTo>
                <a:lnTo>
                  <a:pt x="902" y="953"/>
                </a:lnTo>
                <a:lnTo>
                  <a:pt x="882" y="951"/>
                </a:lnTo>
                <a:lnTo>
                  <a:pt x="864" y="944"/>
                </a:lnTo>
                <a:lnTo>
                  <a:pt x="848" y="931"/>
                </a:lnTo>
                <a:lnTo>
                  <a:pt x="837" y="917"/>
                </a:lnTo>
                <a:lnTo>
                  <a:pt x="829" y="899"/>
                </a:lnTo>
                <a:lnTo>
                  <a:pt x="826" y="879"/>
                </a:lnTo>
                <a:lnTo>
                  <a:pt x="826" y="75"/>
                </a:lnTo>
                <a:lnTo>
                  <a:pt x="829" y="55"/>
                </a:lnTo>
                <a:lnTo>
                  <a:pt x="837" y="37"/>
                </a:lnTo>
                <a:lnTo>
                  <a:pt x="848" y="22"/>
                </a:lnTo>
                <a:lnTo>
                  <a:pt x="864" y="10"/>
                </a:lnTo>
                <a:lnTo>
                  <a:pt x="882" y="2"/>
                </a:lnTo>
                <a:lnTo>
                  <a:pt x="902" y="0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spcFirstLastPara="1" wrap="square" lIns="121900" tIns="60933" rIns="121900" bIns="60933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2400" b="0" i="0" u="none" strike="noStrike" cap="none">
              <a:solidFill>
                <a:schemeClr val="tx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C7229477-EAC3-40F5-B1BE-2AB2EFB5842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666" y="2070101"/>
            <a:ext cx="4963585" cy="1441633"/>
          </a:xfrm>
        </p:spPr>
        <p:txBody>
          <a:bodyPr>
            <a:noAutofit/>
          </a:bodyPr>
          <a:lstStyle>
            <a:lvl1pPr>
              <a:defRPr sz="48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228FA3E3-32F7-49E3-B1E5-3925A1590B2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19667" y="4322233"/>
            <a:ext cx="3312584" cy="419099"/>
          </a:xfrm>
          <a:prstGeom prst="rect">
            <a:avLst/>
          </a:prstGeom>
        </p:spPr>
        <p:txBody>
          <a:bodyPr>
            <a:normAutofit/>
          </a:bodyPr>
          <a:lstStyle>
            <a:lvl1pPr marR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600"/>
              <a:buFont typeface="Arial"/>
              <a:defRPr lang="en-US" sz="1467" b="0" i="0" u="none" strike="noStrike" cap="none" dirty="0">
                <a:solidFill>
                  <a:schemeClr val="tx1"/>
                </a:solidFill>
                <a:latin typeface="CiscoSansTT ExtraLight" panose="020B0303020201020303" pitchFamily="34" charset="0"/>
                <a:ea typeface="Arial"/>
                <a:cs typeface="CiscoSansTT ExtraLight" panose="020B0303020201020303" pitchFamily="34" charset="0"/>
                <a:sym typeface="Arial"/>
              </a:defRPr>
            </a:lvl1pPr>
            <a:lvl2pPr>
              <a:defRPr sz="2133" b="0" i="0">
                <a:solidFill>
                  <a:schemeClr val="tx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defRPr>
            </a:lvl2pPr>
            <a:lvl3pPr>
              <a:defRPr sz="2133" b="0" i="0">
                <a:solidFill>
                  <a:schemeClr val="tx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defRPr>
            </a:lvl3pPr>
            <a:lvl4pPr>
              <a:defRPr sz="2133" b="0" i="0">
                <a:solidFill>
                  <a:schemeClr val="tx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defRPr>
            </a:lvl4pPr>
            <a:lvl5pPr>
              <a:defRPr sz="2133" b="0" i="0">
                <a:solidFill>
                  <a:schemeClr val="tx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defRPr>
            </a:lvl5pPr>
          </a:lstStyle>
          <a:p>
            <a:pPr lvl="0"/>
            <a:r>
              <a:rPr lang="en-GB"/>
              <a:t>00th of Month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337568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450FCF8D-71D2-A04E-8294-27F85E6FFA3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19667" y="1612901"/>
            <a:ext cx="3977216" cy="410633"/>
          </a:xfrm>
          <a:prstGeom prst="rect">
            <a:avLst/>
          </a:prstGeom>
        </p:spPr>
        <p:txBody>
          <a:bodyPr/>
          <a:lstStyle>
            <a:lvl1pPr>
              <a:defRPr sz="1600" b="0" i="0">
                <a:solidFill>
                  <a:schemeClr val="tx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>
              <a:buClr>
                <a:schemeClr val="lt1"/>
              </a:buClr>
              <a:buSzPts val="2200"/>
              <a:buFont typeface="Helvetica Neue"/>
              <a:buNone/>
            </a:pPr>
            <a:endParaRPr lang="en-US" sz="1600" b="0" i="0">
              <a:solidFill>
                <a:schemeClr val="tx1"/>
              </a:solidFill>
              <a:latin typeface="CiscoSansTT ExtraLight" panose="020B0303020201020303" pitchFamily="34" charset="0"/>
              <a:cs typeface="CiscoSansTT ExtraLight" panose="020B0303020201020303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77218BF3-52A6-9345-92A3-879E039166BF}"/>
              </a:ext>
            </a:extLst>
          </p:cNvPr>
          <p:cNvSpPr/>
          <p:nvPr userDrawn="1"/>
        </p:nvSpPr>
        <p:spPr>
          <a:xfrm>
            <a:off x="696767" y="6348761"/>
            <a:ext cx="3392013" cy="148683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8" name="Text Placeholder 9">
            <a:extLst>
              <a:ext uri="{FF2B5EF4-FFF2-40B4-BE49-F238E27FC236}">
                <a16:creationId xmlns:a16="http://schemas.microsoft.com/office/drawing/2014/main" id="{9A95AC2F-9EAD-CC4E-865A-376F9679AA5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19667" y="2070101"/>
            <a:ext cx="4799243" cy="1647441"/>
          </a:xfrm>
          <a:prstGeom prst="rect">
            <a:avLst/>
          </a:prstGeom>
        </p:spPr>
        <p:txBody>
          <a:bodyPr/>
          <a:lstStyle>
            <a:lvl1pPr>
              <a:defRPr sz="4800" b="0" i="0">
                <a:solidFill>
                  <a:schemeClr val="tx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defRPr>
            </a:lvl1pPr>
          </a:lstStyle>
          <a:p>
            <a:pPr lvl="0"/>
            <a:r>
              <a:rPr lang="en-GB"/>
              <a:t>Click to add title</a:t>
            </a:r>
            <a:endParaRPr lang="en-US"/>
          </a:p>
        </p:txBody>
      </p:sp>
      <p:sp>
        <p:nvSpPr>
          <p:cNvPr id="23" name="Picture Placeholder 22">
            <a:extLst>
              <a:ext uri="{FF2B5EF4-FFF2-40B4-BE49-F238E27FC236}">
                <a16:creationId xmlns:a16="http://schemas.microsoft.com/office/drawing/2014/main" id="{4AF3F36D-8FA3-4219-A5CD-1DB9A679760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261100" y="0"/>
            <a:ext cx="5930899" cy="6858000"/>
          </a:xfrm>
          <a:custGeom>
            <a:avLst/>
            <a:gdLst>
              <a:gd name="connsiteX0" fmla="*/ 2571750 w 4448174"/>
              <a:gd name="connsiteY0" fmla="*/ 0 h 5143500"/>
              <a:gd name="connsiteX1" fmla="*/ 3925599 w 4448174"/>
              <a:gd name="connsiteY1" fmla="*/ 0 h 5143500"/>
              <a:gd name="connsiteX2" fmla="*/ 4146550 w 4448174"/>
              <a:gd name="connsiteY2" fmla="*/ 0 h 5143500"/>
              <a:gd name="connsiteX3" fmla="*/ 4448174 w 4448174"/>
              <a:gd name="connsiteY3" fmla="*/ 0 h 5143500"/>
              <a:gd name="connsiteX4" fmla="*/ 4448174 w 4448174"/>
              <a:gd name="connsiteY4" fmla="*/ 5143500 h 5143500"/>
              <a:gd name="connsiteX5" fmla="*/ 4146550 w 4448174"/>
              <a:gd name="connsiteY5" fmla="*/ 5143500 h 5143500"/>
              <a:gd name="connsiteX6" fmla="*/ 3925599 w 4448174"/>
              <a:gd name="connsiteY6" fmla="*/ 5143500 h 5143500"/>
              <a:gd name="connsiteX7" fmla="*/ 2571750 w 4448174"/>
              <a:gd name="connsiteY7" fmla="*/ 5143500 h 5143500"/>
              <a:gd name="connsiteX8" fmla="*/ 0 w 4448174"/>
              <a:gd name="connsiteY8" fmla="*/ 2571750 h 5143500"/>
              <a:gd name="connsiteX9" fmla="*/ 2571750 w 4448174"/>
              <a:gd name="connsiteY9" fmla="*/ 0 h 5143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4448174" h="5143500">
                <a:moveTo>
                  <a:pt x="2571750" y="0"/>
                </a:moveTo>
                <a:lnTo>
                  <a:pt x="3925599" y="0"/>
                </a:lnTo>
                <a:lnTo>
                  <a:pt x="4146550" y="0"/>
                </a:lnTo>
                <a:lnTo>
                  <a:pt x="4448174" y="0"/>
                </a:lnTo>
                <a:lnTo>
                  <a:pt x="4448174" y="5143500"/>
                </a:lnTo>
                <a:lnTo>
                  <a:pt x="4146550" y="5143500"/>
                </a:lnTo>
                <a:lnTo>
                  <a:pt x="3925599" y="5143500"/>
                </a:lnTo>
                <a:lnTo>
                  <a:pt x="2571750" y="5143500"/>
                </a:lnTo>
                <a:cubicBezTo>
                  <a:pt x="1151412" y="5143500"/>
                  <a:pt x="0" y="3992088"/>
                  <a:pt x="0" y="2571750"/>
                </a:cubicBezTo>
                <a:cubicBezTo>
                  <a:pt x="0" y="1151412"/>
                  <a:pt x="1151412" y="0"/>
                  <a:pt x="2571750" y="0"/>
                </a:cubicBezTo>
                <a:close/>
              </a:path>
            </a:pathLst>
          </a:custGeom>
          <a:solidFill>
            <a:srgbClr val="EDF1F6"/>
          </a:solidFill>
        </p:spPr>
        <p:txBody>
          <a:bodyPr wrap="square">
            <a:noAutofit/>
          </a:bodyPr>
          <a:lstStyle/>
          <a:p>
            <a:endParaRPr lang="en-US"/>
          </a:p>
        </p:txBody>
      </p:sp>
      <p:sp>
        <p:nvSpPr>
          <p:cNvPr id="21" name="Picture Placeholder 10">
            <a:extLst>
              <a:ext uri="{FF2B5EF4-FFF2-40B4-BE49-F238E27FC236}">
                <a16:creationId xmlns:a16="http://schemas.microsoft.com/office/drawing/2014/main" id="{9442949A-ED6E-4DA8-9A45-1668588B47B1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673003" y="5080000"/>
            <a:ext cx="1225163" cy="1225160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>
                <a:noFill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288546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Google Shape;775;p184">
            <a:extLst>
              <a:ext uri="{FF2B5EF4-FFF2-40B4-BE49-F238E27FC236}">
                <a16:creationId xmlns:a16="http://schemas.microsoft.com/office/drawing/2014/main" id="{1F96B0EF-5BA5-BC40-B6CA-0097F15501B5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177849" y="2070100"/>
            <a:ext cx="3864400" cy="37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>
              <a:defRPr sz="2133" b="0" i="0">
                <a:solidFill>
                  <a:schemeClr val="tx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defRPr>
            </a:lvl1pPr>
          </a:lstStyle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800"/>
              <a:buNone/>
            </a:pPr>
            <a:endParaRPr sz="2133">
              <a:solidFill>
                <a:schemeClr val="tx1"/>
              </a:solidFill>
              <a:latin typeface="CiscoSansTT ExtraLight" panose="020B0303020201020303" pitchFamily="34" charset="0"/>
              <a:ea typeface="Helvetica Neue Light"/>
              <a:cs typeface="CiscoSansTT ExtraLight" panose="020B0303020201020303" pitchFamily="34" charset="0"/>
              <a:sym typeface="Helvetica Neue Light"/>
            </a:endParaRPr>
          </a:p>
        </p:txBody>
      </p:sp>
      <p:sp>
        <p:nvSpPr>
          <p:cNvPr id="21" name="Google Shape;779;p184">
            <a:extLst>
              <a:ext uri="{FF2B5EF4-FFF2-40B4-BE49-F238E27FC236}">
                <a16:creationId xmlns:a16="http://schemas.microsoft.com/office/drawing/2014/main" id="{2FAC391D-7651-9E42-AD70-5EC4CC6B6045}"/>
              </a:ext>
            </a:extLst>
          </p:cNvPr>
          <p:cNvSpPr txBox="1">
            <a:spLocks noGrp="1"/>
          </p:cNvSpPr>
          <p:nvPr>
            <p:ph type="body" idx="2"/>
          </p:nvPr>
        </p:nvSpPr>
        <p:spPr>
          <a:xfrm>
            <a:off x="6177849" y="2843529"/>
            <a:ext cx="3864400" cy="37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>
              <a:defRPr sz="2133" b="0" i="0">
                <a:solidFill>
                  <a:schemeClr val="tx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defRPr>
            </a:lvl1pPr>
          </a:lstStyle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800"/>
              <a:buNone/>
            </a:pPr>
            <a:endParaRPr sz="2133">
              <a:solidFill>
                <a:schemeClr val="tx1"/>
              </a:solidFill>
              <a:latin typeface="CiscoSansTT ExtraLight" panose="020B0303020201020303" pitchFamily="34" charset="0"/>
              <a:ea typeface="Helvetica Neue Light"/>
              <a:cs typeface="CiscoSansTT ExtraLight" panose="020B0303020201020303" pitchFamily="34" charset="0"/>
              <a:sym typeface="Helvetica Neue Light"/>
            </a:endParaRPr>
          </a:p>
        </p:txBody>
      </p:sp>
      <p:sp>
        <p:nvSpPr>
          <p:cNvPr id="22" name="Google Shape;783;p184">
            <a:extLst>
              <a:ext uri="{FF2B5EF4-FFF2-40B4-BE49-F238E27FC236}">
                <a16:creationId xmlns:a16="http://schemas.microsoft.com/office/drawing/2014/main" id="{CDD9A77B-7D9C-E74D-80C6-8F466DAA4D24}"/>
              </a:ext>
            </a:extLst>
          </p:cNvPr>
          <p:cNvSpPr txBox="1">
            <a:spLocks noGrp="1"/>
          </p:cNvSpPr>
          <p:nvPr>
            <p:ph type="body" idx="3"/>
          </p:nvPr>
        </p:nvSpPr>
        <p:spPr>
          <a:xfrm>
            <a:off x="6177849" y="3616960"/>
            <a:ext cx="3864400" cy="37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>
              <a:defRPr sz="2133" b="0" i="0">
                <a:solidFill>
                  <a:schemeClr val="tx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defRPr>
            </a:lvl1pPr>
          </a:lstStyle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800"/>
              <a:buNone/>
            </a:pPr>
            <a:endParaRPr sz="2133">
              <a:solidFill>
                <a:schemeClr val="tx1"/>
              </a:solidFill>
              <a:latin typeface="CiscoSansTT ExtraLight" panose="020B0303020201020303" pitchFamily="34" charset="0"/>
              <a:ea typeface="Helvetica Neue Light"/>
              <a:cs typeface="CiscoSansTT ExtraLight" panose="020B0303020201020303" pitchFamily="34" charset="0"/>
              <a:sym typeface="Helvetica Neue Light"/>
            </a:endParaRPr>
          </a:p>
        </p:txBody>
      </p:sp>
      <p:sp>
        <p:nvSpPr>
          <p:cNvPr id="23" name="Google Shape;784;p184">
            <a:extLst>
              <a:ext uri="{FF2B5EF4-FFF2-40B4-BE49-F238E27FC236}">
                <a16:creationId xmlns:a16="http://schemas.microsoft.com/office/drawing/2014/main" id="{B052B460-E61C-054F-AF5D-07E563AA7526}"/>
              </a:ext>
            </a:extLst>
          </p:cNvPr>
          <p:cNvSpPr txBox="1">
            <a:spLocks noGrp="1"/>
          </p:cNvSpPr>
          <p:nvPr>
            <p:ph type="body" idx="4"/>
          </p:nvPr>
        </p:nvSpPr>
        <p:spPr>
          <a:xfrm>
            <a:off x="6177849" y="4390391"/>
            <a:ext cx="3864400" cy="37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>
              <a:defRPr sz="2133" b="0" i="0">
                <a:solidFill>
                  <a:schemeClr val="tx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defRPr>
            </a:lvl1pPr>
          </a:lstStyle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800"/>
              <a:buNone/>
            </a:pPr>
            <a:endParaRPr sz="2133">
              <a:solidFill>
                <a:schemeClr val="tx1"/>
              </a:solidFill>
              <a:latin typeface="CiscoSansTT ExtraLight" panose="020B0303020201020303" pitchFamily="34" charset="0"/>
              <a:ea typeface="Helvetica Neue Light"/>
              <a:cs typeface="CiscoSansTT ExtraLight" panose="020B0303020201020303" pitchFamily="34" charset="0"/>
              <a:sym typeface="Helvetica Neue Light"/>
            </a:endParaRPr>
          </a:p>
        </p:txBody>
      </p:sp>
      <p:sp>
        <p:nvSpPr>
          <p:cNvPr id="26" name="Google Shape;784;p184">
            <a:extLst>
              <a:ext uri="{FF2B5EF4-FFF2-40B4-BE49-F238E27FC236}">
                <a16:creationId xmlns:a16="http://schemas.microsoft.com/office/drawing/2014/main" id="{B4C8CF3B-7A8D-9540-8152-EE4B85686AD8}"/>
              </a:ext>
            </a:extLst>
          </p:cNvPr>
          <p:cNvSpPr txBox="1">
            <a:spLocks noGrp="1"/>
          </p:cNvSpPr>
          <p:nvPr>
            <p:ph type="body" idx="10"/>
          </p:nvPr>
        </p:nvSpPr>
        <p:spPr>
          <a:xfrm>
            <a:off x="6177849" y="5163820"/>
            <a:ext cx="3864400" cy="37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>
              <a:defRPr sz="2133" b="0" i="0">
                <a:solidFill>
                  <a:schemeClr val="tx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defRPr>
            </a:lvl1pPr>
          </a:lstStyle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800"/>
              <a:buNone/>
            </a:pPr>
            <a:endParaRPr sz="2133">
              <a:solidFill>
                <a:schemeClr val="tx1"/>
              </a:solidFill>
              <a:latin typeface="CiscoSansTT ExtraLight" panose="020B0303020201020303" pitchFamily="34" charset="0"/>
              <a:ea typeface="Helvetica Neue Light"/>
              <a:cs typeface="CiscoSansTT ExtraLight" panose="020B0303020201020303" pitchFamily="34" charset="0"/>
              <a:sym typeface="Helvetica Neue Light"/>
            </a:endParaRPr>
          </a:p>
        </p:txBody>
      </p:sp>
      <p:sp>
        <p:nvSpPr>
          <p:cNvPr id="24" name="Text Placeholder 23">
            <a:extLst>
              <a:ext uri="{FF2B5EF4-FFF2-40B4-BE49-F238E27FC236}">
                <a16:creationId xmlns:a16="http://schemas.microsoft.com/office/drawing/2014/main" id="{A934575A-85EC-4073-BC40-5A80AF9728F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489618" y="2027339"/>
            <a:ext cx="463125" cy="463124"/>
          </a:xfrm>
          <a:prstGeom prst="ellipse">
            <a:avLst/>
          </a:prstGeom>
          <a:solidFill>
            <a:schemeClr val="accent1"/>
          </a:solidFill>
        </p:spPr>
        <p:txBody>
          <a:bodyPr lIns="0" tIns="0" rIns="0" bIns="0" anchor="ctr" anchorCtr="0"/>
          <a:lstStyle>
            <a:lvl1pPr algn="ctr">
              <a:defRPr sz="1600">
                <a:solidFill>
                  <a:schemeClr val="bg1"/>
                </a:solidFill>
                <a:latin typeface="+mn-lt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(#)</a:t>
            </a:r>
          </a:p>
        </p:txBody>
      </p:sp>
      <p:sp>
        <p:nvSpPr>
          <p:cNvPr id="27" name="Text Placeholder 23">
            <a:extLst>
              <a:ext uri="{FF2B5EF4-FFF2-40B4-BE49-F238E27FC236}">
                <a16:creationId xmlns:a16="http://schemas.microsoft.com/office/drawing/2014/main" id="{B194B551-9D89-4F8B-BDD0-DBFCDD72D71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489618" y="2800769"/>
            <a:ext cx="463125" cy="463124"/>
          </a:xfrm>
          <a:prstGeom prst="ellipse">
            <a:avLst/>
          </a:prstGeom>
          <a:solidFill>
            <a:schemeClr val="accent1"/>
          </a:solidFill>
        </p:spPr>
        <p:txBody>
          <a:bodyPr lIns="0" tIns="0" rIns="0" bIns="0" anchor="ctr" anchorCtr="0"/>
          <a:lstStyle>
            <a:lvl1pPr algn="ctr">
              <a:defRPr sz="1600">
                <a:solidFill>
                  <a:schemeClr val="bg1"/>
                </a:solidFill>
                <a:latin typeface="+mn-lt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(#)</a:t>
            </a:r>
          </a:p>
        </p:txBody>
      </p:sp>
      <p:sp>
        <p:nvSpPr>
          <p:cNvPr id="28" name="Text Placeholder 23">
            <a:extLst>
              <a:ext uri="{FF2B5EF4-FFF2-40B4-BE49-F238E27FC236}">
                <a16:creationId xmlns:a16="http://schemas.microsoft.com/office/drawing/2014/main" id="{724E0C06-B347-44E1-BE44-CC39258896C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489618" y="3574199"/>
            <a:ext cx="463125" cy="463124"/>
          </a:xfrm>
          <a:prstGeom prst="ellipse">
            <a:avLst/>
          </a:prstGeom>
          <a:solidFill>
            <a:schemeClr val="accent1"/>
          </a:solidFill>
        </p:spPr>
        <p:txBody>
          <a:bodyPr lIns="0" tIns="0" rIns="0" bIns="0" anchor="ctr" anchorCtr="0"/>
          <a:lstStyle>
            <a:lvl1pPr algn="ctr">
              <a:defRPr sz="1600">
                <a:solidFill>
                  <a:schemeClr val="bg1"/>
                </a:solidFill>
                <a:latin typeface="+mn-lt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(#)</a:t>
            </a:r>
          </a:p>
        </p:txBody>
      </p:sp>
      <p:sp>
        <p:nvSpPr>
          <p:cNvPr id="29" name="Text Placeholder 23">
            <a:extLst>
              <a:ext uri="{FF2B5EF4-FFF2-40B4-BE49-F238E27FC236}">
                <a16:creationId xmlns:a16="http://schemas.microsoft.com/office/drawing/2014/main" id="{387A1886-320B-4F84-8140-CAC80774DD5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489618" y="4347630"/>
            <a:ext cx="463125" cy="463124"/>
          </a:xfrm>
          <a:prstGeom prst="ellipse">
            <a:avLst/>
          </a:prstGeom>
          <a:solidFill>
            <a:schemeClr val="accent1"/>
          </a:solidFill>
        </p:spPr>
        <p:txBody>
          <a:bodyPr lIns="0" tIns="0" rIns="0" bIns="0" anchor="ctr" anchorCtr="0"/>
          <a:lstStyle>
            <a:lvl1pPr algn="ctr">
              <a:defRPr sz="1600">
                <a:solidFill>
                  <a:schemeClr val="bg1"/>
                </a:solidFill>
                <a:latin typeface="+mn-lt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(#)</a:t>
            </a:r>
          </a:p>
        </p:txBody>
      </p:sp>
      <p:sp>
        <p:nvSpPr>
          <p:cNvPr id="30" name="Text Placeholder 23">
            <a:extLst>
              <a:ext uri="{FF2B5EF4-FFF2-40B4-BE49-F238E27FC236}">
                <a16:creationId xmlns:a16="http://schemas.microsoft.com/office/drawing/2014/main" id="{A1C3FF93-83D9-48D7-8495-968320A4A20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489618" y="5121059"/>
            <a:ext cx="463125" cy="463124"/>
          </a:xfrm>
          <a:prstGeom prst="ellipse">
            <a:avLst/>
          </a:prstGeom>
          <a:solidFill>
            <a:schemeClr val="accent1"/>
          </a:solidFill>
        </p:spPr>
        <p:txBody>
          <a:bodyPr lIns="0" tIns="0" rIns="0" bIns="0" anchor="ctr" anchorCtr="0"/>
          <a:lstStyle>
            <a:lvl1pPr algn="ctr">
              <a:defRPr sz="1600">
                <a:solidFill>
                  <a:schemeClr val="bg1"/>
                </a:solidFill>
                <a:latin typeface="+mn-lt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(#)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B592C14-52D0-4997-864B-3B6418B8F6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667" y="2070102"/>
            <a:ext cx="4015907" cy="2252133"/>
          </a:xfrm>
        </p:spPr>
        <p:txBody>
          <a:bodyPr>
            <a:noAutofit/>
          </a:bodyPr>
          <a:lstStyle>
            <a:lvl1pPr>
              <a:defRPr sz="4800"/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037306675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9475E96C-D3E5-614C-A33B-4639F654495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19667" y="1612900"/>
            <a:ext cx="4131733" cy="457200"/>
          </a:xfrm>
          <a:prstGeom prst="rect">
            <a:avLst/>
          </a:prstGeom>
        </p:spPr>
        <p:txBody>
          <a:bodyPr/>
          <a:lstStyle>
            <a:lvl1pPr>
              <a:defRPr sz="1600" b="0" i="0">
                <a:solidFill>
                  <a:schemeClr val="tx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>
              <a:buClr>
                <a:srgbClr val="005073"/>
              </a:buClr>
              <a:buSzPts val="2200"/>
              <a:buFont typeface="Helvetica Neue"/>
              <a:buNone/>
            </a:pPr>
            <a:endParaRPr lang="en-US" sz="1600">
              <a:solidFill>
                <a:srgbClr val="FFFFFF"/>
              </a:solidFill>
              <a:latin typeface="CiscoSansTT ExtraLight" panose="020B0303020201020303" pitchFamily="34" charset="0"/>
              <a:cs typeface="CiscoSansTT ExtraLight" panose="020B0303020201020303" pitchFamily="34" charset="0"/>
              <a:sym typeface="Helvetica Neue Light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4BBB5314-F22F-8E47-BF2F-342008A5E2D0}"/>
              </a:ext>
            </a:extLst>
          </p:cNvPr>
          <p:cNvSpPr/>
          <p:nvPr userDrawn="1"/>
        </p:nvSpPr>
        <p:spPr>
          <a:xfrm>
            <a:off x="696767" y="6348761"/>
            <a:ext cx="3392013" cy="148683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6" name="Text Placeholder 9">
            <a:extLst>
              <a:ext uri="{FF2B5EF4-FFF2-40B4-BE49-F238E27FC236}">
                <a16:creationId xmlns:a16="http://schemas.microsoft.com/office/drawing/2014/main" id="{9ECE22FA-A92C-FA45-B637-1203617C607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19667" y="2070101"/>
            <a:ext cx="4131733" cy="1943937"/>
          </a:xfrm>
          <a:prstGeom prst="rect">
            <a:avLst/>
          </a:prstGeom>
        </p:spPr>
        <p:txBody>
          <a:bodyPr/>
          <a:lstStyle>
            <a:lvl1pPr>
              <a:defRPr sz="5067" b="0" i="0">
                <a:solidFill>
                  <a:schemeClr val="tx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defRPr>
            </a:lvl1pPr>
          </a:lstStyle>
          <a:p>
            <a:pPr lvl="0"/>
            <a:r>
              <a:rPr lang="en-GB"/>
              <a:t>Click to add tit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0329619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and Content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832D9A9B-B135-4985-B11A-28D42D9F034F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927600" y="5306484"/>
            <a:ext cx="1168400" cy="1168400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>
                <a:noFill/>
              </a:defRPr>
            </a:lvl1pPr>
          </a:lstStyle>
          <a:p>
            <a:endParaRPr lang="en-US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381DB181-CB43-4242-82B5-F42830794DB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334251" y="2518834"/>
            <a:ext cx="4138083" cy="3602567"/>
          </a:xfrm>
          <a:prstGeom prst="rect">
            <a:avLst/>
          </a:prstGeom>
        </p:spPr>
        <p:txBody>
          <a:bodyPr/>
          <a:lstStyle>
            <a:lvl1pPr>
              <a:defRPr sz="1467" b="0" i="0">
                <a:solidFill>
                  <a:schemeClr val="tx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defRPr>
            </a:lvl1pPr>
            <a:lvl2pPr>
              <a:defRPr sz="1467" b="0" i="0">
                <a:solidFill>
                  <a:schemeClr val="tx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defRPr>
            </a:lvl2pPr>
            <a:lvl3pPr>
              <a:defRPr sz="1467" b="0" i="0">
                <a:solidFill>
                  <a:schemeClr val="tx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defRPr>
            </a:lvl3pPr>
            <a:lvl4pPr>
              <a:defRPr sz="1467" b="0" i="0">
                <a:solidFill>
                  <a:schemeClr val="tx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defRPr>
            </a:lvl4pPr>
            <a:lvl5pPr>
              <a:defRPr sz="1467" b="0" i="0">
                <a:solidFill>
                  <a:schemeClr val="tx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defRPr>
            </a:lvl5pPr>
          </a:lstStyle>
          <a:p>
            <a:pPr>
              <a:lnSpc>
                <a:spcPct val="115000"/>
              </a:lnSpc>
            </a:pPr>
            <a:endParaRPr lang="en-US" sz="1467">
              <a:solidFill>
                <a:schemeClr val="tx1"/>
              </a:solidFill>
              <a:latin typeface="CiscoSansTT ExtraLight" panose="020B0303020201020303" pitchFamily="34" charset="0"/>
              <a:cs typeface="CiscoSansTT ExtraLight" panose="020B0303020201020303" pitchFamily="34" charset="0"/>
              <a:sym typeface="Helvetica Neue Light"/>
            </a:endParaRPr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157636CD-277F-4975-A395-D6CE18D6CA69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1" y="0"/>
            <a:ext cx="6547204" cy="6858000"/>
          </a:xfrm>
          <a:custGeom>
            <a:avLst/>
            <a:gdLst>
              <a:gd name="connsiteX0" fmla="*/ 0 w 4910403"/>
              <a:gd name="connsiteY0" fmla="*/ 0 h 5143500"/>
              <a:gd name="connsiteX1" fmla="*/ 2338653 w 4910403"/>
              <a:gd name="connsiteY1" fmla="*/ 0 h 5143500"/>
              <a:gd name="connsiteX2" fmla="*/ 4910403 w 4910403"/>
              <a:gd name="connsiteY2" fmla="*/ 2571750 h 5143500"/>
              <a:gd name="connsiteX3" fmla="*/ 2338653 w 4910403"/>
              <a:gd name="connsiteY3" fmla="*/ 5143500 h 5143500"/>
              <a:gd name="connsiteX4" fmla="*/ 0 w 4910403"/>
              <a:gd name="connsiteY4" fmla="*/ 5143500 h 5143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910403" h="5143500">
                <a:moveTo>
                  <a:pt x="0" y="0"/>
                </a:moveTo>
                <a:lnTo>
                  <a:pt x="2338653" y="0"/>
                </a:lnTo>
                <a:cubicBezTo>
                  <a:pt x="3758991" y="0"/>
                  <a:pt x="4910403" y="1151412"/>
                  <a:pt x="4910403" y="2571750"/>
                </a:cubicBezTo>
                <a:cubicBezTo>
                  <a:pt x="4910403" y="3992088"/>
                  <a:pt x="3758991" y="5143500"/>
                  <a:pt x="2338653" y="5143500"/>
                </a:cubicBezTo>
                <a:lnTo>
                  <a:pt x="0" y="5143500"/>
                </a:lnTo>
                <a:close/>
              </a:path>
            </a:pathLst>
          </a:custGeom>
          <a:solidFill>
            <a:srgbClr val="EDF1F6"/>
          </a:solidFill>
        </p:spPr>
        <p:txBody>
          <a:bodyPr wrap="square">
            <a:noAutofit/>
          </a:bodyPr>
          <a:lstStyle/>
          <a:p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6326DED-1CA6-478E-8CEC-675ED4202D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334249" y="709084"/>
            <a:ext cx="4138084" cy="1361016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390479603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int 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Picture Placeholder 20">
            <a:extLst>
              <a:ext uri="{FF2B5EF4-FFF2-40B4-BE49-F238E27FC236}">
                <a16:creationId xmlns:a16="http://schemas.microsoft.com/office/drawing/2014/main" id="{1D26312F-CA6A-45D5-9C6C-0228BE4FD2ED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393167" y="893967"/>
            <a:ext cx="1322400" cy="5964032"/>
          </a:xfrm>
          <a:custGeom>
            <a:avLst/>
            <a:gdLst>
              <a:gd name="connsiteX0" fmla="*/ 486101 w 991800"/>
              <a:gd name="connsiteY0" fmla="*/ 0 h 4473024"/>
              <a:gd name="connsiteX1" fmla="*/ 505699 w 991800"/>
              <a:gd name="connsiteY1" fmla="*/ 0 h 4473024"/>
              <a:gd name="connsiteX2" fmla="*/ 991800 w 991800"/>
              <a:gd name="connsiteY2" fmla="*/ 486101 h 4473024"/>
              <a:gd name="connsiteX3" fmla="*/ 991800 w 991800"/>
              <a:gd name="connsiteY3" fmla="*/ 4473024 h 4473024"/>
              <a:gd name="connsiteX4" fmla="*/ 0 w 991800"/>
              <a:gd name="connsiteY4" fmla="*/ 4473024 h 4473024"/>
              <a:gd name="connsiteX5" fmla="*/ 0 w 991800"/>
              <a:gd name="connsiteY5" fmla="*/ 486101 h 4473024"/>
              <a:gd name="connsiteX6" fmla="*/ 486101 w 991800"/>
              <a:gd name="connsiteY6" fmla="*/ 0 h 4473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991800" h="4473024">
                <a:moveTo>
                  <a:pt x="486101" y="0"/>
                </a:moveTo>
                <a:lnTo>
                  <a:pt x="505699" y="0"/>
                </a:lnTo>
                <a:cubicBezTo>
                  <a:pt x="774165" y="0"/>
                  <a:pt x="991800" y="217635"/>
                  <a:pt x="991800" y="486101"/>
                </a:cubicBezTo>
                <a:lnTo>
                  <a:pt x="991800" y="4473024"/>
                </a:lnTo>
                <a:lnTo>
                  <a:pt x="0" y="4473024"/>
                </a:lnTo>
                <a:lnTo>
                  <a:pt x="0" y="486101"/>
                </a:lnTo>
                <a:cubicBezTo>
                  <a:pt x="0" y="217635"/>
                  <a:pt x="217635" y="0"/>
                  <a:pt x="486101" y="0"/>
                </a:cubicBezTo>
                <a:close/>
              </a:path>
            </a:pathLst>
          </a:custGeom>
          <a:solidFill>
            <a:srgbClr val="EDF1F6"/>
          </a:solidFill>
        </p:spPr>
        <p:txBody>
          <a:bodyPr wrap="square">
            <a:noAutofit/>
          </a:bodyPr>
          <a:lstStyle>
            <a:lvl1pPr>
              <a:defRPr>
                <a:noFill/>
              </a:defRPr>
            </a:lvl1pPr>
          </a:lstStyle>
          <a:p>
            <a:endParaRPr lang="en-US"/>
          </a:p>
        </p:txBody>
      </p:sp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BCD01C55-168C-4557-8869-5CE381C20B48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711203" y="1"/>
            <a:ext cx="2421199" cy="3809900"/>
          </a:xfrm>
          <a:custGeom>
            <a:avLst/>
            <a:gdLst>
              <a:gd name="connsiteX0" fmla="*/ 0 w 1815899"/>
              <a:gd name="connsiteY0" fmla="*/ 0 h 2857425"/>
              <a:gd name="connsiteX1" fmla="*/ 1815899 w 1815899"/>
              <a:gd name="connsiteY1" fmla="*/ 0 h 2857425"/>
              <a:gd name="connsiteX2" fmla="*/ 1815899 w 1815899"/>
              <a:gd name="connsiteY2" fmla="*/ 1949475 h 2857425"/>
              <a:gd name="connsiteX3" fmla="*/ 907949 w 1815899"/>
              <a:gd name="connsiteY3" fmla="*/ 2857425 h 2857425"/>
              <a:gd name="connsiteX4" fmla="*/ 4687 w 1815899"/>
              <a:gd name="connsiteY4" fmla="*/ 2042308 h 2857425"/>
              <a:gd name="connsiteX5" fmla="*/ 0 w 1815899"/>
              <a:gd name="connsiteY5" fmla="*/ 1949495 h 28574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815899" h="2857425">
                <a:moveTo>
                  <a:pt x="0" y="0"/>
                </a:moveTo>
                <a:lnTo>
                  <a:pt x="1815899" y="0"/>
                </a:lnTo>
                <a:lnTo>
                  <a:pt x="1815899" y="1949475"/>
                </a:lnTo>
                <a:cubicBezTo>
                  <a:pt x="1815899" y="2450922"/>
                  <a:pt x="1409396" y="2857425"/>
                  <a:pt x="907949" y="2857425"/>
                </a:cubicBezTo>
                <a:cubicBezTo>
                  <a:pt x="437842" y="2857425"/>
                  <a:pt x="51183" y="2500147"/>
                  <a:pt x="4687" y="2042308"/>
                </a:cubicBezTo>
                <a:lnTo>
                  <a:pt x="0" y="1949495"/>
                </a:lnTo>
                <a:close/>
              </a:path>
            </a:pathLst>
          </a:custGeom>
          <a:solidFill>
            <a:srgbClr val="EDF1F6"/>
          </a:solidFill>
        </p:spPr>
        <p:txBody>
          <a:bodyPr wrap="square">
            <a:noAutofit/>
          </a:bodyPr>
          <a:lstStyle/>
          <a:p>
            <a:endParaRPr lang="en-US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C197C6C4-1E88-FF4D-A6EB-4648CAAEB1C7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833841" y="1509357"/>
            <a:ext cx="2766483" cy="861483"/>
          </a:xfrm>
          <a:prstGeom prst="rect">
            <a:avLst/>
          </a:prstGeom>
        </p:spPr>
        <p:txBody>
          <a:bodyPr anchor="ctr" anchorCtr="0"/>
          <a:lstStyle>
            <a:lvl1pPr marL="0" marR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67" b="0" i="0">
                <a:solidFill>
                  <a:schemeClr val="tx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defRPr>
            </a:lvl1pPr>
            <a:lvl2pPr>
              <a:defRPr sz="1867"/>
            </a:lvl2pPr>
            <a:lvl3pPr>
              <a:defRPr sz="1867"/>
            </a:lvl3pPr>
            <a:lvl4pPr>
              <a:defRPr sz="1867"/>
            </a:lvl4pPr>
            <a:lvl5pPr>
              <a:defRPr sz="1867"/>
            </a:lvl5pPr>
          </a:lstStyle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lang="en-US" u="none" strike="noStrike" cap="none">
              <a:solidFill>
                <a:schemeClr val="tx1"/>
              </a:solidFill>
              <a:latin typeface="CiscoSansTT ExtraLight" panose="020B0303020201020303" pitchFamily="34" charset="0"/>
              <a:ea typeface="Helvetica Neue Light"/>
              <a:cs typeface="CiscoSansTT ExtraLight" panose="020B0303020201020303" pitchFamily="34" charset="0"/>
              <a:sym typeface="Helvetica Neue Light"/>
            </a:endParaRPr>
          </a:p>
        </p:txBody>
      </p:sp>
      <p:sp>
        <p:nvSpPr>
          <p:cNvPr id="14" name="Text Placeholder 12">
            <a:extLst>
              <a:ext uri="{FF2B5EF4-FFF2-40B4-BE49-F238E27FC236}">
                <a16:creationId xmlns:a16="http://schemas.microsoft.com/office/drawing/2014/main" id="{F8E33F91-D3E3-5348-9046-E8E44A70114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33841" y="2998259"/>
            <a:ext cx="2766483" cy="861483"/>
          </a:xfrm>
          <a:prstGeom prst="rect">
            <a:avLst/>
          </a:prstGeom>
        </p:spPr>
        <p:txBody>
          <a:bodyPr anchor="ctr" anchorCtr="0"/>
          <a:lstStyle>
            <a:lvl1pPr marL="0" marR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67" b="0" i="0">
                <a:solidFill>
                  <a:schemeClr val="tx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defRPr>
            </a:lvl1pPr>
            <a:lvl2pPr>
              <a:defRPr sz="1867"/>
            </a:lvl2pPr>
            <a:lvl3pPr>
              <a:defRPr sz="1867"/>
            </a:lvl3pPr>
            <a:lvl4pPr>
              <a:defRPr sz="1867"/>
            </a:lvl4pPr>
            <a:lvl5pPr>
              <a:defRPr sz="1867"/>
            </a:lvl5pPr>
          </a:lstStyle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lang="en-US" u="none" strike="noStrike" cap="none">
              <a:solidFill>
                <a:schemeClr val="tx1"/>
              </a:solidFill>
              <a:latin typeface="CiscoSansTT ExtraLight" panose="020B0303020201020303" pitchFamily="34" charset="0"/>
              <a:ea typeface="Helvetica Neue Light"/>
              <a:cs typeface="CiscoSansTT ExtraLight" panose="020B0303020201020303" pitchFamily="34" charset="0"/>
              <a:sym typeface="Helvetica Neue Light"/>
            </a:endParaRPr>
          </a:p>
        </p:txBody>
      </p:sp>
      <p:sp>
        <p:nvSpPr>
          <p:cNvPr id="15" name="Text Placeholder 12">
            <a:extLst>
              <a:ext uri="{FF2B5EF4-FFF2-40B4-BE49-F238E27FC236}">
                <a16:creationId xmlns:a16="http://schemas.microsoft.com/office/drawing/2014/main" id="{1F3FE1AB-0D7D-E34F-B442-EB54DC668994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7833841" y="4515277"/>
            <a:ext cx="2766483" cy="861483"/>
          </a:xfrm>
          <a:prstGeom prst="rect">
            <a:avLst/>
          </a:prstGeom>
        </p:spPr>
        <p:txBody>
          <a:bodyPr anchor="ctr" anchorCtr="0"/>
          <a:lstStyle>
            <a:lvl1pPr marL="0" marR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67" b="0" i="0">
                <a:solidFill>
                  <a:schemeClr val="tx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defRPr>
            </a:lvl1pPr>
            <a:lvl2pPr>
              <a:defRPr sz="1867"/>
            </a:lvl2pPr>
            <a:lvl3pPr>
              <a:defRPr sz="1867"/>
            </a:lvl3pPr>
            <a:lvl4pPr>
              <a:defRPr sz="1867"/>
            </a:lvl4pPr>
            <a:lvl5pPr>
              <a:defRPr sz="1867"/>
            </a:lvl5pPr>
          </a:lstStyle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lang="en-US" u="none" strike="noStrike" cap="none">
              <a:solidFill>
                <a:schemeClr val="tx1"/>
              </a:solidFill>
              <a:latin typeface="CiscoSansTT ExtraLight" panose="020B0303020201020303" pitchFamily="34" charset="0"/>
              <a:ea typeface="Helvetica Neue Light"/>
              <a:cs typeface="CiscoSansTT ExtraLight" panose="020B0303020201020303" pitchFamily="34" charset="0"/>
              <a:sym typeface="Helvetica Neue Light"/>
            </a:endParaRPr>
          </a:p>
        </p:txBody>
      </p:sp>
      <p:sp>
        <p:nvSpPr>
          <p:cNvPr id="18" name="Picture Placeholder 17">
            <a:extLst>
              <a:ext uri="{FF2B5EF4-FFF2-40B4-BE49-F238E27FC236}">
                <a16:creationId xmlns:a16="http://schemas.microsoft.com/office/drawing/2014/main" id="{84D09F35-CDD7-40E9-B917-41C86FE1F940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704633" y="1595780"/>
            <a:ext cx="699467" cy="688637"/>
          </a:xfrm>
          <a:prstGeom prst="ellipse">
            <a:avLst/>
          </a:prstGeom>
          <a:solidFill>
            <a:schemeClr val="bg1"/>
          </a:solidFill>
          <a:ln w="101600">
            <a:solidFill>
              <a:schemeClr val="bg1"/>
            </a:solidFill>
          </a:ln>
        </p:spPr>
        <p:txBody>
          <a:bodyPr/>
          <a:lstStyle>
            <a:lvl1pPr>
              <a:defRPr>
                <a:noFill/>
              </a:defRPr>
            </a:lvl1pPr>
          </a:lstStyle>
          <a:p>
            <a:endParaRPr lang="en-US"/>
          </a:p>
        </p:txBody>
      </p:sp>
      <p:sp>
        <p:nvSpPr>
          <p:cNvPr id="19" name="Picture Placeholder 17">
            <a:extLst>
              <a:ext uri="{FF2B5EF4-FFF2-40B4-BE49-F238E27FC236}">
                <a16:creationId xmlns:a16="http://schemas.microsoft.com/office/drawing/2014/main" id="{EAC09DE8-D1C7-404C-AAB0-4968B9C8377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704633" y="3098740"/>
            <a:ext cx="699467" cy="688637"/>
          </a:xfrm>
          <a:prstGeom prst="ellipse">
            <a:avLst/>
          </a:prstGeom>
          <a:solidFill>
            <a:schemeClr val="bg1"/>
          </a:solidFill>
          <a:ln w="101600">
            <a:solidFill>
              <a:schemeClr val="bg1"/>
            </a:solidFill>
          </a:ln>
        </p:spPr>
        <p:txBody>
          <a:bodyPr/>
          <a:lstStyle>
            <a:lvl1pPr>
              <a:defRPr>
                <a:noFill/>
              </a:defRPr>
            </a:lvl1pPr>
          </a:lstStyle>
          <a:p>
            <a:endParaRPr lang="en-US"/>
          </a:p>
        </p:txBody>
      </p:sp>
      <p:sp>
        <p:nvSpPr>
          <p:cNvPr id="20" name="Picture Placeholder 17">
            <a:extLst>
              <a:ext uri="{FF2B5EF4-FFF2-40B4-BE49-F238E27FC236}">
                <a16:creationId xmlns:a16="http://schemas.microsoft.com/office/drawing/2014/main" id="{B5066F44-6BA8-4DF5-A2BD-5E2192D7EC56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6704633" y="4601700"/>
            <a:ext cx="699467" cy="688637"/>
          </a:xfrm>
          <a:prstGeom prst="ellipse">
            <a:avLst/>
          </a:prstGeom>
          <a:solidFill>
            <a:schemeClr val="bg1"/>
          </a:solidFill>
          <a:ln w="101600">
            <a:solidFill>
              <a:schemeClr val="bg1"/>
            </a:solidFill>
          </a:ln>
        </p:spPr>
        <p:txBody>
          <a:bodyPr/>
          <a:lstStyle>
            <a:lvl1pPr>
              <a:defRPr>
                <a:noFill/>
              </a:defRPr>
            </a:lvl1pPr>
          </a:lstStyle>
          <a:p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35F4FBF-1C16-4019-96AE-593F2EB4B81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668" y="4322233"/>
            <a:ext cx="4529667" cy="179916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256619810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duct Showca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 Placeholder 16">
            <a:extLst>
              <a:ext uri="{FF2B5EF4-FFF2-40B4-BE49-F238E27FC236}">
                <a16:creationId xmlns:a16="http://schemas.microsoft.com/office/drawing/2014/main" id="{61097E46-88D4-B64F-A9B9-477EBA65B218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7334251" y="4269317"/>
            <a:ext cx="4138083" cy="831849"/>
          </a:xfrm>
          <a:prstGeom prst="rect">
            <a:avLst/>
          </a:prstGeom>
        </p:spPr>
        <p:txBody>
          <a:bodyPr/>
          <a:lstStyle>
            <a:lvl1pPr>
              <a:defRPr sz="1467" b="0" i="0">
                <a:solidFill>
                  <a:schemeClr val="tx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defRPr>
            </a:lvl1pPr>
            <a:lvl2pPr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>
              <a:lnSpc>
                <a:spcPct val="115000"/>
              </a:lnSpc>
            </a:pPr>
            <a:endParaRPr lang="en-US" sz="1467">
              <a:solidFill>
                <a:schemeClr val="tx1"/>
              </a:solidFill>
              <a:latin typeface="CiscoSansTT ExtraLight" panose="020B0303020201020303" pitchFamily="34" charset="0"/>
              <a:cs typeface="CiscoSansTT ExtraLight" panose="020B0303020201020303" pitchFamily="34" charset="0"/>
              <a:sym typeface="Helvetica Neue Light"/>
            </a:endParaRPr>
          </a:p>
        </p:txBody>
      </p:sp>
      <p:sp>
        <p:nvSpPr>
          <p:cNvPr id="19" name="Text Placeholder 13">
            <a:extLst>
              <a:ext uri="{FF2B5EF4-FFF2-40B4-BE49-F238E27FC236}">
                <a16:creationId xmlns:a16="http://schemas.microsoft.com/office/drawing/2014/main" id="{E674CEC4-E67F-1248-A499-B15645D72FA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334251" y="3856567"/>
            <a:ext cx="4138083" cy="368300"/>
          </a:xfrm>
          <a:prstGeom prst="rect">
            <a:avLst/>
          </a:prstGeom>
        </p:spPr>
        <p:txBody>
          <a:bodyPr/>
          <a:lstStyle>
            <a:lvl1pPr>
              <a:defRPr sz="1867" b="0" i="0">
                <a:solidFill>
                  <a:schemeClr val="accent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defRPr>
            </a:lvl1pPr>
          </a:lstStyle>
          <a:p>
            <a:pPr>
              <a:lnSpc>
                <a:spcPct val="115000"/>
              </a:lnSpc>
            </a:pPr>
            <a:endParaRPr lang="en-US">
              <a:solidFill>
                <a:schemeClr val="accent1"/>
              </a:solidFill>
              <a:latin typeface="CiscoSansTT ExtraLight" panose="020B0303020201020303" pitchFamily="34" charset="0"/>
              <a:cs typeface="CiscoSansTT ExtraLight" panose="020B0303020201020303" pitchFamily="34" charset="0"/>
              <a:sym typeface="Helvetica Neue Light"/>
            </a:endParaRP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7532A9EE-4B65-A846-8B5E-BE2879268B8F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334251" y="2937934"/>
            <a:ext cx="4138083" cy="833967"/>
          </a:xfrm>
          <a:prstGeom prst="rect">
            <a:avLst/>
          </a:prstGeom>
        </p:spPr>
        <p:txBody>
          <a:bodyPr/>
          <a:lstStyle>
            <a:lvl1pPr>
              <a:defRPr sz="1467" b="0" i="0">
                <a:solidFill>
                  <a:schemeClr val="tx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defRPr>
            </a:lvl1pPr>
            <a:lvl2pPr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>
              <a:lnSpc>
                <a:spcPct val="115000"/>
              </a:lnSpc>
            </a:pPr>
            <a:endParaRPr lang="en-US" sz="1467">
              <a:solidFill>
                <a:schemeClr val="tx1"/>
              </a:solidFill>
              <a:latin typeface="CiscoSansTT ExtraLight" panose="020B0303020201020303" pitchFamily="34" charset="0"/>
              <a:cs typeface="CiscoSansTT ExtraLight" panose="020B0303020201020303" pitchFamily="34" charset="0"/>
              <a:sym typeface="Helvetica Neue Light"/>
            </a:endParaRPr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4962D45B-C6EB-254C-834A-83FDBA682DF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334251" y="2518834"/>
            <a:ext cx="4138083" cy="368300"/>
          </a:xfrm>
          <a:prstGeom prst="rect">
            <a:avLst/>
          </a:prstGeom>
        </p:spPr>
        <p:txBody>
          <a:bodyPr/>
          <a:lstStyle>
            <a:lvl1pPr>
              <a:defRPr sz="1867" b="0" i="0">
                <a:solidFill>
                  <a:schemeClr val="accent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defRPr>
            </a:lvl1pPr>
          </a:lstStyle>
          <a:p>
            <a:pPr>
              <a:lnSpc>
                <a:spcPct val="115000"/>
              </a:lnSpc>
            </a:pPr>
            <a:endParaRPr lang="en-US">
              <a:solidFill>
                <a:schemeClr val="accent1"/>
              </a:solidFill>
              <a:latin typeface="CiscoSansTT ExtraLight" panose="020B0303020201020303" pitchFamily="34" charset="0"/>
              <a:cs typeface="CiscoSansTT ExtraLight" panose="020B0303020201020303" pitchFamily="34" charset="0"/>
              <a:sym typeface="Helvetica Neue Light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9A02D8B-89F4-4618-BDD2-D9ABD27D9F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334251" y="709084"/>
            <a:ext cx="4138083" cy="1361016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164588037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100F3F9D-2E2B-4B92-9723-00F12CB5D7B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1989" cy="6858000"/>
          </a:xfrm>
          <a:prstGeom prst="rect">
            <a:avLst/>
          </a:prstGeom>
          <a:solidFill>
            <a:srgbClr val="EDF1F6"/>
          </a:solidFill>
        </p:spPr>
        <p:txBody>
          <a:bodyPr/>
          <a:lstStyle>
            <a:lvl1pPr>
              <a:defRPr>
                <a:noFill/>
              </a:defRPr>
            </a:lvl1pPr>
          </a:lstStyle>
          <a:p>
            <a:endParaRPr lang="en-US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51720427-F808-43DE-A913-D4F7F53E551D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" y="0"/>
            <a:ext cx="12196233" cy="6858000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>
                <a:noFill/>
              </a:defRPr>
            </a:lvl1pPr>
          </a:lstStyle>
          <a:p>
            <a:endParaRPr lang="en-US"/>
          </a:p>
        </p:txBody>
      </p:sp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5634DC94-63CE-4DDF-8051-D07C98B07344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239844" y="1094636"/>
            <a:ext cx="566661" cy="462027"/>
          </a:xfrm>
          <a:prstGeom prst="rect">
            <a:avLst/>
          </a:prstGeom>
          <a:blipFill>
            <a:blip r:embed="rId3"/>
            <a:stretch>
              <a:fillRect/>
            </a:stretch>
          </a:blipFill>
        </p:spPr>
        <p:txBody>
          <a:bodyPr/>
          <a:lstStyle>
            <a:lvl1pPr>
              <a:defRPr>
                <a:noFill/>
              </a:defRPr>
            </a:lvl1pPr>
          </a:lstStyle>
          <a:p>
            <a:endParaRPr lang="en-US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7BE3E084-1EFF-FE4E-B08D-9D24BFCCAEA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939987" y="4170142"/>
            <a:ext cx="3106227" cy="230717"/>
          </a:xfrm>
          <a:prstGeom prst="rect">
            <a:avLst/>
          </a:prstGeom>
        </p:spPr>
        <p:txBody>
          <a:bodyPr/>
          <a:lstStyle>
            <a:lvl1pPr>
              <a:defRPr sz="1467" b="1" i="0">
                <a:solidFill>
                  <a:schemeClr val="bg1"/>
                </a:solidFill>
                <a:latin typeface="CiscoSansTT" panose="020B0503020201020303" pitchFamily="34" charset="0"/>
                <a:cs typeface="CiscoSansTT" panose="020B0503020201020303" pitchFamily="34" charset="0"/>
              </a:defRPr>
            </a:lvl1pPr>
            <a:lvl2pPr>
              <a:defRPr sz="1467" b="1" i="0">
                <a:latin typeface="CiscoSansTT" panose="020B0503020201020303" pitchFamily="34" charset="0"/>
                <a:cs typeface="CiscoSansTT" panose="020B0503020201020303" pitchFamily="34" charset="0"/>
              </a:defRPr>
            </a:lvl2pPr>
            <a:lvl3pPr>
              <a:defRPr sz="1467" b="1" i="0">
                <a:latin typeface="CiscoSansTT" panose="020B0503020201020303" pitchFamily="34" charset="0"/>
                <a:cs typeface="CiscoSansTT" panose="020B0503020201020303" pitchFamily="34" charset="0"/>
              </a:defRPr>
            </a:lvl3pPr>
            <a:lvl4pPr>
              <a:defRPr sz="1467" b="1" i="0">
                <a:latin typeface="CiscoSansTT" panose="020B0503020201020303" pitchFamily="34" charset="0"/>
                <a:cs typeface="CiscoSansTT" panose="020B0503020201020303" pitchFamily="34" charset="0"/>
              </a:defRPr>
            </a:lvl4pPr>
            <a:lvl5pPr>
              <a:defRPr sz="1467" b="1" i="0">
                <a:latin typeface="CiscoSansTT" panose="020B0503020201020303" pitchFamily="34" charset="0"/>
                <a:cs typeface="CiscoSansTT" panose="020B0503020201020303" pitchFamily="34" charset="0"/>
              </a:defRPr>
            </a:lvl5pPr>
          </a:lstStyle>
          <a:p>
            <a:endParaRPr lang="en-US" sz="1467" b="1">
              <a:solidFill>
                <a:srgbClr val="FFFFFF"/>
              </a:solidFill>
              <a:latin typeface="CiscoSansTT" panose="020B0503020201020303" pitchFamily="34" charset="0"/>
              <a:ea typeface="Helvetica Neue"/>
              <a:cs typeface="CiscoSansTT" panose="020B0503020201020303" pitchFamily="34" charset="0"/>
              <a:sym typeface="Helvetica Neue"/>
            </a:endParaRP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752799F5-3094-F049-BD2C-563AEB1EAB4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927046" y="4427064"/>
            <a:ext cx="3111500" cy="345017"/>
          </a:xfrm>
          <a:prstGeom prst="rect">
            <a:avLst/>
          </a:prstGeom>
        </p:spPr>
        <p:txBody>
          <a:bodyPr/>
          <a:lstStyle>
            <a:lvl1pPr>
              <a:defRPr sz="1200" b="0" i="0">
                <a:solidFill>
                  <a:schemeClr val="bg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endParaRPr lang="en-US" sz="1200">
              <a:solidFill>
                <a:srgbClr val="FFFFFF"/>
              </a:solidFill>
              <a:latin typeface="CiscoSansTT ExtraLight" panose="020B0303020201020303" pitchFamily="34" charset="0"/>
              <a:cs typeface="CiscoSansTT ExtraLight" panose="020B0303020201020303" pitchFamily="34" charset="0"/>
              <a:sym typeface="Helvetica Neue Light"/>
            </a:endParaRPr>
          </a:p>
        </p:txBody>
      </p:sp>
      <p:sp>
        <p:nvSpPr>
          <p:cNvPr id="8" name="Text Placeholder 9">
            <a:extLst>
              <a:ext uri="{FF2B5EF4-FFF2-40B4-BE49-F238E27FC236}">
                <a16:creationId xmlns:a16="http://schemas.microsoft.com/office/drawing/2014/main" id="{7026F21A-7268-2643-AFAB-66A39B9C6E3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927045" y="1413718"/>
            <a:ext cx="5114800" cy="2484945"/>
          </a:xfrm>
          <a:prstGeom prst="rect">
            <a:avLst/>
          </a:prstGeom>
        </p:spPr>
        <p:txBody>
          <a:bodyPr/>
          <a:lstStyle>
            <a:lvl1pPr>
              <a:defRPr sz="2667" b="0" i="0">
                <a:solidFill>
                  <a:schemeClr val="bg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defRPr>
            </a:lvl1pPr>
          </a:lstStyle>
          <a:p>
            <a:pPr lvl="0"/>
            <a:r>
              <a:rPr lang="en-GB"/>
              <a:t>Click to add title</a:t>
            </a:r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0A1A6A2-D12D-4F94-831A-110B03FB0349}"/>
              </a:ext>
            </a:extLst>
          </p:cNvPr>
          <p:cNvSpPr/>
          <p:nvPr userDrawn="1"/>
        </p:nvSpPr>
        <p:spPr>
          <a:xfrm>
            <a:off x="-1" y="-844774"/>
            <a:ext cx="12196233" cy="749580"/>
          </a:xfrm>
          <a:prstGeom prst="rect">
            <a:avLst/>
          </a:prstGeom>
          <a:solidFill>
            <a:srgbClr val="EDF1F6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2400">
                <a:solidFill>
                  <a:schemeClr val="tx1"/>
                </a:solidFill>
              </a:rPr>
              <a:t>PLEASE NOTE:</a:t>
            </a:r>
          </a:p>
          <a:p>
            <a:pPr algn="ctr"/>
            <a:r>
              <a:rPr lang="en-US" sz="2400">
                <a:solidFill>
                  <a:schemeClr val="tx1"/>
                </a:solidFill>
              </a:rPr>
              <a:t>In order to insert an image into the background, simply drag and drop your image onto the slide</a:t>
            </a:r>
          </a:p>
        </p:txBody>
      </p:sp>
    </p:spTree>
    <p:extLst>
      <p:ext uri="{BB962C8B-B14F-4D97-AF65-F5344CB8AC3E}">
        <p14:creationId xmlns:p14="http://schemas.microsoft.com/office/powerpoint/2010/main" val="3375538840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int Lis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 Placeholder 13">
            <a:extLst>
              <a:ext uri="{FF2B5EF4-FFF2-40B4-BE49-F238E27FC236}">
                <a16:creationId xmlns:a16="http://schemas.microsoft.com/office/drawing/2014/main" id="{283383B7-A0E5-3B4C-B4FC-5AE6D6C06DE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559494" y="4965810"/>
            <a:ext cx="3155949" cy="361951"/>
          </a:xfrm>
          <a:prstGeom prst="rect">
            <a:avLst/>
          </a:prstGeom>
        </p:spPr>
        <p:txBody>
          <a:bodyPr/>
          <a:lstStyle>
            <a:lvl1pPr>
              <a:defRPr sz="2133" b="0" i="0">
                <a:solidFill>
                  <a:schemeClr val="tx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defRPr>
            </a:lvl1pPr>
            <a:lvl2pPr>
              <a:defRPr sz="2133"/>
            </a:lvl2pPr>
            <a:lvl3pPr>
              <a:defRPr sz="2133"/>
            </a:lvl3pPr>
            <a:lvl4pPr>
              <a:defRPr sz="2133"/>
            </a:lvl4pPr>
            <a:lvl5pPr>
              <a:defRPr sz="2133"/>
            </a:lvl5pPr>
          </a:lstStyle>
          <a:p>
            <a:endParaRPr lang="en-US" sz="2133">
              <a:solidFill>
                <a:schemeClr val="tx1"/>
              </a:solidFill>
              <a:latin typeface="CiscoSansTT ExtraLight" panose="020B0303020201020303" pitchFamily="34" charset="0"/>
              <a:cs typeface="CiscoSansTT ExtraLight" panose="020B0303020201020303" pitchFamily="34" charset="0"/>
            </a:endParaRPr>
          </a:p>
        </p:txBody>
      </p:sp>
      <p:sp>
        <p:nvSpPr>
          <p:cNvPr id="15" name="Text Placeholder 13">
            <a:extLst>
              <a:ext uri="{FF2B5EF4-FFF2-40B4-BE49-F238E27FC236}">
                <a16:creationId xmlns:a16="http://schemas.microsoft.com/office/drawing/2014/main" id="{0E1A1A50-E09C-BC41-BEB2-5590491B06A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7559494" y="3289410"/>
            <a:ext cx="3155949" cy="361951"/>
          </a:xfrm>
          <a:prstGeom prst="rect">
            <a:avLst/>
          </a:prstGeom>
        </p:spPr>
        <p:txBody>
          <a:bodyPr/>
          <a:lstStyle>
            <a:lvl1pPr>
              <a:defRPr sz="2133" b="0" i="0">
                <a:solidFill>
                  <a:schemeClr val="tx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defRPr>
            </a:lvl1pPr>
            <a:lvl2pPr>
              <a:defRPr sz="2133"/>
            </a:lvl2pPr>
            <a:lvl3pPr>
              <a:defRPr sz="2133"/>
            </a:lvl3pPr>
            <a:lvl4pPr>
              <a:defRPr sz="2133"/>
            </a:lvl4pPr>
            <a:lvl5pPr>
              <a:defRPr sz="2133"/>
            </a:lvl5pPr>
          </a:lstStyle>
          <a:p>
            <a:endParaRPr lang="en-US" sz="2133">
              <a:solidFill>
                <a:schemeClr val="tx1"/>
              </a:solidFill>
              <a:latin typeface="CiscoSansTT ExtraLight" panose="020B0303020201020303" pitchFamily="34" charset="0"/>
              <a:cs typeface="CiscoSansTT ExtraLight" panose="020B0303020201020303" pitchFamily="34" charset="0"/>
            </a:endParaRPr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719A126E-1EB3-EF42-BC33-C1F2B52F3F8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559494" y="1581259"/>
            <a:ext cx="3155949" cy="361951"/>
          </a:xfrm>
          <a:prstGeom prst="rect">
            <a:avLst/>
          </a:prstGeom>
        </p:spPr>
        <p:txBody>
          <a:bodyPr/>
          <a:lstStyle>
            <a:lvl1pPr>
              <a:defRPr sz="2133" b="0" i="0">
                <a:solidFill>
                  <a:schemeClr val="tx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defRPr>
            </a:lvl1pPr>
            <a:lvl2pPr>
              <a:defRPr sz="2133"/>
            </a:lvl2pPr>
            <a:lvl3pPr>
              <a:defRPr sz="2133"/>
            </a:lvl3pPr>
            <a:lvl4pPr>
              <a:defRPr sz="2133"/>
            </a:lvl4pPr>
            <a:lvl5pPr>
              <a:defRPr sz="2133"/>
            </a:lvl5pPr>
          </a:lstStyle>
          <a:p>
            <a:endParaRPr lang="en-US" sz="2133">
              <a:solidFill>
                <a:schemeClr val="tx1"/>
              </a:solidFill>
              <a:latin typeface="CiscoSansTT ExtraLight" panose="020B0303020201020303" pitchFamily="34" charset="0"/>
              <a:cs typeface="CiscoSansTT ExtraLight" panose="020B0303020201020303" pitchFamily="34" charset="0"/>
            </a:endParaRPr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B42ACD8F-CFFE-CE4A-853F-583D069DE65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19666" y="3429001"/>
            <a:ext cx="4131735" cy="1441451"/>
          </a:xfrm>
          <a:prstGeom prst="rect">
            <a:avLst/>
          </a:prstGeom>
        </p:spPr>
        <p:txBody>
          <a:bodyPr/>
          <a:lstStyle>
            <a:lvl1pPr>
              <a:defRPr sz="1467" b="0" i="0">
                <a:solidFill>
                  <a:schemeClr val="tx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defRPr>
            </a:lvl1pPr>
            <a:lvl2pPr>
              <a:defRPr sz="1467" b="0" i="0">
                <a:solidFill>
                  <a:schemeClr val="tx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defRPr>
            </a:lvl2pPr>
            <a:lvl3pPr>
              <a:defRPr sz="1467" b="0" i="0">
                <a:solidFill>
                  <a:schemeClr val="tx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defRPr>
            </a:lvl3pPr>
            <a:lvl4pPr>
              <a:defRPr sz="1467" b="0" i="0">
                <a:solidFill>
                  <a:schemeClr val="tx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defRPr>
            </a:lvl4pPr>
            <a:lvl5pPr>
              <a:defRPr sz="1467" b="0" i="0">
                <a:solidFill>
                  <a:schemeClr val="tx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defRPr>
            </a:lvl5pPr>
          </a:lstStyle>
          <a:p>
            <a:pPr>
              <a:lnSpc>
                <a:spcPct val="115000"/>
              </a:lnSpc>
            </a:pPr>
            <a:endParaRPr lang="en-US" sz="1467">
              <a:solidFill>
                <a:schemeClr val="tx1"/>
              </a:solidFill>
              <a:latin typeface="CiscoSansTT ExtraLight" panose="020B0303020201020303" pitchFamily="34" charset="0"/>
              <a:cs typeface="CiscoSansTT ExtraLight" panose="020B0303020201020303" pitchFamily="34" charset="0"/>
              <a:sym typeface="Helvetica Neue Light"/>
            </a:endParaRPr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683FEB4F-58F8-4354-899B-D9018B1F3352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196667" y="1308100"/>
            <a:ext cx="908267" cy="908267"/>
          </a:xfrm>
          <a:prstGeom prst="ellipse">
            <a:avLst/>
          </a:prstGeom>
          <a:solidFill>
            <a:schemeClr val="bg1"/>
          </a:solidFill>
          <a:ln w="101600">
            <a:solidFill>
              <a:srgbClr val="EDF1F6"/>
            </a:solidFill>
          </a:ln>
        </p:spPr>
        <p:txBody>
          <a:bodyPr/>
          <a:lstStyle>
            <a:lvl1pPr>
              <a:defRPr>
                <a:noFill/>
              </a:defRPr>
            </a:lvl1pPr>
          </a:lstStyle>
          <a:p>
            <a:endParaRPr lang="en-US"/>
          </a:p>
        </p:txBody>
      </p:sp>
      <p:sp>
        <p:nvSpPr>
          <p:cNvPr id="17" name="Picture Placeholder 3">
            <a:extLst>
              <a:ext uri="{FF2B5EF4-FFF2-40B4-BE49-F238E27FC236}">
                <a16:creationId xmlns:a16="http://schemas.microsoft.com/office/drawing/2014/main" id="{B9C52DC1-92ED-4A1C-8323-59E017948D65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96667" y="3016251"/>
            <a:ext cx="908267" cy="908267"/>
          </a:xfrm>
          <a:prstGeom prst="ellipse">
            <a:avLst/>
          </a:prstGeom>
          <a:solidFill>
            <a:schemeClr val="bg1"/>
          </a:solidFill>
          <a:ln w="101600">
            <a:solidFill>
              <a:srgbClr val="EDF1F6"/>
            </a:solidFill>
          </a:ln>
        </p:spPr>
        <p:txBody>
          <a:bodyPr/>
          <a:lstStyle>
            <a:lvl1pPr>
              <a:defRPr>
                <a:noFill/>
              </a:defRPr>
            </a:lvl1pPr>
          </a:lstStyle>
          <a:p>
            <a:endParaRPr lang="en-US"/>
          </a:p>
        </p:txBody>
      </p:sp>
      <p:sp>
        <p:nvSpPr>
          <p:cNvPr id="18" name="Picture Placeholder 3">
            <a:extLst>
              <a:ext uri="{FF2B5EF4-FFF2-40B4-BE49-F238E27FC236}">
                <a16:creationId xmlns:a16="http://schemas.microsoft.com/office/drawing/2014/main" id="{76BB0C0A-8B0F-4ADD-8E7B-B5EA9F5B3EA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196667" y="4692651"/>
            <a:ext cx="908267" cy="908267"/>
          </a:xfrm>
          <a:prstGeom prst="ellipse">
            <a:avLst/>
          </a:prstGeom>
          <a:solidFill>
            <a:schemeClr val="bg1"/>
          </a:solidFill>
          <a:ln w="101600">
            <a:solidFill>
              <a:srgbClr val="EDF1F6"/>
            </a:solidFill>
          </a:ln>
        </p:spPr>
        <p:txBody>
          <a:bodyPr/>
          <a:lstStyle>
            <a:lvl1pPr>
              <a:defRPr>
                <a:noFill/>
              </a:defRPr>
            </a:lvl1pPr>
          </a:lstStyle>
          <a:p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F7DBFB5-9577-4ABC-B732-55CCAD4F755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667" y="2070101"/>
            <a:ext cx="4131733" cy="13589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30892869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9475E96C-D3E5-614C-A33B-4639F654495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19667" y="1612900"/>
            <a:ext cx="4131733" cy="4572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600" b="0" i="0">
                <a:solidFill>
                  <a:schemeClr val="tx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>
              <a:buClr>
                <a:srgbClr val="005073"/>
              </a:buClr>
              <a:buSzPts val="2200"/>
              <a:buFont typeface="Helvetica Neue"/>
              <a:buNone/>
            </a:pPr>
            <a:endParaRPr lang="en-US" sz="1600">
              <a:solidFill>
                <a:srgbClr val="FFFFFF"/>
              </a:solidFill>
              <a:latin typeface="CiscoSansTT ExtraLight" panose="020B0303020201020303" pitchFamily="34" charset="0"/>
              <a:cs typeface="CiscoSansTT ExtraLight" panose="020B0303020201020303" pitchFamily="34" charset="0"/>
              <a:sym typeface="Helvetica Neue Light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4BBB5314-F22F-8E47-BF2F-342008A5E2D0}"/>
              </a:ext>
            </a:extLst>
          </p:cNvPr>
          <p:cNvSpPr/>
          <p:nvPr userDrawn="1"/>
        </p:nvSpPr>
        <p:spPr>
          <a:xfrm>
            <a:off x="696767" y="6348761"/>
            <a:ext cx="3392013" cy="148683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89"/>
          </a:p>
        </p:txBody>
      </p:sp>
      <p:sp>
        <p:nvSpPr>
          <p:cNvPr id="6" name="Text Placeholder 9">
            <a:extLst>
              <a:ext uri="{FF2B5EF4-FFF2-40B4-BE49-F238E27FC236}">
                <a16:creationId xmlns:a16="http://schemas.microsoft.com/office/drawing/2014/main" id="{9ECE22FA-A92C-FA45-B637-1203617C607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19667" y="2070101"/>
            <a:ext cx="4131733" cy="1943937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4800" b="0" i="0">
                <a:solidFill>
                  <a:schemeClr val="tx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defRPr>
            </a:lvl1pPr>
          </a:lstStyle>
          <a:p>
            <a:pPr lvl="0"/>
            <a:r>
              <a:rPr lang="en-GB"/>
              <a:t>Click to add tit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6101791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B42ACD8F-CFFE-CE4A-853F-583D069DE65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19666" y="3429001"/>
            <a:ext cx="4131735" cy="1441451"/>
          </a:xfrm>
          <a:prstGeom prst="rect">
            <a:avLst/>
          </a:prstGeom>
        </p:spPr>
        <p:txBody>
          <a:bodyPr/>
          <a:lstStyle>
            <a:lvl1pPr>
              <a:defRPr sz="1467" b="0" i="0">
                <a:solidFill>
                  <a:schemeClr val="tx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defRPr>
            </a:lvl1pPr>
            <a:lvl2pPr>
              <a:defRPr sz="1467" b="0" i="0">
                <a:solidFill>
                  <a:schemeClr val="tx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defRPr>
            </a:lvl2pPr>
            <a:lvl3pPr>
              <a:defRPr sz="1467" b="0" i="0">
                <a:solidFill>
                  <a:schemeClr val="tx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defRPr>
            </a:lvl3pPr>
            <a:lvl4pPr>
              <a:defRPr sz="1467" b="0" i="0">
                <a:solidFill>
                  <a:schemeClr val="tx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defRPr>
            </a:lvl4pPr>
            <a:lvl5pPr>
              <a:defRPr sz="1467" b="0" i="0">
                <a:solidFill>
                  <a:schemeClr val="tx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defRPr>
            </a:lvl5pPr>
          </a:lstStyle>
          <a:p>
            <a:pPr>
              <a:lnSpc>
                <a:spcPct val="115000"/>
              </a:lnSpc>
            </a:pPr>
            <a:endParaRPr lang="en-US" sz="1467">
              <a:solidFill>
                <a:schemeClr val="tx1"/>
              </a:solidFill>
              <a:latin typeface="CiscoSansTT ExtraLight" panose="020B0303020201020303" pitchFamily="34" charset="0"/>
              <a:cs typeface="CiscoSansTT ExtraLight" panose="020B0303020201020303" pitchFamily="34" charset="0"/>
              <a:sym typeface="Helvetica Neue Light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8882533-A64D-440E-9224-3F3A545BC47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667" y="2070101"/>
            <a:ext cx="4131733" cy="1358900"/>
          </a:xfrm>
        </p:spPr>
        <p:txBody>
          <a:bodyPr>
            <a:noAutofit/>
          </a:bodyPr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206337570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EDD0B389-6141-4FE9-8448-1DBF3443ED8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967663" y="17618"/>
            <a:ext cx="6224339" cy="6840381"/>
          </a:xfrm>
          <a:custGeom>
            <a:avLst/>
            <a:gdLst>
              <a:gd name="connsiteX0" fmla="*/ 2565143 w 4668254"/>
              <a:gd name="connsiteY0" fmla="*/ 0 h 5130286"/>
              <a:gd name="connsiteX1" fmla="*/ 4668254 w 4668254"/>
              <a:gd name="connsiteY1" fmla="*/ 1 h 5130286"/>
              <a:gd name="connsiteX2" fmla="*/ 4668254 w 4668254"/>
              <a:gd name="connsiteY2" fmla="*/ 5130286 h 5130286"/>
              <a:gd name="connsiteX3" fmla="*/ 2565143 w 4668254"/>
              <a:gd name="connsiteY3" fmla="*/ 5130286 h 5130286"/>
              <a:gd name="connsiteX4" fmla="*/ 0 w 4668254"/>
              <a:gd name="connsiteY4" fmla="*/ 2565143 h 5130286"/>
              <a:gd name="connsiteX5" fmla="*/ 2565143 w 4668254"/>
              <a:gd name="connsiteY5" fmla="*/ 0 h 51302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668254" h="5130286">
                <a:moveTo>
                  <a:pt x="2565143" y="0"/>
                </a:moveTo>
                <a:lnTo>
                  <a:pt x="4668254" y="1"/>
                </a:lnTo>
                <a:lnTo>
                  <a:pt x="4668254" y="5130286"/>
                </a:lnTo>
                <a:lnTo>
                  <a:pt x="2565143" y="5130286"/>
                </a:lnTo>
                <a:cubicBezTo>
                  <a:pt x="1148454" y="5130286"/>
                  <a:pt x="0" y="3981832"/>
                  <a:pt x="0" y="2565143"/>
                </a:cubicBezTo>
                <a:cubicBezTo>
                  <a:pt x="0" y="1148454"/>
                  <a:pt x="1148454" y="0"/>
                  <a:pt x="2565143" y="0"/>
                </a:cubicBezTo>
                <a:close/>
              </a:path>
            </a:pathLst>
          </a:custGeom>
          <a:solidFill>
            <a:srgbClr val="EDF1F6"/>
          </a:solidFill>
        </p:spPr>
        <p:txBody>
          <a:bodyPr wrap="square">
            <a:noAutofit/>
          </a:bodyPr>
          <a:lstStyle/>
          <a:p>
            <a:endParaRPr lang="en-US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DD7838D7-04FF-1545-82C9-712D50CBA96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19667" y="2518834"/>
            <a:ext cx="4131733" cy="2991677"/>
          </a:xfrm>
          <a:prstGeom prst="rect">
            <a:avLst/>
          </a:prstGeom>
        </p:spPr>
        <p:txBody>
          <a:bodyPr/>
          <a:lstStyle>
            <a:lvl1pPr>
              <a:defRPr sz="1467" b="0" i="0">
                <a:solidFill>
                  <a:schemeClr val="tx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defRPr>
            </a:lvl1pPr>
            <a:lvl2pPr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>
              <a:lnSpc>
                <a:spcPct val="115000"/>
              </a:lnSpc>
            </a:pPr>
            <a:endParaRPr lang="en-US" sz="1467">
              <a:solidFill>
                <a:schemeClr val="tx1"/>
              </a:solidFill>
              <a:latin typeface="CiscoSansTT ExtraLight" panose="020B0303020201020303" pitchFamily="34" charset="0"/>
              <a:cs typeface="CiscoSansTT ExtraLight" panose="020B0303020201020303" pitchFamily="34" charset="0"/>
              <a:sym typeface="Helvetica Neue Light"/>
            </a:endParaRPr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FDBE70EF-377F-4ADC-91FB-5792A2F99798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267927" y="3203620"/>
            <a:ext cx="3098800" cy="3098801"/>
          </a:xfrm>
          <a:prstGeom prst="ellipse">
            <a:avLst/>
          </a:prstGeom>
          <a:solidFill>
            <a:schemeClr val="accent1"/>
          </a:solidFill>
        </p:spPr>
        <p:txBody>
          <a:bodyPr lIns="0" tIns="0" rIns="0" bIns="0" anchor="ctr" anchorCtr="0"/>
          <a:lstStyle>
            <a:lvl1pPr algn="ctr">
              <a:defRPr>
                <a:solidFill>
                  <a:schemeClr val="tx2"/>
                </a:solidFill>
                <a:latin typeface="+mn-lt"/>
              </a:defRPr>
            </a:lvl1pPr>
            <a:lvl2pPr algn="ctr">
              <a:defRPr>
                <a:solidFill>
                  <a:schemeClr val="tx2"/>
                </a:solidFill>
                <a:latin typeface="+mn-lt"/>
              </a:defRPr>
            </a:lvl2pPr>
            <a:lvl3pPr algn="ctr">
              <a:defRPr>
                <a:solidFill>
                  <a:schemeClr val="tx2"/>
                </a:solidFill>
                <a:latin typeface="+mn-lt"/>
              </a:defRPr>
            </a:lvl3pPr>
            <a:lvl4pPr algn="ctr">
              <a:defRPr>
                <a:solidFill>
                  <a:schemeClr val="tx2"/>
                </a:solidFill>
                <a:latin typeface="+mn-lt"/>
              </a:defRPr>
            </a:lvl4pPr>
            <a:lvl5pPr algn="ctr">
              <a:defRPr>
                <a:solidFill>
                  <a:schemeClr val="tx2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Picture Placeholder 5">
            <a:extLst>
              <a:ext uri="{FF2B5EF4-FFF2-40B4-BE49-F238E27FC236}">
                <a16:creationId xmlns:a16="http://schemas.microsoft.com/office/drawing/2014/main" id="{977C4E1E-EF59-4F9B-B922-4C7C61C3BB3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5013724" y="3784539"/>
            <a:ext cx="508405" cy="414528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>
                <a:noFill/>
              </a:defRPr>
            </a:lvl1pPr>
          </a:lstStyle>
          <a:p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6476E9-FF56-4974-AD87-77B030C700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667" y="709085"/>
            <a:ext cx="4131733" cy="1361016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218605700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Top Cen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E4E5C93-3A8E-4484-97CA-9286E439C1C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001076379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5143A888-2FF7-460B-8488-88710C99F16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45447340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left 3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 Placeholder 14">
            <a:extLst>
              <a:ext uri="{FF2B5EF4-FFF2-40B4-BE49-F238E27FC236}">
                <a16:creationId xmlns:a16="http://schemas.microsoft.com/office/drawing/2014/main" id="{ADB48F9A-75B0-5F46-94A1-49CE344195E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9192684" y="2070101"/>
            <a:ext cx="2275416" cy="364891"/>
          </a:xfrm>
          <a:prstGeom prst="rect">
            <a:avLst/>
          </a:prstGeom>
        </p:spPr>
        <p:txBody>
          <a:bodyPr/>
          <a:lstStyle>
            <a:lvl1pPr marL="0" marR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="0" i="0">
                <a:solidFill>
                  <a:schemeClr val="accent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defRPr>
            </a:lvl1pPr>
            <a:lvl2pPr>
              <a:defRPr sz="1600" b="0" i="0">
                <a:latin typeface="CiscoSansTT ExtraLight" panose="020B0303020201020303" pitchFamily="34" charset="0"/>
                <a:cs typeface="CiscoSansTT ExtraLight" panose="020B0303020201020303" pitchFamily="34" charset="0"/>
              </a:defRPr>
            </a:lvl2pPr>
            <a:lvl3pPr>
              <a:defRPr sz="1600" b="0" i="0">
                <a:latin typeface="CiscoSansTT ExtraLight" panose="020B0303020201020303" pitchFamily="34" charset="0"/>
                <a:cs typeface="CiscoSansTT ExtraLight" panose="020B0303020201020303" pitchFamily="34" charset="0"/>
              </a:defRPr>
            </a:lvl3pPr>
            <a:lvl4pPr>
              <a:defRPr sz="1600" b="0" i="0">
                <a:latin typeface="CiscoSansTT ExtraLight" panose="020B0303020201020303" pitchFamily="34" charset="0"/>
                <a:cs typeface="CiscoSansTT ExtraLight" panose="020B0303020201020303" pitchFamily="34" charset="0"/>
              </a:defRPr>
            </a:lvl4pPr>
            <a:lvl5pPr>
              <a:defRPr sz="1600" b="0" i="0">
                <a:latin typeface="CiscoSansTT ExtraLight" panose="020B0303020201020303" pitchFamily="34" charset="0"/>
                <a:cs typeface="CiscoSansTT ExtraLight" panose="020B0303020201020303" pitchFamily="34" charset="0"/>
              </a:defRPr>
            </a:lvl5pPr>
          </a:lstStyle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lang="en-US" sz="1600" u="none" strike="noStrike" cap="none">
              <a:solidFill>
                <a:schemeClr val="accent1"/>
              </a:solidFill>
              <a:latin typeface="CiscoSansTT ExtraLight" panose="020B0303020201020303" pitchFamily="34" charset="0"/>
              <a:ea typeface="Helvetica Neue Light"/>
              <a:cs typeface="CiscoSansTT ExtraLight" panose="020B0303020201020303" pitchFamily="34" charset="0"/>
              <a:sym typeface="Helvetica Neue Light"/>
            </a:endParaRPr>
          </a:p>
        </p:txBody>
      </p:sp>
      <p:sp>
        <p:nvSpPr>
          <p:cNvPr id="19" name="Text Placeholder 12">
            <a:extLst>
              <a:ext uri="{FF2B5EF4-FFF2-40B4-BE49-F238E27FC236}">
                <a16:creationId xmlns:a16="http://schemas.microsoft.com/office/drawing/2014/main" id="{DAF50268-6A31-634C-AAB5-22721EE551F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9192684" y="2493085"/>
            <a:ext cx="2275600" cy="3323516"/>
          </a:xfrm>
          <a:prstGeom prst="rect">
            <a:avLst/>
          </a:prstGeom>
        </p:spPr>
        <p:txBody>
          <a:bodyPr/>
          <a:lstStyle>
            <a:lvl1pPr marL="0" marR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33" b="0" i="0">
                <a:solidFill>
                  <a:schemeClr val="tx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defRPr>
            </a:lvl1pPr>
            <a:lvl2pPr>
              <a:defRPr sz="1333" b="0" i="0">
                <a:latin typeface="CiscoSansTT ExtraLight" panose="020B0303020201020303" pitchFamily="34" charset="0"/>
                <a:cs typeface="CiscoSansTT ExtraLight" panose="020B0303020201020303" pitchFamily="34" charset="0"/>
              </a:defRPr>
            </a:lvl2pPr>
            <a:lvl3pPr>
              <a:defRPr sz="1333" b="0" i="0">
                <a:latin typeface="CiscoSansTT ExtraLight" panose="020B0303020201020303" pitchFamily="34" charset="0"/>
                <a:cs typeface="CiscoSansTT ExtraLight" panose="020B0303020201020303" pitchFamily="34" charset="0"/>
              </a:defRPr>
            </a:lvl3pPr>
            <a:lvl4pPr>
              <a:defRPr sz="1333" b="0" i="0">
                <a:latin typeface="CiscoSansTT ExtraLight" panose="020B0303020201020303" pitchFamily="34" charset="0"/>
                <a:cs typeface="CiscoSansTT ExtraLight" panose="020B0303020201020303" pitchFamily="34" charset="0"/>
              </a:defRPr>
            </a:lvl4pPr>
            <a:lvl5pPr>
              <a:defRPr sz="1333" b="0" i="0">
                <a:latin typeface="CiscoSansTT ExtraLight" panose="020B0303020201020303" pitchFamily="34" charset="0"/>
                <a:cs typeface="CiscoSansTT ExtraLight" panose="020B0303020201020303" pitchFamily="34" charset="0"/>
              </a:defRPr>
            </a:lvl5pPr>
          </a:lstStyle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lang="en-US" sz="1333" u="none" strike="noStrike" cap="none">
              <a:solidFill>
                <a:schemeClr val="tx1"/>
              </a:solidFill>
              <a:latin typeface="CiscoSansTT ExtraLight" panose="020B0303020201020303" pitchFamily="34" charset="0"/>
              <a:ea typeface="Helvetica Neue Light"/>
              <a:cs typeface="CiscoSansTT ExtraLight" panose="020B0303020201020303" pitchFamily="34" charset="0"/>
              <a:sym typeface="Helvetica Neue Light"/>
            </a:endParaRPr>
          </a:p>
        </p:txBody>
      </p:sp>
      <p:sp>
        <p:nvSpPr>
          <p:cNvPr id="16" name="Text Placeholder 14">
            <a:extLst>
              <a:ext uri="{FF2B5EF4-FFF2-40B4-BE49-F238E27FC236}">
                <a16:creationId xmlns:a16="http://schemas.microsoft.com/office/drawing/2014/main" id="{D2BB6F7A-7AC7-4844-8EC1-028D16E4865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709835" y="2070101"/>
            <a:ext cx="2275416" cy="364891"/>
          </a:xfrm>
          <a:prstGeom prst="rect">
            <a:avLst/>
          </a:prstGeom>
        </p:spPr>
        <p:txBody>
          <a:bodyPr/>
          <a:lstStyle>
            <a:lvl1pPr marL="0" marR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="0" i="0">
                <a:solidFill>
                  <a:schemeClr val="accent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defRPr>
            </a:lvl1pPr>
            <a:lvl2pPr>
              <a:defRPr sz="1600" b="0" i="0">
                <a:latin typeface="CiscoSansTT ExtraLight" panose="020B0303020201020303" pitchFamily="34" charset="0"/>
                <a:cs typeface="CiscoSansTT ExtraLight" panose="020B0303020201020303" pitchFamily="34" charset="0"/>
              </a:defRPr>
            </a:lvl2pPr>
            <a:lvl3pPr>
              <a:defRPr sz="1600" b="0" i="0">
                <a:latin typeface="CiscoSansTT ExtraLight" panose="020B0303020201020303" pitchFamily="34" charset="0"/>
                <a:cs typeface="CiscoSansTT ExtraLight" panose="020B0303020201020303" pitchFamily="34" charset="0"/>
              </a:defRPr>
            </a:lvl3pPr>
            <a:lvl4pPr>
              <a:defRPr sz="1600" b="0" i="0">
                <a:latin typeface="CiscoSansTT ExtraLight" panose="020B0303020201020303" pitchFamily="34" charset="0"/>
                <a:cs typeface="CiscoSansTT ExtraLight" panose="020B0303020201020303" pitchFamily="34" charset="0"/>
              </a:defRPr>
            </a:lvl4pPr>
            <a:lvl5pPr>
              <a:defRPr sz="1600" b="0" i="0">
                <a:latin typeface="CiscoSansTT ExtraLight" panose="020B0303020201020303" pitchFamily="34" charset="0"/>
                <a:cs typeface="CiscoSansTT ExtraLight" panose="020B0303020201020303" pitchFamily="34" charset="0"/>
              </a:defRPr>
            </a:lvl5pPr>
          </a:lstStyle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lang="en-US" sz="1600" u="none" strike="noStrike" cap="none">
              <a:solidFill>
                <a:schemeClr val="accent1"/>
              </a:solidFill>
              <a:latin typeface="CiscoSansTT ExtraLight" panose="020B0303020201020303" pitchFamily="34" charset="0"/>
              <a:ea typeface="Helvetica Neue Light"/>
              <a:cs typeface="CiscoSansTT ExtraLight" panose="020B0303020201020303" pitchFamily="34" charset="0"/>
              <a:sym typeface="Helvetica Neue Light"/>
            </a:endParaRPr>
          </a:p>
        </p:txBody>
      </p:sp>
      <p:sp>
        <p:nvSpPr>
          <p:cNvPr id="17" name="Text Placeholder 12">
            <a:extLst>
              <a:ext uri="{FF2B5EF4-FFF2-40B4-BE49-F238E27FC236}">
                <a16:creationId xmlns:a16="http://schemas.microsoft.com/office/drawing/2014/main" id="{5C8DFF40-598B-3646-93AC-9C973014928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709835" y="2493085"/>
            <a:ext cx="2275600" cy="3323516"/>
          </a:xfrm>
          <a:prstGeom prst="rect">
            <a:avLst/>
          </a:prstGeom>
        </p:spPr>
        <p:txBody>
          <a:bodyPr/>
          <a:lstStyle>
            <a:lvl1pPr marL="0" marR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33" b="0" i="0">
                <a:solidFill>
                  <a:schemeClr val="tx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defRPr>
            </a:lvl1pPr>
            <a:lvl2pPr>
              <a:defRPr sz="1333" b="0" i="0">
                <a:latin typeface="CiscoSansTT ExtraLight" panose="020B0303020201020303" pitchFamily="34" charset="0"/>
                <a:cs typeface="CiscoSansTT ExtraLight" panose="020B0303020201020303" pitchFamily="34" charset="0"/>
              </a:defRPr>
            </a:lvl2pPr>
            <a:lvl3pPr>
              <a:defRPr sz="1333" b="0" i="0">
                <a:latin typeface="CiscoSansTT ExtraLight" panose="020B0303020201020303" pitchFamily="34" charset="0"/>
                <a:cs typeface="CiscoSansTT ExtraLight" panose="020B0303020201020303" pitchFamily="34" charset="0"/>
              </a:defRPr>
            </a:lvl3pPr>
            <a:lvl4pPr>
              <a:defRPr sz="1333" b="0" i="0">
                <a:latin typeface="CiscoSansTT ExtraLight" panose="020B0303020201020303" pitchFamily="34" charset="0"/>
                <a:cs typeface="CiscoSansTT ExtraLight" panose="020B0303020201020303" pitchFamily="34" charset="0"/>
              </a:defRPr>
            </a:lvl4pPr>
            <a:lvl5pPr>
              <a:defRPr sz="1333" b="0" i="0">
                <a:latin typeface="CiscoSansTT ExtraLight" panose="020B0303020201020303" pitchFamily="34" charset="0"/>
                <a:cs typeface="CiscoSansTT ExtraLight" panose="020B0303020201020303" pitchFamily="34" charset="0"/>
              </a:defRPr>
            </a:lvl5pPr>
          </a:lstStyle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lang="en-US" sz="1333" u="none" strike="noStrike" cap="none">
              <a:solidFill>
                <a:schemeClr val="tx1"/>
              </a:solidFill>
              <a:latin typeface="CiscoSansTT ExtraLight" panose="020B0303020201020303" pitchFamily="34" charset="0"/>
              <a:ea typeface="Helvetica Neue Light"/>
              <a:cs typeface="CiscoSansTT ExtraLight" panose="020B0303020201020303" pitchFamily="34" charset="0"/>
              <a:sym typeface="Helvetica Neue Light"/>
            </a:endParaRP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CC157314-987F-9744-96E8-D4DE674A269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233335" y="2070100"/>
            <a:ext cx="2275416" cy="364891"/>
          </a:xfrm>
          <a:prstGeom prst="rect">
            <a:avLst/>
          </a:prstGeom>
        </p:spPr>
        <p:txBody>
          <a:bodyPr/>
          <a:lstStyle>
            <a:lvl1pPr marL="0" marR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="0" i="0">
                <a:solidFill>
                  <a:schemeClr val="accent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defRPr>
            </a:lvl1pPr>
            <a:lvl2pPr>
              <a:defRPr sz="1600" b="0" i="0">
                <a:latin typeface="CiscoSansTT ExtraLight" panose="020B0303020201020303" pitchFamily="34" charset="0"/>
                <a:cs typeface="CiscoSansTT ExtraLight" panose="020B0303020201020303" pitchFamily="34" charset="0"/>
              </a:defRPr>
            </a:lvl2pPr>
            <a:lvl3pPr>
              <a:defRPr sz="1600" b="0" i="0">
                <a:latin typeface="CiscoSansTT ExtraLight" panose="020B0303020201020303" pitchFamily="34" charset="0"/>
                <a:cs typeface="CiscoSansTT ExtraLight" panose="020B0303020201020303" pitchFamily="34" charset="0"/>
              </a:defRPr>
            </a:lvl3pPr>
            <a:lvl4pPr>
              <a:defRPr sz="1600" b="0" i="0">
                <a:latin typeface="CiscoSansTT ExtraLight" panose="020B0303020201020303" pitchFamily="34" charset="0"/>
                <a:cs typeface="CiscoSansTT ExtraLight" panose="020B0303020201020303" pitchFamily="34" charset="0"/>
              </a:defRPr>
            </a:lvl4pPr>
            <a:lvl5pPr>
              <a:defRPr sz="1600" b="0" i="0">
                <a:latin typeface="CiscoSansTT ExtraLight" panose="020B0303020201020303" pitchFamily="34" charset="0"/>
                <a:cs typeface="CiscoSansTT ExtraLight" panose="020B0303020201020303" pitchFamily="34" charset="0"/>
              </a:defRPr>
            </a:lvl5pPr>
          </a:lstStyle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lang="en-US" sz="1600" u="none" strike="noStrike" cap="none">
              <a:solidFill>
                <a:schemeClr val="accent1"/>
              </a:solidFill>
              <a:latin typeface="CiscoSansTT ExtraLight" panose="020B0303020201020303" pitchFamily="34" charset="0"/>
              <a:ea typeface="Helvetica Neue Light"/>
              <a:cs typeface="CiscoSansTT ExtraLight" panose="020B0303020201020303" pitchFamily="34" charset="0"/>
              <a:sym typeface="Helvetica Neue Light"/>
            </a:endParaRP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B0033604-EE51-8440-A7C7-387C194270F7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233335" y="2493083"/>
            <a:ext cx="2275600" cy="3323516"/>
          </a:xfrm>
          <a:prstGeom prst="rect">
            <a:avLst/>
          </a:prstGeom>
        </p:spPr>
        <p:txBody>
          <a:bodyPr/>
          <a:lstStyle>
            <a:lvl1pPr marL="0" marR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33" b="0" i="0">
                <a:solidFill>
                  <a:schemeClr val="tx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defRPr>
            </a:lvl1pPr>
            <a:lvl2pPr>
              <a:defRPr sz="1333" b="0" i="0">
                <a:latin typeface="CiscoSansTT ExtraLight" panose="020B0303020201020303" pitchFamily="34" charset="0"/>
                <a:cs typeface="CiscoSansTT ExtraLight" panose="020B0303020201020303" pitchFamily="34" charset="0"/>
              </a:defRPr>
            </a:lvl2pPr>
            <a:lvl3pPr>
              <a:defRPr sz="1333" b="0" i="0">
                <a:latin typeface="CiscoSansTT ExtraLight" panose="020B0303020201020303" pitchFamily="34" charset="0"/>
                <a:cs typeface="CiscoSansTT ExtraLight" panose="020B0303020201020303" pitchFamily="34" charset="0"/>
              </a:defRPr>
            </a:lvl3pPr>
            <a:lvl4pPr>
              <a:defRPr sz="1333" b="0" i="0">
                <a:latin typeface="CiscoSansTT ExtraLight" panose="020B0303020201020303" pitchFamily="34" charset="0"/>
                <a:cs typeface="CiscoSansTT ExtraLight" panose="020B0303020201020303" pitchFamily="34" charset="0"/>
              </a:defRPr>
            </a:lvl4pPr>
            <a:lvl5pPr>
              <a:defRPr sz="1333" b="0" i="0">
                <a:latin typeface="CiscoSansTT ExtraLight" panose="020B0303020201020303" pitchFamily="34" charset="0"/>
                <a:cs typeface="CiscoSansTT ExtraLight" panose="020B0303020201020303" pitchFamily="34" charset="0"/>
              </a:defRPr>
            </a:lvl5pPr>
          </a:lstStyle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lang="en-US" sz="1333" u="none" strike="noStrike" cap="none">
              <a:solidFill>
                <a:schemeClr val="tx1"/>
              </a:solidFill>
              <a:latin typeface="CiscoSansTT ExtraLight" panose="020B0303020201020303" pitchFamily="34" charset="0"/>
              <a:ea typeface="Helvetica Neue Light"/>
              <a:cs typeface="CiscoSansTT ExtraLight" panose="020B0303020201020303" pitchFamily="34" charset="0"/>
              <a:sym typeface="Helvetica Neue Light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078AEEA-5B48-464E-8502-33863921396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1200" y="2070101"/>
            <a:ext cx="3067051" cy="37465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107687951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13">
            <a:extLst>
              <a:ext uri="{FF2B5EF4-FFF2-40B4-BE49-F238E27FC236}">
                <a16:creationId xmlns:a16="http://schemas.microsoft.com/office/drawing/2014/main" id="{7885747D-4304-E944-A244-C53FA0F1999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7886701" y="2070101"/>
            <a:ext cx="3305516" cy="3165415"/>
          </a:xfrm>
          <a:prstGeom prst="rect">
            <a:avLst/>
          </a:prstGeom>
        </p:spPr>
        <p:txBody>
          <a:bodyPr/>
          <a:lstStyle>
            <a:lvl1pPr>
              <a:defRPr sz="1467" b="0" i="0">
                <a:solidFill>
                  <a:schemeClr val="tx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defRPr>
            </a:lvl1pPr>
            <a:lvl2pPr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>
              <a:lnSpc>
                <a:spcPct val="115000"/>
              </a:lnSpc>
            </a:pPr>
            <a:endParaRPr lang="en-US" sz="1467">
              <a:solidFill>
                <a:schemeClr val="tx1"/>
              </a:solidFill>
              <a:latin typeface="CiscoSansTT ExtraLight" panose="020B0303020201020303" pitchFamily="34" charset="0"/>
              <a:cs typeface="CiscoSansTT ExtraLight" panose="020B0303020201020303" pitchFamily="34" charset="0"/>
            </a:endParaRPr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000153C0-C09B-4040-A129-BD7832E644C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298951" y="2070101"/>
            <a:ext cx="3321052" cy="3165415"/>
          </a:xfrm>
          <a:prstGeom prst="rect">
            <a:avLst/>
          </a:prstGeom>
        </p:spPr>
        <p:txBody>
          <a:bodyPr/>
          <a:lstStyle>
            <a:lvl1pPr>
              <a:defRPr sz="1467" b="0" i="0">
                <a:solidFill>
                  <a:schemeClr val="tx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defRPr>
            </a:lvl1pPr>
            <a:lvl2pPr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>
              <a:lnSpc>
                <a:spcPct val="115000"/>
              </a:lnSpc>
            </a:pPr>
            <a:endParaRPr lang="en-US" sz="1467">
              <a:solidFill>
                <a:schemeClr val="tx1"/>
              </a:solidFill>
              <a:latin typeface="CiscoSansTT ExtraLight" panose="020B0303020201020303" pitchFamily="34" charset="0"/>
              <a:cs typeface="CiscoSansTT ExtraLight" panose="020B0303020201020303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B6D3CFB-C854-434C-9A1F-637A0B027DD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667" y="2070101"/>
            <a:ext cx="3321051" cy="310726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65058504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9D843A1F-68EE-4711-A1FC-44887FE9A8F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087534" y="505992"/>
            <a:ext cx="1185333" cy="1185333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>
                <a:noFill/>
              </a:defRPr>
            </a:lvl1pPr>
          </a:lstStyle>
          <a:p>
            <a:endParaRPr lang="en-US"/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C3F37278-F1CC-445A-8F3A-1E125B4F2140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898170" y="1"/>
            <a:ext cx="4356399" cy="5951535"/>
          </a:xfrm>
          <a:custGeom>
            <a:avLst/>
            <a:gdLst>
              <a:gd name="connsiteX0" fmla="*/ 429 w 3267299"/>
              <a:gd name="connsiteY0" fmla="*/ 0 h 4463651"/>
              <a:gd name="connsiteX1" fmla="*/ 3266870 w 3267299"/>
              <a:gd name="connsiteY1" fmla="*/ 0 h 4463651"/>
              <a:gd name="connsiteX2" fmla="*/ 3267299 w 3267299"/>
              <a:gd name="connsiteY2" fmla="*/ 8501 h 4463651"/>
              <a:gd name="connsiteX3" fmla="*/ 3267299 w 3267299"/>
              <a:gd name="connsiteY3" fmla="*/ 2830001 h 4463651"/>
              <a:gd name="connsiteX4" fmla="*/ 1633649 w 3267299"/>
              <a:gd name="connsiteY4" fmla="*/ 4463651 h 4463651"/>
              <a:gd name="connsiteX5" fmla="*/ 8434 w 3267299"/>
              <a:gd name="connsiteY5" fmla="*/ 2997032 h 4463651"/>
              <a:gd name="connsiteX6" fmla="*/ 0 w 3267299"/>
              <a:gd name="connsiteY6" fmla="*/ 2830020 h 4463651"/>
              <a:gd name="connsiteX7" fmla="*/ 0 w 3267299"/>
              <a:gd name="connsiteY7" fmla="*/ 8482 h 44636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267299" h="4463651">
                <a:moveTo>
                  <a:pt x="429" y="0"/>
                </a:moveTo>
                <a:lnTo>
                  <a:pt x="3266870" y="0"/>
                </a:lnTo>
                <a:lnTo>
                  <a:pt x="3267299" y="8501"/>
                </a:lnTo>
                <a:lnTo>
                  <a:pt x="3267299" y="2830001"/>
                </a:lnTo>
                <a:cubicBezTo>
                  <a:pt x="3267299" y="3732241"/>
                  <a:pt x="2535889" y="4463651"/>
                  <a:pt x="1633649" y="4463651"/>
                </a:cubicBezTo>
                <a:cubicBezTo>
                  <a:pt x="787799" y="4463651"/>
                  <a:pt x="92093" y="3820810"/>
                  <a:pt x="8434" y="2997032"/>
                </a:cubicBezTo>
                <a:lnTo>
                  <a:pt x="0" y="2830020"/>
                </a:lnTo>
                <a:lnTo>
                  <a:pt x="0" y="8482"/>
                </a:lnTo>
                <a:close/>
              </a:path>
            </a:pathLst>
          </a:custGeom>
          <a:solidFill>
            <a:srgbClr val="EDF1F6"/>
          </a:solidFill>
        </p:spPr>
        <p:txBody>
          <a:bodyPr wrap="square">
            <a:noAutofit/>
          </a:bodyPr>
          <a:lstStyle/>
          <a:p>
            <a:endParaRPr lang="en-US"/>
          </a:p>
        </p:txBody>
      </p:sp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A4B2712C-CC0A-404D-88BC-98915FC2C4D2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332841" y="5365750"/>
            <a:ext cx="3803495" cy="325967"/>
          </a:xfrm>
          <a:prstGeom prst="rect">
            <a:avLst/>
          </a:prstGeom>
        </p:spPr>
        <p:txBody>
          <a:bodyPr/>
          <a:lstStyle>
            <a:lvl1pPr>
              <a:defRPr sz="1200" b="0" i="0">
                <a:solidFill>
                  <a:schemeClr val="tx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endParaRPr lang="en-US" sz="1200">
              <a:solidFill>
                <a:schemeClr val="tx1"/>
              </a:solidFill>
              <a:latin typeface="CiscoSansTT ExtraLight" panose="020B0303020201020303" pitchFamily="34" charset="0"/>
              <a:cs typeface="CiscoSansTT ExtraLight" panose="020B0303020201020303" pitchFamily="34" charset="0"/>
              <a:sym typeface="Helvetica Neue Light"/>
            </a:endParaRPr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BA7365B6-C3C6-BA4B-A68B-FD7EB711AD5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332840" y="4784763"/>
            <a:ext cx="2292659" cy="351903"/>
          </a:xfrm>
          <a:prstGeom prst="rect">
            <a:avLst/>
          </a:prstGeom>
        </p:spPr>
        <p:txBody>
          <a:bodyPr/>
          <a:lstStyle>
            <a:lvl1pPr>
              <a:defRPr sz="1467" b="0" i="0">
                <a:solidFill>
                  <a:schemeClr val="accent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defRPr>
            </a:lvl1pPr>
            <a:lvl2pPr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endParaRPr lang="en-US" sz="1467">
              <a:solidFill>
                <a:schemeClr val="accent1"/>
              </a:solidFill>
              <a:latin typeface="CiscoSansTT ExtraLight" panose="020B0303020201020303" pitchFamily="34" charset="0"/>
              <a:ea typeface="Helvetica Neue"/>
              <a:cs typeface="CiscoSansTT ExtraLight" panose="020B0303020201020303" pitchFamily="34" charset="0"/>
              <a:sym typeface="Helvetica Neue"/>
            </a:endParaRP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F9D8C6A3-C808-5842-8D68-4766828B7B0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332841" y="1613117"/>
            <a:ext cx="4641849" cy="2874433"/>
          </a:xfrm>
          <a:prstGeom prst="rect">
            <a:avLst/>
          </a:prstGeom>
        </p:spPr>
        <p:txBody>
          <a:bodyPr/>
          <a:lstStyle>
            <a:lvl1pPr>
              <a:defRPr sz="2400" b="0" i="0">
                <a:solidFill>
                  <a:schemeClr val="tx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defRPr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endParaRPr lang="en-US" sz="2400">
              <a:solidFill>
                <a:schemeClr val="tx1"/>
              </a:solidFill>
              <a:latin typeface="CiscoSansTT ExtraLight" panose="020B0303020201020303" pitchFamily="34" charset="0"/>
              <a:cs typeface="CiscoSansTT ExtraLight" panose="020B0303020201020303" pitchFamily="34" charset="0"/>
              <a:sym typeface="Helvetica Neue Light"/>
            </a:endParaRPr>
          </a:p>
        </p:txBody>
      </p:sp>
      <p:sp>
        <p:nvSpPr>
          <p:cNvPr id="10" name="Picture Placeholder 5">
            <a:extLst>
              <a:ext uri="{FF2B5EF4-FFF2-40B4-BE49-F238E27FC236}">
                <a16:creationId xmlns:a16="http://schemas.microsoft.com/office/drawing/2014/main" id="{3AAA969E-541E-4362-A952-8DCC98596A30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711200" y="1602317"/>
            <a:ext cx="508405" cy="414528"/>
          </a:xfrm>
          <a:prstGeom prst="rect">
            <a:avLst/>
          </a:prstGeom>
          <a:blipFill>
            <a:blip r:embed="rId3"/>
            <a:stretch>
              <a:fillRect/>
            </a:stretch>
          </a:blipFill>
        </p:spPr>
        <p:txBody>
          <a:bodyPr/>
          <a:lstStyle>
            <a:lvl1pPr>
              <a:defRPr>
                <a:noFill/>
              </a:defRPr>
            </a:lvl1pPr>
          </a:lstStyle>
          <a:p>
            <a:endParaRPr lang="en-US"/>
          </a:p>
        </p:txBody>
      </p:sp>
      <p:sp>
        <p:nvSpPr>
          <p:cNvPr id="15" name="Picture Placeholder 7">
            <a:extLst>
              <a:ext uri="{FF2B5EF4-FFF2-40B4-BE49-F238E27FC236}">
                <a16:creationId xmlns:a16="http://schemas.microsoft.com/office/drawing/2014/main" id="{66B402A7-F12D-4EB2-92F5-1E7AF5E4E4CD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10069235" y="4543999"/>
            <a:ext cx="1185333" cy="1185333"/>
          </a:xfrm>
          <a:prstGeom prst="rect">
            <a:avLst/>
          </a:prstGeom>
          <a:blipFill>
            <a:blip r:embed="rId4"/>
            <a:stretch>
              <a:fillRect/>
            </a:stretch>
          </a:blipFill>
        </p:spPr>
        <p:txBody>
          <a:bodyPr/>
          <a:lstStyle>
            <a:lvl1pPr>
              <a:defRPr>
                <a:noFill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45318126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 Centred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 Placeholder 14">
            <a:extLst>
              <a:ext uri="{FF2B5EF4-FFF2-40B4-BE49-F238E27FC236}">
                <a16:creationId xmlns:a16="http://schemas.microsoft.com/office/drawing/2014/main" id="{ADB48F9A-75B0-5F46-94A1-49CE344195E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317613" y="2209512"/>
            <a:ext cx="2355841" cy="364891"/>
          </a:xfrm>
          <a:prstGeom prst="rect">
            <a:avLst/>
          </a:prstGeom>
        </p:spPr>
        <p:txBody>
          <a:bodyPr/>
          <a:lstStyle>
            <a:lvl1pPr marL="0" marR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="0" i="0">
                <a:solidFill>
                  <a:schemeClr val="accent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defRPr>
            </a:lvl1pPr>
            <a:lvl2pPr>
              <a:defRPr sz="1600" b="0" i="0">
                <a:latin typeface="CiscoSansTT ExtraLight" panose="020B0303020201020303" pitchFamily="34" charset="0"/>
                <a:cs typeface="CiscoSansTT ExtraLight" panose="020B0303020201020303" pitchFamily="34" charset="0"/>
              </a:defRPr>
            </a:lvl2pPr>
            <a:lvl3pPr>
              <a:defRPr sz="1600" b="0" i="0">
                <a:latin typeface="CiscoSansTT ExtraLight" panose="020B0303020201020303" pitchFamily="34" charset="0"/>
                <a:cs typeface="CiscoSansTT ExtraLight" panose="020B0303020201020303" pitchFamily="34" charset="0"/>
              </a:defRPr>
            </a:lvl3pPr>
            <a:lvl4pPr>
              <a:defRPr sz="1600" b="0" i="0">
                <a:latin typeface="CiscoSansTT ExtraLight" panose="020B0303020201020303" pitchFamily="34" charset="0"/>
                <a:cs typeface="CiscoSansTT ExtraLight" panose="020B0303020201020303" pitchFamily="34" charset="0"/>
              </a:defRPr>
            </a:lvl4pPr>
            <a:lvl5pPr>
              <a:defRPr sz="1600" b="0" i="0">
                <a:latin typeface="CiscoSansTT ExtraLight" panose="020B0303020201020303" pitchFamily="34" charset="0"/>
                <a:cs typeface="CiscoSansTT ExtraLight" panose="020B0303020201020303" pitchFamily="34" charset="0"/>
              </a:defRPr>
            </a:lvl5pPr>
          </a:lstStyle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lang="en-US" sz="1600" u="none" strike="noStrike" cap="none">
              <a:solidFill>
                <a:schemeClr val="accent1"/>
              </a:solidFill>
              <a:latin typeface="CiscoSansTT ExtraLight" panose="020B0303020201020303" pitchFamily="34" charset="0"/>
              <a:ea typeface="Helvetica Neue Light"/>
              <a:cs typeface="CiscoSansTT ExtraLight" panose="020B0303020201020303" pitchFamily="34" charset="0"/>
              <a:sym typeface="Helvetica Neue Light"/>
            </a:endParaRPr>
          </a:p>
        </p:txBody>
      </p:sp>
      <p:sp>
        <p:nvSpPr>
          <p:cNvPr id="19" name="Text Placeholder 12">
            <a:extLst>
              <a:ext uri="{FF2B5EF4-FFF2-40B4-BE49-F238E27FC236}">
                <a16:creationId xmlns:a16="http://schemas.microsoft.com/office/drawing/2014/main" id="{DAF50268-6A31-634C-AAB5-22721EE551F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317611" y="2632496"/>
            <a:ext cx="2356032" cy="3488904"/>
          </a:xfrm>
          <a:prstGeom prst="rect">
            <a:avLst/>
          </a:prstGeom>
        </p:spPr>
        <p:txBody>
          <a:bodyPr/>
          <a:lstStyle>
            <a:lvl1pPr marL="0" marR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33" b="0" i="0">
                <a:solidFill>
                  <a:schemeClr val="tx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defRPr>
            </a:lvl1pPr>
            <a:lvl2pPr>
              <a:defRPr sz="1333" b="0" i="0">
                <a:latin typeface="CiscoSansTT ExtraLight" panose="020B0303020201020303" pitchFamily="34" charset="0"/>
                <a:cs typeface="CiscoSansTT ExtraLight" panose="020B0303020201020303" pitchFamily="34" charset="0"/>
              </a:defRPr>
            </a:lvl2pPr>
            <a:lvl3pPr>
              <a:defRPr sz="1333" b="0" i="0">
                <a:latin typeface="CiscoSansTT ExtraLight" panose="020B0303020201020303" pitchFamily="34" charset="0"/>
                <a:cs typeface="CiscoSansTT ExtraLight" panose="020B0303020201020303" pitchFamily="34" charset="0"/>
              </a:defRPr>
            </a:lvl3pPr>
            <a:lvl4pPr>
              <a:defRPr sz="1333" b="0" i="0">
                <a:latin typeface="CiscoSansTT ExtraLight" panose="020B0303020201020303" pitchFamily="34" charset="0"/>
                <a:cs typeface="CiscoSansTT ExtraLight" panose="020B0303020201020303" pitchFamily="34" charset="0"/>
              </a:defRPr>
            </a:lvl4pPr>
            <a:lvl5pPr>
              <a:defRPr sz="1333" b="0" i="0">
                <a:latin typeface="CiscoSansTT ExtraLight" panose="020B0303020201020303" pitchFamily="34" charset="0"/>
                <a:cs typeface="CiscoSansTT ExtraLight" panose="020B0303020201020303" pitchFamily="34" charset="0"/>
              </a:defRPr>
            </a:lvl5pPr>
          </a:lstStyle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lang="en-US" sz="1333" u="none" strike="noStrike" cap="none">
              <a:solidFill>
                <a:schemeClr val="tx1"/>
              </a:solidFill>
              <a:latin typeface="CiscoSansTT ExtraLight" panose="020B0303020201020303" pitchFamily="34" charset="0"/>
              <a:ea typeface="Helvetica Neue Light"/>
              <a:cs typeface="CiscoSansTT ExtraLight" panose="020B0303020201020303" pitchFamily="34" charset="0"/>
              <a:sym typeface="Helvetica Neue Light"/>
            </a:endParaRPr>
          </a:p>
        </p:txBody>
      </p:sp>
      <p:sp>
        <p:nvSpPr>
          <p:cNvPr id="16" name="Text Placeholder 14">
            <a:extLst>
              <a:ext uri="{FF2B5EF4-FFF2-40B4-BE49-F238E27FC236}">
                <a16:creationId xmlns:a16="http://schemas.microsoft.com/office/drawing/2014/main" id="{D2BB6F7A-7AC7-4844-8EC1-028D16E4865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518732" y="2207684"/>
            <a:ext cx="2355841" cy="364891"/>
          </a:xfrm>
          <a:prstGeom prst="rect">
            <a:avLst/>
          </a:prstGeom>
        </p:spPr>
        <p:txBody>
          <a:bodyPr/>
          <a:lstStyle>
            <a:lvl1pPr marL="0" marR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="0" i="0">
                <a:solidFill>
                  <a:schemeClr val="accent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defRPr>
            </a:lvl1pPr>
            <a:lvl2pPr>
              <a:defRPr sz="1600" b="0" i="0">
                <a:latin typeface="CiscoSansTT ExtraLight" panose="020B0303020201020303" pitchFamily="34" charset="0"/>
                <a:cs typeface="CiscoSansTT ExtraLight" panose="020B0303020201020303" pitchFamily="34" charset="0"/>
              </a:defRPr>
            </a:lvl2pPr>
            <a:lvl3pPr>
              <a:defRPr sz="1600" b="0" i="0">
                <a:latin typeface="CiscoSansTT ExtraLight" panose="020B0303020201020303" pitchFamily="34" charset="0"/>
                <a:cs typeface="CiscoSansTT ExtraLight" panose="020B0303020201020303" pitchFamily="34" charset="0"/>
              </a:defRPr>
            </a:lvl3pPr>
            <a:lvl4pPr>
              <a:defRPr sz="1600" b="0" i="0">
                <a:latin typeface="CiscoSansTT ExtraLight" panose="020B0303020201020303" pitchFamily="34" charset="0"/>
                <a:cs typeface="CiscoSansTT ExtraLight" panose="020B0303020201020303" pitchFamily="34" charset="0"/>
              </a:defRPr>
            </a:lvl4pPr>
            <a:lvl5pPr>
              <a:defRPr sz="1600" b="0" i="0">
                <a:latin typeface="CiscoSansTT ExtraLight" panose="020B0303020201020303" pitchFamily="34" charset="0"/>
                <a:cs typeface="CiscoSansTT ExtraLight" panose="020B0303020201020303" pitchFamily="34" charset="0"/>
              </a:defRPr>
            </a:lvl5pPr>
          </a:lstStyle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lang="en-US" sz="1600" u="none" strike="noStrike" cap="none">
              <a:solidFill>
                <a:schemeClr val="accent1"/>
              </a:solidFill>
              <a:latin typeface="CiscoSansTT ExtraLight" panose="020B0303020201020303" pitchFamily="34" charset="0"/>
              <a:ea typeface="Helvetica Neue Light"/>
              <a:cs typeface="CiscoSansTT ExtraLight" panose="020B0303020201020303" pitchFamily="34" charset="0"/>
              <a:sym typeface="Helvetica Neue Light"/>
            </a:endParaRPr>
          </a:p>
        </p:txBody>
      </p:sp>
      <p:sp>
        <p:nvSpPr>
          <p:cNvPr id="17" name="Text Placeholder 12">
            <a:extLst>
              <a:ext uri="{FF2B5EF4-FFF2-40B4-BE49-F238E27FC236}">
                <a16:creationId xmlns:a16="http://schemas.microsoft.com/office/drawing/2014/main" id="{5C8DFF40-598B-3646-93AC-9C973014928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518729" y="2630668"/>
            <a:ext cx="2356032" cy="3488904"/>
          </a:xfrm>
          <a:prstGeom prst="rect">
            <a:avLst/>
          </a:prstGeom>
        </p:spPr>
        <p:txBody>
          <a:bodyPr/>
          <a:lstStyle>
            <a:lvl1pPr marL="0" marR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33" b="0" i="0">
                <a:solidFill>
                  <a:schemeClr val="tx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defRPr>
            </a:lvl1pPr>
            <a:lvl2pPr>
              <a:defRPr sz="1333" b="0" i="0">
                <a:latin typeface="CiscoSansTT ExtraLight" panose="020B0303020201020303" pitchFamily="34" charset="0"/>
                <a:cs typeface="CiscoSansTT ExtraLight" panose="020B0303020201020303" pitchFamily="34" charset="0"/>
              </a:defRPr>
            </a:lvl2pPr>
            <a:lvl3pPr>
              <a:defRPr sz="1333" b="0" i="0">
                <a:latin typeface="CiscoSansTT ExtraLight" panose="020B0303020201020303" pitchFamily="34" charset="0"/>
                <a:cs typeface="CiscoSansTT ExtraLight" panose="020B0303020201020303" pitchFamily="34" charset="0"/>
              </a:defRPr>
            </a:lvl3pPr>
            <a:lvl4pPr>
              <a:defRPr sz="1333" b="0" i="0">
                <a:latin typeface="CiscoSansTT ExtraLight" panose="020B0303020201020303" pitchFamily="34" charset="0"/>
                <a:cs typeface="CiscoSansTT ExtraLight" panose="020B0303020201020303" pitchFamily="34" charset="0"/>
              </a:defRPr>
            </a:lvl4pPr>
            <a:lvl5pPr>
              <a:defRPr sz="1333" b="0" i="0">
                <a:latin typeface="CiscoSansTT ExtraLight" panose="020B0303020201020303" pitchFamily="34" charset="0"/>
                <a:cs typeface="CiscoSansTT ExtraLight" panose="020B0303020201020303" pitchFamily="34" charset="0"/>
              </a:defRPr>
            </a:lvl5pPr>
          </a:lstStyle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lang="en-US" sz="1333" u="none" strike="noStrike" cap="none">
              <a:solidFill>
                <a:schemeClr val="tx1"/>
              </a:solidFill>
              <a:latin typeface="CiscoSansTT ExtraLight" panose="020B0303020201020303" pitchFamily="34" charset="0"/>
              <a:ea typeface="Helvetica Neue Light"/>
              <a:cs typeface="CiscoSansTT ExtraLight" panose="020B0303020201020303" pitchFamily="34" charset="0"/>
              <a:sym typeface="Helvetica Neue Light"/>
            </a:endParaRP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CC157314-987F-9744-96E8-D4DE674A269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19667" y="2207684"/>
            <a:ext cx="2356024" cy="364891"/>
          </a:xfrm>
          <a:prstGeom prst="rect">
            <a:avLst/>
          </a:prstGeom>
        </p:spPr>
        <p:txBody>
          <a:bodyPr/>
          <a:lstStyle>
            <a:lvl1pPr marL="0" marR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="0" i="0">
                <a:solidFill>
                  <a:schemeClr val="accent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defRPr>
            </a:lvl1pPr>
            <a:lvl2pPr>
              <a:defRPr sz="1600" b="0" i="0">
                <a:latin typeface="CiscoSansTT ExtraLight" panose="020B0303020201020303" pitchFamily="34" charset="0"/>
                <a:cs typeface="CiscoSansTT ExtraLight" panose="020B0303020201020303" pitchFamily="34" charset="0"/>
              </a:defRPr>
            </a:lvl2pPr>
            <a:lvl3pPr>
              <a:defRPr sz="1600" b="0" i="0">
                <a:latin typeface="CiscoSansTT ExtraLight" panose="020B0303020201020303" pitchFamily="34" charset="0"/>
                <a:cs typeface="CiscoSansTT ExtraLight" panose="020B0303020201020303" pitchFamily="34" charset="0"/>
              </a:defRPr>
            </a:lvl3pPr>
            <a:lvl4pPr>
              <a:defRPr sz="1600" b="0" i="0">
                <a:latin typeface="CiscoSansTT ExtraLight" panose="020B0303020201020303" pitchFamily="34" charset="0"/>
                <a:cs typeface="CiscoSansTT ExtraLight" panose="020B0303020201020303" pitchFamily="34" charset="0"/>
              </a:defRPr>
            </a:lvl4pPr>
            <a:lvl5pPr>
              <a:defRPr sz="1600" b="0" i="0">
                <a:latin typeface="CiscoSansTT ExtraLight" panose="020B0303020201020303" pitchFamily="34" charset="0"/>
                <a:cs typeface="CiscoSansTT ExtraLight" panose="020B0303020201020303" pitchFamily="34" charset="0"/>
              </a:defRPr>
            </a:lvl5pPr>
          </a:lstStyle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lang="en-US" sz="1600" u="none" strike="noStrike" cap="none">
              <a:solidFill>
                <a:schemeClr val="accent1"/>
              </a:solidFill>
              <a:latin typeface="CiscoSansTT ExtraLight" panose="020B0303020201020303" pitchFamily="34" charset="0"/>
              <a:ea typeface="Helvetica Neue Light"/>
              <a:cs typeface="CiscoSansTT ExtraLight" panose="020B0303020201020303" pitchFamily="34" charset="0"/>
              <a:sym typeface="Helvetica Neue Light"/>
            </a:endParaRP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B0033604-EE51-8440-A7C7-387C194270F7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19666" y="2630668"/>
            <a:ext cx="2356215" cy="3488904"/>
          </a:xfrm>
          <a:prstGeom prst="rect">
            <a:avLst/>
          </a:prstGeom>
        </p:spPr>
        <p:txBody>
          <a:bodyPr/>
          <a:lstStyle>
            <a:lvl1pPr marL="0" marR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33" b="0" i="0">
                <a:solidFill>
                  <a:schemeClr val="tx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defRPr>
            </a:lvl1pPr>
            <a:lvl2pPr>
              <a:defRPr sz="1333" b="0" i="0">
                <a:latin typeface="CiscoSansTT ExtraLight" panose="020B0303020201020303" pitchFamily="34" charset="0"/>
                <a:cs typeface="CiscoSansTT ExtraLight" panose="020B0303020201020303" pitchFamily="34" charset="0"/>
              </a:defRPr>
            </a:lvl2pPr>
            <a:lvl3pPr>
              <a:defRPr sz="1333" b="0" i="0">
                <a:latin typeface="CiscoSansTT ExtraLight" panose="020B0303020201020303" pitchFamily="34" charset="0"/>
                <a:cs typeface="CiscoSansTT ExtraLight" panose="020B0303020201020303" pitchFamily="34" charset="0"/>
              </a:defRPr>
            </a:lvl3pPr>
            <a:lvl4pPr>
              <a:defRPr sz="1333" b="0" i="0">
                <a:latin typeface="CiscoSansTT ExtraLight" panose="020B0303020201020303" pitchFamily="34" charset="0"/>
                <a:cs typeface="CiscoSansTT ExtraLight" panose="020B0303020201020303" pitchFamily="34" charset="0"/>
              </a:defRPr>
            </a:lvl4pPr>
            <a:lvl5pPr>
              <a:defRPr sz="1333" b="0" i="0">
                <a:latin typeface="CiscoSansTT ExtraLight" panose="020B0303020201020303" pitchFamily="34" charset="0"/>
                <a:cs typeface="CiscoSansTT ExtraLight" panose="020B0303020201020303" pitchFamily="34" charset="0"/>
              </a:defRPr>
            </a:lvl5pPr>
          </a:lstStyle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lang="en-US" sz="1333" u="none" strike="noStrike" cap="none">
              <a:solidFill>
                <a:schemeClr val="tx1"/>
              </a:solidFill>
              <a:latin typeface="CiscoSansTT ExtraLight" panose="020B0303020201020303" pitchFamily="34" charset="0"/>
              <a:ea typeface="Helvetica Neue Light"/>
              <a:cs typeface="CiscoSansTT ExtraLight" panose="020B0303020201020303" pitchFamily="34" charset="0"/>
              <a:sym typeface="Helvetica Neue Light"/>
            </a:endParaRPr>
          </a:p>
        </p:txBody>
      </p:sp>
      <p:sp>
        <p:nvSpPr>
          <p:cNvPr id="29" name="Text Placeholder 14">
            <a:extLst>
              <a:ext uri="{FF2B5EF4-FFF2-40B4-BE49-F238E27FC236}">
                <a16:creationId xmlns:a16="http://schemas.microsoft.com/office/drawing/2014/main" id="{09B690DE-A41E-1048-A2C8-BB275AEC32C0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9116493" y="2209512"/>
            <a:ext cx="2355841" cy="364891"/>
          </a:xfrm>
          <a:prstGeom prst="rect">
            <a:avLst/>
          </a:prstGeom>
        </p:spPr>
        <p:txBody>
          <a:bodyPr/>
          <a:lstStyle>
            <a:lvl1pPr marL="0" marR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="0" i="0">
                <a:solidFill>
                  <a:schemeClr val="accent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defRPr>
            </a:lvl1pPr>
            <a:lvl2pPr>
              <a:defRPr sz="1600" b="0" i="0">
                <a:latin typeface="CiscoSansTT ExtraLight" panose="020B0303020201020303" pitchFamily="34" charset="0"/>
                <a:cs typeface="CiscoSansTT ExtraLight" panose="020B0303020201020303" pitchFamily="34" charset="0"/>
              </a:defRPr>
            </a:lvl2pPr>
            <a:lvl3pPr>
              <a:defRPr sz="1600" b="0" i="0">
                <a:latin typeface="CiscoSansTT ExtraLight" panose="020B0303020201020303" pitchFamily="34" charset="0"/>
                <a:cs typeface="CiscoSansTT ExtraLight" panose="020B0303020201020303" pitchFamily="34" charset="0"/>
              </a:defRPr>
            </a:lvl3pPr>
            <a:lvl4pPr>
              <a:defRPr sz="1600" b="0" i="0">
                <a:latin typeface="CiscoSansTT ExtraLight" panose="020B0303020201020303" pitchFamily="34" charset="0"/>
                <a:cs typeface="CiscoSansTT ExtraLight" panose="020B0303020201020303" pitchFamily="34" charset="0"/>
              </a:defRPr>
            </a:lvl4pPr>
            <a:lvl5pPr>
              <a:defRPr sz="1600" b="0" i="0">
                <a:latin typeface="CiscoSansTT ExtraLight" panose="020B0303020201020303" pitchFamily="34" charset="0"/>
                <a:cs typeface="CiscoSansTT ExtraLight" panose="020B0303020201020303" pitchFamily="34" charset="0"/>
              </a:defRPr>
            </a:lvl5pPr>
          </a:lstStyle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lang="en-US" sz="1600" u="none" strike="noStrike" cap="none">
              <a:solidFill>
                <a:schemeClr val="accent1"/>
              </a:solidFill>
              <a:latin typeface="CiscoSansTT ExtraLight" panose="020B0303020201020303" pitchFamily="34" charset="0"/>
              <a:ea typeface="Helvetica Neue Light"/>
              <a:cs typeface="CiscoSansTT ExtraLight" panose="020B0303020201020303" pitchFamily="34" charset="0"/>
              <a:sym typeface="Helvetica Neue Light"/>
            </a:endParaRPr>
          </a:p>
        </p:txBody>
      </p:sp>
      <p:sp>
        <p:nvSpPr>
          <p:cNvPr id="30" name="Text Placeholder 12">
            <a:extLst>
              <a:ext uri="{FF2B5EF4-FFF2-40B4-BE49-F238E27FC236}">
                <a16:creationId xmlns:a16="http://schemas.microsoft.com/office/drawing/2014/main" id="{0C144F5B-B5DB-584B-BEA2-4BFA246434F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9116493" y="2632496"/>
            <a:ext cx="2356032" cy="3488904"/>
          </a:xfrm>
          <a:prstGeom prst="rect">
            <a:avLst/>
          </a:prstGeom>
        </p:spPr>
        <p:txBody>
          <a:bodyPr/>
          <a:lstStyle>
            <a:lvl1pPr marL="0" marR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33" b="0" i="0">
                <a:solidFill>
                  <a:schemeClr val="tx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defRPr>
            </a:lvl1pPr>
            <a:lvl2pPr>
              <a:defRPr sz="1333" b="0" i="0">
                <a:latin typeface="CiscoSansTT ExtraLight" panose="020B0303020201020303" pitchFamily="34" charset="0"/>
                <a:cs typeface="CiscoSansTT ExtraLight" panose="020B0303020201020303" pitchFamily="34" charset="0"/>
              </a:defRPr>
            </a:lvl2pPr>
            <a:lvl3pPr>
              <a:defRPr sz="1333" b="0" i="0">
                <a:latin typeface="CiscoSansTT ExtraLight" panose="020B0303020201020303" pitchFamily="34" charset="0"/>
                <a:cs typeface="CiscoSansTT ExtraLight" panose="020B0303020201020303" pitchFamily="34" charset="0"/>
              </a:defRPr>
            </a:lvl3pPr>
            <a:lvl4pPr>
              <a:defRPr sz="1333" b="0" i="0">
                <a:latin typeface="CiscoSansTT ExtraLight" panose="020B0303020201020303" pitchFamily="34" charset="0"/>
                <a:cs typeface="CiscoSansTT ExtraLight" panose="020B0303020201020303" pitchFamily="34" charset="0"/>
              </a:defRPr>
            </a:lvl4pPr>
            <a:lvl5pPr>
              <a:defRPr sz="1333" b="0" i="0">
                <a:latin typeface="CiscoSansTT ExtraLight" panose="020B0303020201020303" pitchFamily="34" charset="0"/>
                <a:cs typeface="CiscoSansTT ExtraLight" panose="020B0303020201020303" pitchFamily="34" charset="0"/>
              </a:defRPr>
            </a:lvl5pPr>
          </a:lstStyle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lang="en-US" sz="1333" u="none" strike="noStrike" cap="none">
              <a:solidFill>
                <a:schemeClr val="tx1"/>
              </a:solidFill>
              <a:latin typeface="CiscoSansTT ExtraLight" panose="020B0303020201020303" pitchFamily="34" charset="0"/>
              <a:ea typeface="Helvetica Neue Light"/>
              <a:cs typeface="CiscoSansTT ExtraLight" panose="020B0303020201020303" pitchFamily="34" charset="0"/>
              <a:sym typeface="Helvetica Neue Light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75365CB-F72B-40B5-9B75-1F540092C24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780592763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Picture Placeholder 19">
            <a:extLst>
              <a:ext uri="{FF2B5EF4-FFF2-40B4-BE49-F238E27FC236}">
                <a16:creationId xmlns:a16="http://schemas.microsoft.com/office/drawing/2014/main" id="{86194C40-6E11-4DA3-B3BE-A6141D676B1F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120996" y="765999"/>
            <a:ext cx="1145563" cy="1185333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>
                <a:noFill/>
              </a:defRPr>
            </a:lvl1pPr>
          </a:lstStyle>
          <a:p>
            <a:endParaRPr lang="en-US"/>
          </a:p>
        </p:txBody>
      </p:sp>
      <p:sp>
        <p:nvSpPr>
          <p:cNvPr id="18" name="Picture Placeholder 17">
            <a:extLst>
              <a:ext uri="{FF2B5EF4-FFF2-40B4-BE49-F238E27FC236}">
                <a16:creationId xmlns:a16="http://schemas.microsoft.com/office/drawing/2014/main" id="{C620EEE8-4DE4-4E37-8E1D-712DBB6607A3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897574" y="-2"/>
            <a:ext cx="4356399" cy="5965915"/>
          </a:xfrm>
          <a:custGeom>
            <a:avLst/>
            <a:gdLst>
              <a:gd name="connsiteX0" fmla="*/ 0 w 3267299"/>
              <a:gd name="connsiteY0" fmla="*/ 0 h 4474436"/>
              <a:gd name="connsiteX1" fmla="*/ 3267299 w 3267299"/>
              <a:gd name="connsiteY1" fmla="*/ 0 h 4474436"/>
              <a:gd name="connsiteX2" fmla="*/ 3267299 w 3267299"/>
              <a:gd name="connsiteY2" fmla="*/ 2840785 h 4474436"/>
              <a:gd name="connsiteX3" fmla="*/ 1633648 w 3267299"/>
              <a:gd name="connsiteY3" fmla="*/ 4474436 h 4474436"/>
              <a:gd name="connsiteX4" fmla="*/ 8432 w 3267299"/>
              <a:gd name="connsiteY4" fmla="*/ 3007817 h 4474436"/>
              <a:gd name="connsiteX5" fmla="*/ 0 w 3267299"/>
              <a:gd name="connsiteY5" fmla="*/ 2840845 h 44744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267299" h="4474436">
                <a:moveTo>
                  <a:pt x="0" y="0"/>
                </a:moveTo>
                <a:lnTo>
                  <a:pt x="3267299" y="0"/>
                </a:lnTo>
                <a:lnTo>
                  <a:pt x="3267299" y="2840785"/>
                </a:lnTo>
                <a:cubicBezTo>
                  <a:pt x="3267299" y="3743026"/>
                  <a:pt x="2535889" y="4474436"/>
                  <a:pt x="1633648" y="4474436"/>
                </a:cubicBezTo>
                <a:cubicBezTo>
                  <a:pt x="787797" y="4474436"/>
                  <a:pt x="92091" y="3831595"/>
                  <a:pt x="8432" y="3007817"/>
                </a:cubicBezTo>
                <a:lnTo>
                  <a:pt x="0" y="2840845"/>
                </a:lnTo>
                <a:close/>
              </a:path>
            </a:pathLst>
          </a:custGeom>
          <a:solidFill>
            <a:srgbClr val="EDF1F6"/>
          </a:solidFill>
        </p:spPr>
        <p:txBody>
          <a:bodyPr wrap="square">
            <a:noAutofit/>
          </a:bodyPr>
          <a:lstStyle/>
          <a:p>
            <a:endParaRPr lang="en-US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9F867F5D-9CD7-FC4D-B4FB-2E81338228A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399461" y="1951332"/>
            <a:ext cx="4601633" cy="2861968"/>
          </a:xfrm>
          <a:prstGeom prst="rect">
            <a:avLst/>
          </a:prstGeom>
        </p:spPr>
        <p:txBody>
          <a:bodyPr/>
          <a:lstStyle>
            <a:lvl1pPr>
              <a:defRPr sz="3200" b="0" i="0">
                <a:solidFill>
                  <a:schemeClr val="tx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endParaRPr lang="en-US" sz="3200">
              <a:solidFill>
                <a:schemeClr val="tx1"/>
              </a:solidFill>
              <a:latin typeface="CiscoSansTT ExtraLight" panose="020B0303020201020303" pitchFamily="34" charset="0"/>
              <a:cs typeface="CiscoSansTT ExtraLight" panose="020B0303020201020303" pitchFamily="34" charset="0"/>
              <a:sym typeface="Helvetica Neue Light"/>
            </a:endParaRPr>
          </a:p>
        </p:txBody>
      </p:sp>
      <p:sp>
        <p:nvSpPr>
          <p:cNvPr id="12" name="Text Placeholder 19">
            <a:extLst>
              <a:ext uri="{FF2B5EF4-FFF2-40B4-BE49-F238E27FC236}">
                <a16:creationId xmlns:a16="http://schemas.microsoft.com/office/drawing/2014/main" id="{96A8362E-13D9-D941-B2A9-35CCB7BD3F8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399460" y="4942183"/>
            <a:ext cx="4601633" cy="351903"/>
          </a:xfrm>
          <a:prstGeom prst="rect">
            <a:avLst/>
          </a:prstGeom>
        </p:spPr>
        <p:txBody>
          <a:bodyPr/>
          <a:lstStyle>
            <a:lvl1pPr>
              <a:defRPr sz="1333" b="0" i="0">
                <a:solidFill>
                  <a:schemeClr val="accent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defRPr>
            </a:lvl1pPr>
            <a:lvl2pPr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endParaRPr lang="en-US" sz="1467">
              <a:solidFill>
                <a:schemeClr val="accent1"/>
              </a:solidFill>
              <a:latin typeface="CiscoSansTT ExtraLight" panose="020B0303020201020303" pitchFamily="34" charset="0"/>
              <a:ea typeface="Helvetica Neue"/>
              <a:cs typeface="CiscoSansTT ExtraLight" panose="020B0303020201020303" pitchFamily="34" charset="0"/>
              <a:sym typeface="Helvetica Neue"/>
            </a:endParaRPr>
          </a:p>
        </p:txBody>
      </p:sp>
      <p:sp>
        <p:nvSpPr>
          <p:cNvPr id="21" name="Picture Placeholder 19">
            <a:extLst>
              <a:ext uri="{FF2B5EF4-FFF2-40B4-BE49-F238E27FC236}">
                <a16:creationId xmlns:a16="http://schemas.microsoft.com/office/drawing/2014/main" id="{C43F95A5-2533-4A68-8ED4-1D3CF60825C6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0219759" y="4813300"/>
            <a:ext cx="1145563" cy="1185333"/>
          </a:xfrm>
          <a:prstGeom prst="rect">
            <a:avLst/>
          </a:prstGeom>
          <a:blipFill>
            <a:blip r:embed="rId3"/>
            <a:stretch>
              <a:fillRect/>
            </a:stretch>
          </a:blipFill>
        </p:spPr>
        <p:txBody>
          <a:bodyPr/>
          <a:lstStyle>
            <a:lvl1pPr>
              <a:defRPr>
                <a:noFill/>
              </a:defRPr>
            </a:lvl1pPr>
          </a:lstStyle>
          <a:p>
            <a:endParaRPr lang="en-US"/>
          </a:p>
        </p:txBody>
      </p:sp>
      <p:sp>
        <p:nvSpPr>
          <p:cNvPr id="22" name="Picture Placeholder 5">
            <a:extLst>
              <a:ext uri="{FF2B5EF4-FFF2-40B4-BE49-F238E27FC236}">
                <a16:creationId xmlns:a16="http://schemas.microsoft.com/office/drawing/2014/main" id="{FD17670E-DFD7-49FC-8D4B-30DF985FAD9D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861979" y="1697567"/>
            <a:ext cx="508405" cy="414528"/>
          </a:xfrm>
          <a:prstGeom prst="rect">
            <a:avLst/>
          </a:prstGeom>
          <a:blipFill>
            <a:blip r:embed="rId4"/>
            <a:stretch>
              <a:fillRect/>
            </a:stretch>
          </a:blipFill>
        </p:spPr>
        <p:txBody>
          <a:bodyPr/>
          <a:lstStyle>
            <a:lvl1pPr>
              <a:defRPr>
                <a:noFill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59950059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F628C63-1E02-449F-8A5E-FA326608991D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8254585" y="2540000"/>
            <a:ext cx="3217745" cy="314113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Picture Placeholder 9">
            <a:extLst>
              <a:ext uri="{FF2B5EF4-FFF2-40B4-BE49-F238E27FC236}">
                <a16:creationId xmlns:a16="http://schemas.microsoft.com/office/drawing/2014/main" id="{9226CD76-62DA-4A5C-9D4C-5E233D954AD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6813964" y="5157338"/>
            <a:ext cx="1146096" cy="1146097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>
                <a:noFill/>
              </a:defRPr>
            </a:lvl1pPr>
          </a:lstStyle>
          <a:p>
            <a:endParaRPr lang="en-US"/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D770774F-BDA5-44BF-87A9-ACAC27D30E7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937415" y="965200"/>
            <a:ext cx="1146096" cy="1146097"/>
          </a:xfrm>
          <a:prstGeom prst="rect">
            <a:avLst/>
          </a:prstGeom>
          <a:blipFill>
            <a:blip r:embed="rId3"/>
            <a:stretch>
              <a:fillRect/>
            </a:stretch>
          </a:blipFill>
        </p:spPr>
        <p:txBody>
          <a:bodyPr/>
          <a:lstStyle>
            <a:lvl1pPr>
              <a:defRPr>
                <a:noFill/>
              </a:defRPr>
            </a:lvl1pPr>
          </a:lstStyle>
          <a:p>
            <a:endParaRPr lang="en-US"/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2D989DD8-307B-4044-B0AD-5914C955D76D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359000" y="745001"/>
            <a:ext cx="3474000" cy="5403900"/>
          </a:xfrm>
          <a:prstGeom prst="roundRect">
            <a:avLst>
              <a:gd name="adj" fmla="val 50000"/>
            </a:avLst>
          </a:prstGeom>
          <a:solidFill>
            <a:srgbClr val="EDF1F6"/>
          </a:solidFill>
        </p:spPr>
        <p:txBody>
          <a:bodyPr/>
          <a:lstStyle/>
          <a:p>
            <a:endParaRPr lang="en-US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A9D61D35-8427-9949-9B05-2550B648C3E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254587" y="1612902"/>
            <a:ext cx="3217747" cy="457199"/>
          </a:xfrm>
          <a:prstGeom prst="rect">
            <a:avLst/>
          </a:prstGeom>
        </p:spPr>
        <p:txBody>
          <a:bodyPr/>
          <a:lstStyle>
            <a:lvl1pPr>
              <a:defRPr sz="2133" b="0" i="0">
                <a:solidFill>
                  <a:schemeClr val="tx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defRPr>
            </a:lvl1pPr>
            <a:lvl2pPr>
              <a:defRPr sz="2133" b="0" i="0">
                <a:solidFill>
                  <a:schemeClr val="tx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defRPr>
            </a:lvl2pPr>
            <a:lvl3pPr>
              <a:defRPr sz="2133" b="0" i="0">
                <a:solidFill>
                  <a:schemeClr val="tx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defRPr>
            </a:lvl3pPr>
            <a:lvl4pPr>
              <a:defRPr sz="2133" b="0" i="0">
                <a:solidFill>
                  <a:schemeClr val="tx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defRPr>
            </a:lvl4pPr>
            <a:lvl5pPr>
              <a:defRPr sz="2133" b="0" i="0">
                <a:solidFill>
                  <a:schemeClr val="tx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defRPr>
            </a:lvl5pPr>
          </a:lstStyle>
          <a:p>
            <a:pPr lvl="0"/>
            <a:r>
              <a:rPr lang="en-GB"/>
              <a:t>Lorem ipsum </a:t>
            </a:r>
            <a:r>
              <a:rPr lang="en-GB" err="1"/>
              <a:t>dolor</a:t>
            </a:r>
            <a:r>
              <a:rPr lang="en-GB"/>
              <a:t> sit</a:t>
            </a:r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3159506-874E-41B2-AA58-92FF0184A76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1200" y="2070101"/>
            <a:ext cx="2904067" cy="251883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08239983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and Content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832D9A9B-B135-4985-B11A-28D42D9F034F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927600" y="5306484"/>
            <a:ext cx="1168400" cy="1168400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>
                <a:noFill/>
              </a:defRPr>
            </a:lvl1pPr>
          </a:lstStyle>
          <a:p>
            <a:endParaRPr lang="en-US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157636CD-277F-4975-A395-D6CE18D6CA69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1" y="0"/>
            <a:ext cx="6547204" cy="6858000"/>
          </a:xfrm>
          <a:custGeom>
            <a:avLst/>
            <a:gdLst>
              <a:gd name="connsiteX0" fmla="*/ 0 w 4910403"/>
              <a:gd name="connsiteY0" fmla="*/ 0 h 5143500"/>
              <a:gd name="connsiteX1" fmla="*/ 2338653 w 4910403"/>
              <a:gd name="connsiteY1" fmla="*/ 0 h 5143500"/>
              <a:gd name="connsiteX2" fmla="*/ 4910403 w 4910403"/>
              <a:gd name="connsiteY2" fmla="*/ 2571750 h 5143500"/>
              <a:gd name="connsiteX3" fmla="*/ 2338653 w 4910403"/>
              <a:gd name="connsiteY3" fmla="*/ 5143500 h 5143500"/>
              <a:gd name="connsiteX4" fmla="*/ 0 w 4910403"/>
              <a:gd name="connsiteY4" fmla="*/ 5143500 h 5143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910403" h="5143500">
                <a:moveTo>
                  <a:pt x="0" y="0"/>
                </a:moveTo>
                <a:lnTo>
                  <a:pt x="2338653" y="0"/>
                </a:lnTo>
                <a:cubicBezTo>
                  <a:pt x="3758991" y="0"/>
                  <a:pt x="4910403" y="1151412"/>
                  <a:pt x="4910403" y="2571750"/>
                </a:cubicBezTo>
                <a:cubicBezTo>
                  <a:pt x="4910403" y="3992088"/>
                  <a:pt x="3758991" y="5143500"/>
                  <a:pt x="2338653" y="5143500"/>
                </a:cubicBezTo>
                <a:lnTo>
                  <a:pt x="0" y="5143500"/>
                </a:lnTo>
                <a:close/>
              </a:path>
            </a:pathLst>
          </a:custGeom>
          <a:solidFill>
            <a:srgbClr val="EDF1F6"/>
          </a:solidFill>
        </p:spPr>
        <p:txBody>
          <a:bodyPr wrap="square">
            <a:noAutofit/>
          </a:bodyPr>
          <a:lstStyle/>
          <a:p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6326DED-1CA6-478E-8CEC-675ED4202D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334249" y="709084"/>
            <a:ext cx="4138084" cy="1361016"/>
          </a:xfrm>
        </p:spPr>
        <p:txBody>
          <a:bodyPr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8C3E427-5A91-4F5B-B77A-1EDFE15A7C7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334251" y="2524583"/>
            <a:ext cx="4138082" cy="3596817"/>
          </a:xfr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212099919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ext Placeholder 13">
            <a:extLst>
              <a:ext uri="{FF2B5EF4-FFF2-40B4-BE49-F238E27FC236}">
                <a16:creationId xmlns:a16="http://schemas.microsoft.com/office/drawing/2014/main" id="{F4D9ED7A-BB3E-2B4A-B3E6-67298077B32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20104" y="3429001"/>
            <a:ext cx="4105897" cy="361951"/>
          </a:xfrm>
          <a:prstGeom prst="rect">
            <a:avLst/>
          </a:prstGeom>
        </p:spPr>
        <p:txBody>
          <a:bodyPr/>
          <a:lstStyle>
            <a:lvl1pPr>
              <a:defRPr sz="2133" b="0" i="0">
                <a:solidFill>
                  <a:schemeClr val="accent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defRPr>
            </a:lvl1pPr>
            <a:lvl2pPr>
              <a:defRPr sz="2133"/>
            </a:lvl2pPr>
            <a:lvl3pPr>
              <a:defRPr sz="2133"/>
            </a:lvl3pPr>
            <a:lvl4pPr>
              <a:defRPr sz="2133"/>
            </a:lvl4pPr>
            <a:lvl5pPr>
              <a:defRPr sz="2133"/>
            </a:lvl5pPr>
          </a:lstStyle>
          <a:p>
            <a:r>
              <a:rPr lang="en-US" sz="2133">
                <a:solidFill>
                  <a:schemeClr val="accent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  <a:sym typeface="Helvetica Neue Light"/>
              </a:rPr>
              <a:t>Lorem ipsum dolor sit </a:t>
            </a: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3FBA4D0F-D7D2-154C-9B95-4B225525BEF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19668" y="3924049"/>
            <a:ext cx="4114801" cy="1943351"/>
          </a:xfrm>
          <a:prstGeom prst="rect">
            <a:avLst/>
          </a:prstGeom>
        </p:spPr>
        <p:txBody>
          <a:bodyPr/>
          <a:lstStyle>
            <a:lvl1pPr>
              <a:defRPr sz="1467" b="0" i="0">
                <a:solidFill>
                  <a:schemeClr val="tx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defRPr>
            </a:lvl1pPr>
          </a:lstStyle>
          <a:p>
            <a:pPr lvl="0"/>
            <a:r>
              <a:rPr lang="en-GB"/>
              <a:t>Click to add text</a:t>
            </a:r>
            <a:endParaRPr lang="en-US"/>
          </a:p>
        </p:txBody>
      </p:sp>
      <p:sp>
        <p:nvSpPr>
          <p:cNvPr id="25" name="Text Placeholder 13">
            <a:extLst>
              <a:ext uri="{FF2B5EF4-FFF2-40B4-BE49-F238E27FC236}">
                <a16:creationId xmlns:a16="http://schemas.microsoft.com/office/drawing/2014/main" id="{54C8725D-7DE2-5B43-B761-3CEBF82BB8E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234660" y="1888067"/>
            <a:ext cx="3237237" cy="361951"/>
          </a:xfrm>
          <a:prstGeom prst="rect">
            <a:avLst/>
          </a:prstGeom>
        </p:spPr>
        <p:txBody>
          <a:bodyPr/>
          <a:lstStyle>
            <a:lvl1pPr>
              <a:defRPr sz="2133" b="0" i="0">
                <a:solidFill>
                  <a:schemeClr val="accent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defRPr>
            </a:lvl1pPr>
            <a:lvl2pPr>
              <a:defRPr sz="2133"/>
            </a:lvl2pPr>
            <a:lvl3pPr>
              <a:defRPr sz="2133"/>
            </a:lvl3pPr>
            <a:lvl4pPr>
              <a:defRPr sz="2133"/>
            </a:lvl4pPr>
            <a:lvl5pPr>
              <a:defRPr sz="2133"/>
            </a:lvl5pPr>
          </a:lstStyle>
          <a:p>
            <a:r>
              <a:rPr lang="en-US" sz="2133">
                <a:solidFill>
                  <a:schemeClr val="accent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  <a:sym typeface="Helvetica Neue Light"/>
              </a:rPr>
              <a:t>Lorem ipsum dolor sit </a:t>
            </a:r>
          </a:p>
        </p:txBody>
      </p:sp>
      <p:sp>
        <p:nvSpPr>
          <p:cNvPr id="26" name="Text Placeholder 21">
            <a:extLst>
              <a:ext uri="{FF2B5EF4-FFF2-40B4-BE49-F238E27FC236}">
                <a16:creationId xmlns:a16="http://schemas.microsoft.com/office/drawing/2014/main" id="{845E5978-C0B6-8843-A6F8-4ECD19F3A62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234225" y="2335767"/>
            <a:ext cx="3237673" cy="1286933"/>
          </a:xfrm>
          <a:prstGeom prst="rect">
            <a:avLst/>
          </a:prstGeom>
        </p:spPr>
        <p:txBody>
          <a:bodyPr/>
          <a:lstStyle>
            <a:lvl1pPr>
              <a:defRPr sz="1467" b="0" i="0">
                <a:solidFill>
                  <a:schemeClr val="tx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defRPr>
            </a:lvl1pPr>
          </a:lstStyle>
          <a:p>
            <a:pPr lvl="0"/>
            <a:r>
              <a:rPr lang="en-GB"/>
              <a:t>Click to add text</a:t>
            </a:r>
            <a:endParaRPr lang="en-US"/>
          </a:p>
        </p:txBody>
      </p:sp>
      <p:sp>
        <p:nvSpPr>
          <p:cNvPr id="31" name="Text Placeholder 13">
            <a:extLst>
              <a:ext uri="{FF2B5EF4-FFF2-40B4-BE49-F238E27FC236}">
                <a16:creationId xmlns:a16="http://schemas.microsoft.com/office/drawing/2014/main" id="{9CE23E42-64D7-D545-AE56-C6DD0B58449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234660" y="4386767"/>
            <a:ext cx="3237237" cy="361951"/>
          </a:xfrm>
          <a:prstGeom prst="rect">
            <a:avLst/>
          </a:prstGeom>
        </p:spPr>
        <p:txBody>
          <a:bodyPr/>
          <a:lstStyle>
            <a:lvl1pPr>
              <a:defRPr sz="2133" b="0" i="0">
                <a:solidFill>
                  <a:schemeClr val="accent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defRPr>
            </a:lvl1pPr>
            <a:lvl2pPr>
              <a:defRPr sz="2133"/>
            </a:lvl2pPr>
            <a:lvl3pPr>
              <a:defRPr sz="2133"/>
            </a:lvl3pPr>
            <a:lvl4pPr>
              <a:defRPr sz="2133"/>
            </a:lvl4pPr>
            <a:lvl5pPr>
              <a:defRPr sz="2133"/>
            </a:lvl5pPr>
          </a:lstStyle>
          <a:p>
            <a:r>
              <a:rPr lang="en-US" sz="2133">
                <a:solidFill>
                  <a:schemeClr val="accent5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  <a:sym typeface="Helvetica Neue Light"/>
              </a:rPr>
              <a:t>Lorem ipsum dolor sit </a:t>
            </a:r>
          </a:p>
        </p:txBody>
      </p:sp>
      <p:sp>
        <p:nvSpPr>
          <p:cNvPr id="32" name="Text Placeholder 21">
            <a:extLst>
              <a:ext uri="{FF2B5EF4-FFF2-40B4-BE49-F238E27FC236}">
                <a16:creationId xmlns:a16="http://schemas.microsoft.com/office/drawing/2014/main" id="{5F3F412E-0E0F-9348-8D36-BEFBF11BDB9E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234225" y="4834467"/>
            <a:ext cx="3237673" cy="1286933"/>
          </a:xfrm>
          <a:prstGeom prst="rect">
            <a:avLst/>
          </a:prstGeom>
        </p:spPr>
        <p:txBody>
          <a:bodyPr/>
          <a:lstStyle>
            <a:lvl1pPr>
              <a:defRPr sz="1467" b="0" i="0">
                <a:solidFill>
                  <a:schemeClr val="tx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defRPr>
            </a:lvl1pPr>
          </a:lstStyle>
          <a:p>
            <a:pPr lvl="0"/>
            <a:r>
              <a:rPr lang="en-GB"/>
              <a:t>Click to add text</a:t>
            </a:r>
            <a:endParaRPr lang="en-US"/>
          </a:p>
        </p:txBody>
      </p:sp>
      <p:sp>
        <p:nvSpPr>
          <p:cNvPr id="37" name="Text Placeholder 34">
            <a:extLst>
              <a:ext uri="{FF2B5EF4-FFF2-40B4-BE49-F238E27FC236}">
                <a16:creationId xmlns:a16="http://schemas.microsoft.com/office/drawing/2014/main" id="{C6AD9C39-3CA2-634F-9D66-4376102C23C4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568693" y="4591337"/>
            <a:ext cx="1131616" cy="711200"/>
          </a:xfrm>
          <a:prstGeom prst="rect">
            <a:avLst/>
          </a:prstGeom>
        </p:spPr>
        <p:txBody>
          <a:bodyPr/>
          <a:lstStyle>
            <a:lvl1pPr>
              <a:defRPr sz="3200" b="0" i="0">
                <a:solidFill>
                  <a:schemeClr val="accent5"/>
                </a:solidFill>
                <a:latin typeface="CiscoSansTT Light" panose="020B0503020201020303" pitchFamily="34" charset="0"/>
                <a:cs typeface="CiscoSansTT Light" panose="020B0503020201020303" pitchFamily="34" charset="0"/>
              </a:defRPr>
            </a:lvl1pPr>
          </a:lstStyle>
          <a:p>
            <a:pPr lvl="0"/>
            <a:r>
              <a:rPr lang="en-GB"/>
              <a:t>XX%</a:t>
            </a:r>
            <a:endParaRPr lang="en-US"/>
          </a:p>
        </p:txBody>
      </p:sp>
      <p:sp>
        <p:nvSpPr>
          <p:cNvPr id="38" name="Text Placeholder 34">
            <a:extLst>
              <a:ext uri="{FF2B5EF4-FFF2-40B4-BE49-F238E27FC236}">
                <a16:creationId xmlns:a16="http://schemas.microsoft.com/office/drawing/2014/main" id="{6C93B04A-1E80-1C40-9B3E-5A436450F6C1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510575" y="2124021"/>
            <a:ext cx="1131616" cy="711200"/>
          </a:xfrm>
          <a:prstGeom prst="rect">
            <a:avLst/>
          </a:prstGeom>
        </p:spPr>
        <p:txBody>
          <a:bodyPr/>
          <a:lstStyle>
            <a:lvl1pPr>
              <a:defRPr sz="3200" b="0" i="0">
                <a:solidFill>
                  <a:schemeClr val="accent1"/>
                </a:solidFill>
                <a:latin typeface="CiscoSansTT Light" panose="020B0503020201020303" pitchFamily="34" charset="0"/>
                <a:cs typeface="CiscoSansTT Light" panose="020B0503020201020303" pitchFamily="34" charset="0"/>
              </a:defRPr>
            </a:lvl1pPr>
          </a:lstStyle>
          <a:p>
            <a:pPr lvl="0"/>
            <a:r>
              <a:rPr lang="en-GB"/>
              <a:t>XX%</a:t>
            </a:r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A8D9963-BF99-4C17-86D4-9D7B037EED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1200" y="2070099"/>
            <a:ext cx="4114800" cy="11557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109075840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21">
            <a:extLst>
              <a:ext uri="{FF2B5EF4-FFF2-40B4-BE49-F238E27FC236}">
                <a16:creationId xmlns:a16="http://schemas.microsoft.com/office/drawing/2014/main" id="{60AFAD34-CFFF-EF48-B99C-F11DFD70F0B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583450" y="1043471"/>
            <a:ext cx="1914801" cy="1038091"/>
          </a:xfrm>
          <a:prstGeom prst="rect">
            <a:avLst/>
          </a:prstGeom>
        </p:spPr>
        <p:txBody>
          <a:bodyPr/>
          <a:lstStyle>
            <a:lvl1pPr>
              <a:defRPr sz="1467" b="0" i="0">
                <a:solidFill>
                  <a:schemeClr val="tx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defRPr>
            </a:lvl1pPr>
          </a:lstStyle>
          <a:p>
            <a:pPr lvl="0"/>
            <a:r>
              <a:rPr lang="en-GB"/>
              <a:t>Click to add text</a:t>
            </a:r>
            <a:endParaRPr lang="en-US"/>
          </a:p>
        </p:txBody>
      </p:sp>
      <p:sp>
        <p:nvSpPr>
          <p:cNvPr id="18" name="Text Placeholder 21">
            <a:extLst>
              <a:ext uri="{FF2B5EF4-FFF2-40B4-BE49-F238E27FC236}">
                <a16:creationId xmlns:a16="http://schemas.microsoft.com/office/drawing/2014/main" id="{5DED0708-F6D0-9247-BBE1-821405FF823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583450" y="2909339"/>
            <a:ext cx="1914801" cy="1038091"/>
          </a:xfrm>
          <a:prstGeom prst="rect">
            <a:avLst/>
          </a:prstGeom>
        </p:spPr>
        <p:txBody>
          <a:bodyPr/>
          <a:lstStyle>
            <a:lvl1pPr>
              <a:defRPr sz="1467" b="0" i="0">
                <a:solidFill>
                  <a:schemeClr val="tx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defRPr>
            </a:lvl1pPr>
          </a:lstStyle>
          <a:p>
            <a:pPr lvl="0"/>
            <a:r>
              <a:rPr lang="en-GB"/>
              <a:t>Click to add text</a:t>
            </a:r>
            <a:endParaRPr lang="en-US"/>
          </a:p>
        </p:txBody>
      </p:sp>
      <p:sp>
        <p:nvSpPr>
          <p:cNvPr id="19" name="Text Placeholder 21">
            <a:extLst>
              <a:ext uri="{FF2B5EF4-FFF2-40B4-BE49-F238E27FC236}">
                <a16:creationId xmlns:a16="http://schemas.microsoft.com/office/drawing/2014/main" id="{5CCA10A3-3B40-D248-9C55-B94F50E7383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583450" y="4776439"/>
            <a:ext cx="1914801" cy="1038091"/>
          </a:xfrm>
          <a:prstGeom prst="rect">
            <a:avLst/>
          </a:prstGeom>
        </p:spPr>
        <p:txBody>
          <a:bodyPr/>
          <a:lstStyle>
            <a:lvl1pPr>
              <a:defRPr sz="1467" b="0" i="0">
                <a:solidFill>
                  <a:schemeClr val="tx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defRPr>
            </a:lvl1pPr>
          </a:lstStyle>
          <a:p>
            <a:pPr lvl="0"/>
            <a:r>
              <a:rPr lang="en-GB"/>
              <a:t>Click to add text</a:t>
            </a:r>
            <a:endParaRPr lang="en-US"/>
          </a:p>
        </p:txBody>
      </p:sp>
      <p:sp>
        <p:nvSpPr>
          <p:cNvPr id="20" name="Text Placeholder 21">
            <a:extLst>
              <a:ext uri="{FF2B5EF4-FFF2-40B4-BE49-F238E27FC236}">
                <a16:creationId xmlns:a16="http://schemas.microsoft.com/office/drawing/2014/main" id="{BC3462B6-4CC9-5145-9E61-C762FD2757B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9120152" y="1042988"/>
            <a:ext cx="1914801" cy="1038091"/>
          </a:xfrm>
          <a:prstGeom prst="rect">
            <a:avLst/>
          </a:prstGeom>
        </p:spPr>
        <p:txBody>
          <a:bodyPr/>
          <a:lstStyle>
            <a:lvl1pPr>
              <a:defRPr sz="1467" b="0" i="0">
                <a:solidFill>
                  <a:schemeClr val="tx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defRPr>
            </a:lvl1pPr>
          </a:lstStyle>
          <a:p>
            <a:pPr lvl="0"/>
            <a:r>
              <a:rPr lang="en-GB"/>
              <a:t>Click to add text</a:t>
            </a:r>
            <a:endParaRPr lang="en-US"/>
          </a:p>
        </p:txBody>
      </p:sp>
      <p:sp>
        <p:nvSpPr>
          <p:cNvPr id="21" name="Text Placeholder 21">
            <a:extLst>
              <a:ext uri="{FF2B5EF4-FFF2-40B4-BE49-F238E27FC236}">
                <a16:creationId xmlns:a16="http://schemas.microsoft.com/office/drawing/2014/main" id="{294218C0-ED14-EF44-B6DB-22164D388251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120152" y="2909339"/>
            <a:ext cx="1914801" cy="1038091"/>
          </a:xfrm>
          <a:prstGeom prst="rect">
            <a:avLst/>
          </a:prstGeom>
        </p:spPr>
        <p:txBody>
          <a:bodyPr/>
          <a:lstStyle>
            <a:lvl1pPr>
              <a:defRPr sz="1467" b="0" i="0">
                <a:solidFill>
                  <a:schemeClr val="tx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defRPr>
            </a:lvl1pPr>
          </a:lstStyle>
          <a:p>
            <a:pPr lvl="0"/>
            <a:r>
              <a:rPr lang="en-GB"/>
              <a:t>Click to add text</a:t>
            </a:r>
            <a:endParaRPr lang="en-US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29440408-FB70-0E48-9191-949F57EAAB2E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120152" y="4776439"/>
            <a:ext cx="1914801" cy="1038091"/>
          </a:xfrm>
          <a:prstGeom prst="rect">
            <a:avLst/>
          </a:prstGeom>
        </p:spPr>
        <p:txBody>
          <a:bodyPr/>
          <a:lstStyle>
            <a:lvl1pPr>
              <a:defRPr sz="1467" b="0" i="0">
                <a:solidFill>
                  <a:schemeClr val="tx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defRPr>
            </a:lvl1pPr>
          </a:lstStyle>
          <a:p>
            <a:pPr lvl="0"/>
            <a:r>
              <a:rPr lang="en-GB"/>
              <a:t>Click to add text</a:t>
            </a:r>
            <a:endParaRPr lang="en-US"/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C70EEDD5-22F0-4197-9E2C-65520A44FC04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5218531" y="1042989"/>
            <a:ext cx="364671" cy="303561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>
                <a:noFill/>
              </a:defRPr>
            </a:lvl1pPr>
          </a:lstStyle>
          <a:p>
            <a:endParaRPr lang="en-US"/>
          </a:p>
        </p:txBody>
      </p:sp>
      <p:sp>
        <p:nvSpPr>
          <p:cNvPr id="31" name="Picture Placeholder 3">
            <a:extLst>
              <a:ext uri="{FF2B5EF4-FFF2-40B4-BE49-F238E27FC236}">
                <a16:creationId xmlns:a16="http://schemas.microsoft.com/office/drawing/2014/main" id="{6BCA35DD-4B2E-4B0C-BCE1-27728E5A158F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5218531" y="2909340"/>
            <a:ext cx="364671" cy="303561"/>
          </a:xfrm>
          <a:prstGeom prst="rect">
            <a:avLst/>
          </a:prstGeom>
          <a:blipFill>
            <a:blip r:embed="rId3"/>
            <a:stretch>
              <a:fillRect/>
            </a:stretch>
          </a:blipFill>
        </p:spPr>
        <p:txBody>
          <a:bodyPr/>
          <a:lstStyle>
            <a:lvl1pPr>
              <a:defRPr>
                <a:noFill/>
              </a:defRPr>
            </a:lvl1pPr>
          </a:lstStyle>
          <a:p>
            <a:endParaRPr lang="en-US"/>
          </a:p>
        </p:txBody>
      </p:sp>
      <p:sp>
        <p:nvSpPr>
          <p:cNvPr id="32" name="Picture Placeholder 3">
            <a:extLst>
              <a:ext uri="{FF2B5EF4-FFF2-40B4-BE49-F238E27FC236}">
                <a16:creationId xmlns:a16="http://schemas.microsoft.com/office/drawing/2014/main" id="{B54AF328-4AF7-4607-93A0-00EC4947C5D6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5218531" y="4776440"/>
            <a:ext cx="364671" cy="303561"/>
          </a:xfrm>
          <a:prstGeom prst="rect">
            <a:avLst/>
          </a:prstGeom>
          <a:blipFill>
            <a:blip r:embed="rId4"/>
            <a:stretch>
              <a:fillRect/>
            </a:stretch>
          </a:blipFill>
        </p:spPr>
        <p:txBody>
          <a:bodyPr/>
          <a:lstStyle>
            <a:lvl1pPr>
              <a:defRPr>
                <a:noFill/>
              </a:defRPr>
            </a:lvl1pPr>
          </a:lstStyle>
          <a:p>
            <a:endParaRPr lang="en-US"/>
          </a:p>
        </p:txBody>
      </p:sp>
      <p:sp>
        <p:nvSpPr>
          <p:cNvPr id="33" name="Picture Placeholder 3">
            <a:extLst>
              <a:ext uri="{FF2B5EF4-FFF2-40B4-BE49-F238E27FC236}">
                <a16:creationId xmlns:a16="http://schemas.microsoft.com/office/drawing/2014/main" id="{7F4A1470-088E-40A3-A20F-C4DCAFFA3E7A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8755481" y="1042989"/>
            <a:ext cx="364671" cy="303561"/>
          </a:xfrm>
          <a:prstGeom prst="rect">
            <a:avLst/>
          </a:prstGeom>
          <a:blipFill>
            <a:blip r:embed="rId4"/>
            <a:stretch>
              <a:fillRect/>
            </a:stretch>
          </a:blipFill>
        </p:spPr>
        <p:txBody>
          <a:bodyPr/>
          <a:lstStyle>
            <a:lvl1pPr>
              <a:defRPr>
                <a:noFill/>
              </a:defRPr>
            </a:lvl1pPr>
          </a:lstStyle>
          <a:p>
            <a:endParaRPr lang="en-US"/>
          </a:p>
        </p:txBody>
      </p:sp>
      <p:sp>
        <p:nvSpPr>
          <p:cNvPr id="34" name="Picture Placeholder 3">
            <a:extLst>
              <a:ext uri="{FF2B5EF4-FFF2-40B4-BE49-F238E27FC236}">
                <a16:creationId xmlns:a16="http://schemas.microsoft.com/office/drawing/2014/main" id="{CF7DF77F-E020-4816-9E4B-754165D11DC2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8755481" y="2909340"/>
            <a:ext cx="364671" cy="303561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>
                <a:noFill/>
              </a:defRPr>
            </a:lvl1pPr>
          </a:lstStyle>
          <a:p>
            <a:endParaRPr lang="en-US"/>
          </a:p>
        </p:txBody>
      </p:sp>
      <p:sp>
        <p:nvSpPr>
          <p:cNvPr id="35" name="Picture Placeholder 3">
            <a:extLst>
              <a:ext uri="{FF2B5EF4-FFF2-40B4-BE49-F238E27FC236}">
                <a16:creationId xmlns:a16="http://schemas.microsoft.com/office/drawing/2014/main" id="{30737A6D-65C2-418D-AE2D-216451A7AE90}"/>
              </a:ext>
            </a:extLst>
          </p:cNvPr>
          <p:cNvSpPr>
            <a:spLocks noGrp="1"/>
          </p:cNvSpPr>
          <p:nvPr>
            <p:ph type="pic" sz="quarter" idx="28"/>
          </p:nvPr>
        </p:nvSpPr>
        <p:spPr>
          <a:xfrm>
            <a:off x="8755481" y="4776440"/>
            <a:ext cx="364671" cy="303561"/>
          </a:xfrm>
          <a:prstGeom prst="rect">
            <a:avLst/>
          </a:prstGeom>
          <a:blipFill>
            <a:blip r:embed="rId3"/>
            <a:stretch>
              <a:fillRect/>
            </a:stretch>
          </a:blipFill>
        </p:spPr>
        <p:txBody>
          <a:bodyPr/>
          <a:lstStyle>
            <a:lvl1pPr>
              <a:defRPr>
                <a:noFill/>
              </a:defRPr>
            </a:lvl1pPr>
          </a:lstStyle>
          <a:p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6B9A303-9952-43D3-9853-F92C20413C0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667" y="2070099"/>
            <a:ext cx="3302000" cy="297603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104201213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13">
            <a:extLst>
              <a:ext uri="{FF2B5EF4-FFF2-40B4-BE49-F238E27FC236}">
                <a16:creationId xmlns:a16="http://schemas.microsoft.com/office/drawing/2014/main" id="{6B787457-39AA-B246-81C6-F6BAEB9A8F7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11200" y="3856567"/>
            <a:ext cx="4250267" cy="825500"/>
          </a:xfrm>
          <a:prstGeom prst="rect">
            <a:avLst/>
          </a:prstGeom>
        </p:spPr>
        <p:txBody>
          <a:bodyPr/>
          <a:lstStyle>
            <a:lvl1pPr>
              <a:defRPr sz="2133" b="0" i="0">
                <a:solidFill>
                  <a:schemeClr val="accent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defRPr>
            </a:lvl1pPr>
            <a:lvl2pPr>
              <a:defRPr sz="2133"/>
            </a:lvl2pPr>
            <a:lvl3pPr>
              <a:defRPr sz="2133"/>
            </a:lvl3pPr>
            <a:lvl4pPr>
              <a:defRPr sz="2133"/>
            </a:lvl4pPr>
            <a:lvl5pPr>
              <a:defRPr sz="2133"/>
            </a:lvl5pPr>
          </a:lstStyle>
          <a:p>
            <a:r>
              <a:rPr lang="en-US" sz="2133">
                <a:solidFill>
                  <a:schemeClr val="accent1"/>
                </a:solidFill>
                <a:latin typeface="CiscoSansTT ExtraLight" panose="020B0303020201020303" pitchFamily="34" charset="0"/>
                <a:ea typeface="Helvetica Neue Light"/>
                <a:cs typeface="CiscoSansTT ExtraLight" panose="020B0303020201020303" pitchFamily="34" charset="0"/>
                <a:sym typeface="Helvetica Neue Light"/>
              </a:rPr>
              <a:t>Lorem ipsum dolor sit </a:t>
            </a:r>
            <a:r>
              <a:rPr lang="en-US" sz="2133" err="1">
                <a:solidFill>
                  <a:schemeClr val="accent1"/>
                </a:solidFill>
                <a:latin typeface="CiscoSansTT ExtraLight" panose="020B0303020201020303" pitchFamily="34" charset="0"/>
                <a:ea typeface="Helvetica Neue Light"/>
                <a:cs typeface="CiscoSansTT ExtraLight" panose="020B0303020201020303" pitchFamily="34" charset="0"/>
                <a:sym typeface="Helvetica Neue Light"/>
              </a:rPr>
              <a:t>amet</a:t>
            </a:r>
            <a:r>
              <a:rPr lang="en-US" sz="2133">
                <a:solidFill>
                  <a:schemeClr val="accent1"/>
                </a:solidFill>
                <a:latin typeface="CiscoSansTT ExtraLight" panose="020B0303020201020303" pitchFamily="34" charset="0"/>
                <a:ea typeface="Helvetica Neue Light"/>
                <a:cs typeface="CiscoSansTT ExtraLight" panose="020B0303020201020303" pitchFamily="34" charset="0"/>
                <a:sym typeface="Helvetica Neue Light"/>
              </a:rPr>
              <a:t> </a:t>
            </a:r>
            <a:r>
              <a:rPr lang="en-US" sz="2133" err="1">
                <a:solidFill>
                  <a:schemeClr val="accent1"/>
                </a:solidFill>
                <a:latin typeface="CiscoSansTT ExtraLight" panose="020B0303020201020303" pitchFamily="34" charset="0"/>
                <a:ea typeface="Helvetica Neue Light"/>
                <a:cs typeface="CiscoSansTT ExtraLight" panose="020B0303020201020303" pitchFamily="34" charset="0"/>
                <a:sym typeface="Helvetica Neue Light"/>
              </a:rPr>
              <a:t>consectetur</a:t>
            </a:r>
            <a:r>
              <a:rPr lang="en-US" sz="2133">
                <a:solidFill>
                  <a:schemeClr val="accent1"/>
                </a:solidFill>
                <a:latin typeface="CiscoSansTT ExtraLight" panose="020B0303020201020303" pitchFamily="34" charset="0"/>
                <a:ea typeface="Helvetica Neue Light"/>
                <a:cs typeface="CiscoSansTT ExtraLight" panose="020B0303020201020303" pitchFamily="34" charset="0"/>
                <a:sym typeface="Helvetica Neue Light"/>
              </a:rPr>
              <a:t> </a:t>
            </a:r>
            <a:r>
              <a:rPr lang="en-US" sz="2133" err="1">
                <a:solidFill>
                  <a:schemeClr val="accent1"/>
                </a:solidFill>
                <a:latin typeface="CiscoSansTT ExtraLight" panose="020B0303020201020303" pitchFamily="34" charset="0"/>
                <a:ea typeface="Helvetica Neue Light"/>
                <a:cs typeface="CiscoSansTT ExtraLight" panose="020B0303020201020303" pitchFamily="34" charset="0"/>
                <a:sym typeface="Helvetica Neue Light"/>
              </a:rPr>
              <a:t>adipiscing</a:t>
            </a:r>
            <a:r>
              <a:rPr lang="en-US" sz="2133">
                <a:solidFill>
                  <a:schemeClr val="accent1"/>
                </a:solidFill>
                <a:latin typeface="CiscoSansTT ExtraLight" panose="020B0303020201020303" pitchFamily="34" charset="0"/>
                <a:ea typeface="Helvetica Neue Light"/>
                <a:cs typeface="CiscoSansTT ExtraLight" panose="020B0303020201020303" pitchFamily="34" charset="0"/>
                <a:sym typeface="Helvetica Neue Light"/>
              </a:rPr>
              <a:t> </a:t>
            </a:r>
            <a:r>
              <a:rPr lang="en-US" sz="2133" err="1">
                <a:solidFill>
                  <a:schemeClr val="accent1"/>
                </a:solidFill>
                <a:latin typeface="CiscoSansTT ExtraLight" panose="020B0303020201020303" pitchFamily="34" charset="0"/>
                <a:ea typeface="Helvetica Neue Light"/>
                <a:cs typeface="CiscoSansTT ExtraLight" panose="020B0303020201020303" pitchFamily="34" charset="0"/>
                <a:sym typeface="Helvetica Neue Light"/>
              </a:rPr>
              <a:t>elit</a:t>
            </a:r>
            <a:r>
              <a:rPr lang="en-US" sz="2133">
                <a:solidFill>
                  <a:schemeClr val="accent1"/>
                </a:solidFill>
                <a:latin typeface="CiscoSansTT ExtraLight" panose="020B0303020201020303" pitchFamily="34" charset="0"/>
                <a:ea typeface="Helvetica Neue Light"/>
                <a:cs typeface="CiscoSansTT ExtraLight" panose="020B0303020201020303" pitchFamily="34" charset="0"/>
                <a:sym typeface="Helvetica Neue Light"/>
              </a:rPr>
              <a:t> diem</a:t>
            </a:r>
            <a:endParaRPr lang="en-US" sz="2133">
              <a:solidFill>
                <a:schemeClr val="accent1"/>
              </a:solidFill>
              <a:latin typeface="CiscoSansTT ExtraLight" panose="020B0303020201020303" pitchFamily="34" charset="0"/>
              <a:cs typeface="CiscoSansTT ExtraLight" panose="020B0303020201020303" pitchFamily="34" charset="0"/>
              <a:sym typeface="Helvetica Neue Light"/>
            </a:endParaRPr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F78856C6-C3E6-4616-8EC0-B2A24F6EC4F6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775504" y="0"/>
            <a:ext cx="7416496" cy="6857997"/>
          </a:xfrm>
          <a:custGeom>
            <a:avLst/>
            <a:gdLst>
              <a:gd name="connsiteX0" fmla="*/ 0 w 5562372"/>
              <a:gd name="connsiteY0" fmla="*/ 0 h 5143498"/>
              <a:gd name="connsiteX1" fmla="*/ 5562372 w 5562372"/>
              <a:gd name="connsiteY1" fmla="*/ 0 h 5143498"/>
              <a:gd name="connsiteX2" fmla="*/ 5562372 w 5562372"/>
              <a:gd name="connsiteY2" fmla="*/ 5143498 h 5143498"/>
              <a:gd name="connsiteX3" fmla="*/ 481628 w 5562372"/>
              <a:gd name="connsiteY3" fmla="*/ 5143498 h 5143498"/>
              <a:gd name="connsiteX4" fmla="*/ 659851 w 5562372"/>
              <a:gd name="connsiteY4" fmla="*/ 4905163 h 5143498"/>
              <a:gd name="connsiteX5" fmla="*/ 1296347 w 5562372"/>
              <a:gd name="connsiteY5" fmla="*/ 2821418 h 5143498"/>
              <a:gd name="connsiteX6" fmla="*/ 204763 w 5562372"/>
              <a:gd name="connsiteY6" fmla="*/ 186102 h 51434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562372" h="5143498">
                <a:moveTo>
                  <a:pt x="0" y="0"/>
                </a:moveTo>
                <a:lnTo>
                  <a:pt x="5562372" y="0"/>
                </a:lnTo>
                <a:lnTo>
                  <a:pt x="5562372" y="5143498"/>
                </a:lnTo>
                <a:lnTo>
                  <a:pt x="481628" y="5143498"/>
                </a:lnTo>
                <a:lnTo>
                  <a:pt x="659851" y="4905163"/>
                </a:lnTo>
                <a:cubicBezTo>
                  <a:pt x="1061702" y="4310346"/>
                  <a:pt x="1296347" y="3593284"/>
                  <a:pt x="1296347" y="2821418"/>
                </a:cubicBezTo>
                <a:cubicBezTo>
                  <a:pt x="1296347" y="1792263"/>
                  <a:pt x="879200" y="860538"/>
                  <a:pt x="204763" y="186102"/>
                </a:cubicBezTo>
                <a:close/>
              </a:path>
            </a:pathLst>
          </a:custGeom>
          <a:solidFill>
            <a:srgbClr val="EDF1F6"/>
          </a:solidFill>
        </p:spPr>
        <p:txBody>
          <a:bodyPr wrap="square">
            <a:noAutofit/>
          </a:bodyPr>
          <a:lstStyle/>
          <a:p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961E1CD-E326-4961-9A88-11E9CA33773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1200" y="2070101"/>
            <a:ext cx="4250267" cy="16383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840997430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8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Picture Placeholder 36">
            <a:extLst>
              <a:ext uri="{FF2B5EF4-FFF2-40B4-BE49-F238E27FC236}">
                <a16:creationId xmlns:a16="http://schemas.microsoft.com/office/drawing/2014/main" id="{A09742A7-0B5E-4F47-A95F-532A0AB3B278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393167" y="1"/>
            <a:ext cx="1322400" cy="5676899"/>
          </a:xfrm>
          <a:custGeom>
            <a:avLst/>
            <a:gdLst>
              <a:gd name="connsiteX0" fmla="*/ 0 w 991800"/>
              <a:gd name="connsiteY0" fmla="*/ 0 h 4257674"/>
              <a:gd name="connsiteX1" fmla="*/ 991800 w 991800"/>
              <a:gd name="connsiteY1" fmla="*/ 0 h 4257674"/>
              <a:gd name="connsiteX2" fmla="*/ 991800 w 991800"/>
              <a:gd name="connsiteY2" fmla="*/ 3771573 h 4257674"/>
              <a:gd name="connsiteX3" fmla="*/ 505699 w 991800"/>
              <a:gd name="connsiteY3" fmla="*/ 4257674 h 4257674"/>
              <a:gd name="connsiteX4" fmla="*/ 486101 w 991800"/>
              <a:gd name="connsiteY4" fmla="*/ 4257674 h 4257674"/>
              <a:gd name="connsiteX5" fmla="*/ 0 w 991800"/>
              <a:gd name="connsiteY5" fmla="*/ 3771573 h 42576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991800" h="4257674">
                <a:moveTo>
                  <a:pt x="0" y="0"/>
                </a:moveTo>
                <a:lnTo>
                  <a:pt x="991800" y="0"/>
                </a:lnTo>
                <a:lnTo>
                  <a:pt x="991800" y="3771573"/>
                </a:lnTo>
                <a:cubicBezTo>
                  <a:pt x="991800" y="4040039"/>
                  <a:pt x="774165" y="4257674"/>
                  <a:pt x="505699" y="4257674"/>
                </a:cubicBezTo>
                <a:lnTo>
                  <a:pt x="486101" y="4257674"/>
                </a:lnTo>
                <a:cubicBezTo>
                  <a:pt x="217635" y="4257674"/>
                  <a:pt x="0" y="4040039"/>
                  <a:pt x="0" y="3771573"/>
                </a:cubicBezTo>
                <a:close/>
              </a:path>
            </a:pathLst>
          </a:custGeom>
          <a:solidFill>
            <a:srgbClr val="EDF1F6"/>
          </a:solidFill>
        </p:spPr>
        <p:txBody>
          <a:bodyPr wrap="square">
            <a:noAutofit/>
          </a:bodyPr>
          <a:lstStyle>
            <a:lvl1pPr>
              <a:defRPr>
                <a:noFill/>
              </a:defRPr>
            </a:lvl1pPr>
          </a:lstStyle>
          <a:p>
            <a:endParaRPr lang="en-US"/>
          </a:p>
        </p:txBody>
      </p:sp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B14E011C-C076-4297-993A-6269B12CEC8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715336" y="3215366"/>
            <a:ext cx="2421200" cy="3642633"/>
          </a:xfrm>
          <a:prstGeom prst="round2SameRect">
            <a:avLst>
              <a:gd name="adj1" fmla="val 50000"/>
              <a:gd name="adj2" fmla="val 0"/>
            </a:avLst>
          </a:prstGeom>
          <a:solidFill>
            <a:srgbClr val="EDF1F6"/>
          </a:solidFill>
        </p:spPr>
        <p:txBody>
          <a:bodyPr/>
          <a:lstStyle/>
          <a:p>
            <a:endParaRPr lang="en-US"/>
          </a:p>
        </p:txBody>
      </p:sp>
      <p:sp>
        <p:nvSpPr>
          <p:cNvPr id="24" name="Picture Placeholder 17">
            <a:extLst>
              <a:ext uri="{FF2B5EF4-FFF2-40B4-BE49-F238E27FC236}">
                <a16:creationId xmlns:a16="http://schemas.microsoft.com/office/drawing/2014/main" id="{799C6E57-0A19-4334-AAAF-08B6BB2F2833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704633" y="1595780"/>
            <a:ext cx="699467" cy="688637"/>
          </a:xfrm>
          <a:prstGeom prst="ellipse">
            <a:avLst/>
          </a:prstGeom>
          <a:solidFill>
            <a:schemeClr val="bg1"/>
          </a:solidFill>
          <a:ln w="101600">
            <a:solidFill>
              <a:schemeClr val="bg1"/>
            </a:solidFill>
          </a:ln>
        </p:spPr>
        <p:txBody>
          <a:bodyPr/>
          <a:lstStyle>
            <a:lvl1pPr>
              <a:defRPr>
                <a:noFill/>
              </a:defRPr>
            </a:lvl1pPr>
          </a:lstStyle>
          <a:p>
            <a:endParaRPr lang="en-US"/>
          </a:p>
        </p:txBody>
      </p:sp>
      <p:sp>
        <p:nvSpPr>
          <p:cNvPr id="26" name="Picture Placeholder 17">
            <a:extLst>
              <a:ext uri="{FF2B5EF4-FFF2-40B4-BE49-F238E27FC236}">
                <a16:creationId xmlns:a16="http://schemas.microsoft.com/office/drawing/2014/main" id="{1877A2FE-9F23-45BF-8D2A-03B5C0097EBB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6704633" y="3098740"/>
            <a:ext cx="699467" cy="688637"/>
          </a:xfrm>
          <a:prstGeom prst="ellipse">
            <a:avLst/>
          </a:prstGeom>
          <a:solidFill>
            <a:schemeClr val="bg1"/>
          </a:solidFill>
          <a:ln w="101600">
            <a:solidFill>
              <a:schemeClr val="bg1"/>
            </a:solidFill>
          </a:ln>
        </p:spPr>
        <p:txBody>
          <a:bodyPr/>
          <a:lstStyle>
            <a:lvl1pPr>
              <a:defRPr>
                <a:noFill/>
              </a:defRPr>
            </a:lvl1pPr>
          </a:lstStyle>
          <a:p>
            <a:endParaRPr lang="en-US"/>
          </a:p>
        </p:txBody>
      </p:sp>
      <p:sp>
        <p:nvSpPr>
          <p:cNvPr id="28" name="Picture Placeholder 17">
            <a:extLst>
              <a:ext uri="{FF2B5EF4-FFF2-40B4-BE49-F238E27FC236}">
                <a16:creationId xmlns:a16="http://schemas.microsoft.com/office/drawing/2014/main" id="{46FA405D-A3C1-4D33-8B98-57D1F3B32004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6704633" y="4601700"/>
            <a:ext cx="699467" cy="688637"/>
          </a:xfrm>
          <a:prstGeom prst="ellipse">
            <a:avLst/>
          </a:prstGeom>
          <a:solidFill>
            <a:schemeClr val="bg1"/>
          </a:solidFill>
          <a:ln w="101600">
            <a:solidFill>
              <a:schemeClr val="bg1"/>
            </a:solidFill>
          </a:ln>
        </p:spPr>
        <p:txBody>
          <a:bodyPr/>
          <a:lstStyle>
            <a:lvl1pPr>
              <a:defRPr>
                <a:noFill/>
              </a:defRPr>
            </a:lvl1pPr>
          </a:lstStyle>
          <a:p>
            <a:endParaRPr lang="en-US"/>
          </a:p>
        </p:txBody>
      </p:sp>
      <p:sp>
        <p:nvSpPr>
          <p:cNvPr id="33" name="Text Placeholder 12">
            <a:extLst>
              <a:ext uri="{FF2B5EF4-FFF2-40B4-BE49-F238E27FC236}">
                <a16:creationId xmlns:a16="http://schemas.microsoft.com/office/drawing/2014/main" id="{7E1499F1-B302-4244-9F4B-E961677B8CF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833841" y="1509357"/>
            <a:ext cx="2766483" cy="861483"/>
          </a:xfrm>
          <a:prstGeom prst="rect">
            <a:avLst/>
          </a:prstGeom>
        </p:spPr>
        <p:txBody>
          <a:bodyPr anchor="ctr" anchorCtr="0"/>
          <a:lstStyle>
            <a:lvl1pPr marL="0" marR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67" b="0" i="0">
                <a:solidFill>
                  <a:schemeClr val="tx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defRPr>
            </a:lvl1pPr>
            <a:lvl2pPr>
              <a:defRPr sz="1867"/>
            </a:lvl2pPr>
            <a:lvl3pPr>
              <a:defRPr sz="1867"/>
            </a:lvl3pPr>
            <a:lvl4pPr>
              <a:defRPr sz="1867"/>
            </a:lvl4pPr>
            <a:lvl5pPr>
              <a:defRPr sz="1867"/>
            </a:lvl5pPr>
          </a:lstStyle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lang="en-US" u="none" strike="noStrike" cap="none">
              <a:solidFill>
                <a:schemeClr val="tx1"/>
              </a:solidFill>
              <a:latin typeface="CiscoSansTT ExtraLight" panose="020B0303020201020303" pitchFamily="34" charset="0"/>
              <a:ea typeface="Helvetica Neue Light"/>
              <a:cs typeface="CiscoSansTT ExtraLight" panose="020B0303020201020303" pitchFamily="34" charset="0"/>
              <a:sym typeface="Helvetica Neue Light"/>
            </a:endParaRPr>
          </a:p>
        </p:txBody>
      </p:sp>
      <p:sp>
        <p:nvSpPr>
          <p:cNvPr id="34" name="Text Placeholder 12">
            <a:extLst>
              <a:ext uri="{FF2B5EF4-FFF2-40B4-BE49-F238E27FC236}">
                <a16:creationId xmlns:a16="http://schemas.microsoft.com/office/drawing/2014/main" id="{B0D407D6-7492-4E30-AEE9-8213712AA5D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33841" y="2998259"/>
            <a:ext cx="2766483" cy="861483"/>
          </a:xfrm>
          <a:prstGeom prst="rect">
            <a:avLst/>
          </a:prstGeom>
        </p:spPr>
        <p:txBody>
          <a:bodyPr anchor="ctr" anchorCtr="0"/>
          <a:lstStyle>
            <a:lvl1pPr marL="0" marR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67" b="0" i="0">
                <a:solidFill>
                  <a:schemeClr val="tx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defRPr>
            </a:lvl1pPr>
            <a:lvl2pPr>
              <a:defRPr sz="1867"/>
            </a:lvl2pPr>
            <a:lvl3pPr>
              <a:defRPr sz="1867"/>
            </a:lvl3pPr>
            <a:lvl4pPr>
              <a:defRPr sz="1867"/>
            </a:lvl4pPr>
            <a:lvl5pPr>
              <a:defRPr sz="1867"/>
            </a:lvl5pPr>
          </a:lstStyle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lang="en-US" u="none" strike="noStrike" cap="none">
              <a:solidFill>
                <a:schemeClr val="tx1"/>
              </a:solidFill>
              <a:latin typeface="CiscoSansTT ExtraLight" panose="020B0303020201020303" pitchFamily="34" charset="0"/>
              <a:ea typeface="Helvetica Neue Light"/>
              <a:cs typeface="CiscoSansTT ExtraLight" panose="020B0303020201020303" pitchFamily="34" charset="0"/>
              <a:sym typeface="Helvetica Neue Light"/>
            </a:endParaRPr>
          </a:p>
        </p:txBody>
      </p:sp>
      <p:sp>
        <p:nvSpPr>
          <p:cNvPr id="35" name="Text Placeholder 12">
            <a:extLst>
              <a:ext uri="{FF2B5EF4-FFF2-40B4-BE49-F238E27FC236}">
                <a16:creationId xmlns:a16="http://schemas.microsoft.com/office/drawing/2014/main" id="{316ECD5F-A89A-4519-8234-D410807D88C4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7833841" y="4515277"/>
            <a:ext cx="2766483" cy="861483"/>
          </a:xfrm>
          <a:prstGeom prst="rect">
            <a:avLst/>
          </a:prstGeom>
        </p:spPr>
        <p:txBody>
          <a:bodyPr anchor="ctr" anchorCtr="0"/>
          <a:lstStyle>
            <a:lvl1pPr marL="0" marR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67" b="0" i="0">
                <a:solidFill>
                  <a:schemeClr val="tx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defRPr>
            </a:lvl1pPr>
            <a:lvl2pPr>
              <a:defRPr sz="1867"/>
            </a:lvl2pPr>
            <a:lvl3pPr>
              <a:defRPr sz="1867"/>
            </a:lvl3pPr>
            <a:lvl4pPr>
              <a:defRPr sz="1867"/>
            </a:lvl4pPr>
            <a:lvl5pPr>
              <a:defRPr sz="1867"/>
            </a:lvl5pPr>
          </a:lstStyle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lang="en-US" u="none" strike="noStrike" cap="none">
              <a:solidFill>
                <a:schemeClr val="tx1"/>
              </a:solidFill>
              <a:latin typeface="CiscoSansTT ExtraLight" panose="020B0303020201020303" pitchFamily="34" charset="0"/>
              <a:ea typeface="Helvetica Neue Light"/>
              <a:cs typeface="CiscoSansTT ExtraLight" panose="020B0303020201020303" pitchFamily="34" charset="0"/>
              <a:sym typeface="Helvetica Neue Light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58FD7D9-142A-4FD6-9261-E6EE8E9A36D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1200" y="709084"/>
            <a:ext cx="4106333" cy="216111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752950237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4">
            <a:extLst>
              <a:ext uri="{FF2B5EF4-FFF2-40B4-BE49-F238E27FC236}">
                <a16:creationId xmlns:a16="http://schemas.microsoft.com/office/drawing/2014/main" id="{E533B4C3-00C3-4EE9-9CE8-212AE8648688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1989" cy="6858000"/>
          </a:xfrm>
          <a:prstGeom prst="rect">
            <a:avLst/>
          </a:prstGeom>
          <a:solidFill>
            <a:srgbClr val="EDF1F6"/>
          </a:solidFill>
        </p:spPr>
        <p:txBody>
          <a:bodyPr/>
          <a:lstStyle>
            <a:lvl1pPr>
              <a:defRPr>
                <a:noFill/>
              </a:defRPr>
            </a:lvl1pPr>
          </a:lstStyle>
          <a:p>
            <a:endParaRPr lang="en-US"/>
          </a:p>
        </p:txBody>
      </p:sp>
      <p:sp>
        <p:nvSpPr>
          <p:cNvPr id="9" name="Picture Placeholder 6">
            <a:extLst>
              <a:ext uri="{FF2B5EF4-FFF2-40B4-BE49-F238E27FC236}">
                <a16:creationId xmlns:a16="http://schemas.microsoft.com/office/drawing/2014/main" id="{D6741ED8-910C-4652-B7B9-9AAF0CBFA206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" y="0"/>
            <a:ext cx="12196233" cy="6858000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>
                <a:noFill/>
              </a:defRPr>
            </a:lvl1pPr>
          </a:lstStyle>
          <a:p>
            <a:endParaRPr lang="en-US"/>
          </a:p>
        </p:txBody>
      </p:sp>
      <p:sp>
        <p:nvSpPr>
          <p:cNvPr id="12" name="Text Placeholder 21">
            <a:extLst>
              <a:ext uri="{FF2B5EF4-FFF2-40B4-BE49-F238E27FC236}">
                <a16:creationId xmlns:a16="http://schemas.microsoft.com/office/drawing/2014/main" id="{265E67DC-0D39-434C-8F32-63A1AD0CD7F3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5334823" y="4999433"/>
            <a:ext cx="1641299" cy="361041"/>
          </a:xfrm>
          <a:prstGeom prst="rect">
            <a:avLst/>
          </a:prstGeom>
        </p:spPr>
        <p:txBody>
          <a:bodyPr/>
          <a:lstStyle>
            <a:lvl1pPr algn="ctr">
              <a:defRPr sz="1600" b="0" i="0">
                <a:solidFill>
                  <a:schemeClr val="bg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defRPr>
            </a:lvl1pPr>
          </a:lstStyle>
          <a:p>
            <a:pPr lvl="0"/>
            <a:r>
              <a:rPr lang="en-GB"/>
              <a:t>Person Name</a:t>
            </a:r>
            <a:endParaRPr lang="en-US"/>
          </a:p>
        </p:txBody>
      </p:sp>
      <p:sp>
        <p:nvSpPr>
          <p:cNvPr id="15" name="Text Placeholder 9">
            <a:extLst>
              <a:ext uri="{FF2B5EF4-FFF2-40B4-BE49-F238E27FC236}">
                <a16:creationId xmlns:a16="http://schemas.microsoft.com/office/drawing/2014/main" id="{970925D7-95D9-DE4C-8670-93C1A5195C5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166400" y="1645377"/>
            <a:ext cx="8090227" cy="2731552"/>
          </a:xfrm>
          <a:prstGeom prst="rect">
            <a:avLst/>
          </a:prstGeom>
        </p:spPr>
        <p:txBody>
          <a:bodyPr/>
          <a:lstStyle>
            <a:lvl1pPr algn="ctr">
              <a:defRPr sz="2933" b="0" i="0">
                <a:solidFill>
                  <a:schemeClr val="bg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defRPr>
            </a:lvl1pPr>
            <a:lvl2pPr>
              <a:defRPr sz="2933" b="0" i="0">
                <a:solidFill>
                  <a:schemeClr val="tx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defRPr>
            </a:lvl2pPr>
            <a:lvl3pPr>
              <a:defRPr sz="2933" b="0" i="0">
                <a:solidFill>
                  <a:schemeClr val="tx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defRPr>
            </a:lvl3pPr>
            <a:lvl4pPr>
              <a:defRPr sz="2933" b="0" i="0">
                <a:solidFill>
                  <a:schemeClr val="tx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defRPr>
            </a:lvl4pPr>
            <a:lvl5pPr>
              <a:defRPr sz="2933" b="0" i="0">
                <a:solidFill>
                  <a:schemeClr val="tx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defRPr>
            </a:lvl5pPr>
          </a:lstStyle>
          <a:p>
            <a:pPr lvl="0"/>
            <a:r>
              <a:rPr lang="en-US" sz="3200">
                <a:solidFill>
                  <a:srgbClr val="FFFFFF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  <a:sym typeface="Helvetica Neue Light"/>
              </a:rPr>
              <a:t>Insert text here</a:t>
            </a:r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B6836383-F45D-47B3-ADBF-08BDF7D3AABD}"/>
              </a:ext>
            </a:extLst>
          </p:cNvPr>
          <p:cNvSpPr/>
          <p:nvPr userDrawn="1"/>
        </p:nvSpPr>
        <p:spPr>
          <a:xfrm>
            <a:off x="-1" y="-844774"/>
            <a:ext cx="12196233" cy="749580"/>
          </a:xfrm>
          <a:prstGeom prst="rect">
            <a:avLst/>
          </a:prstGeom>
          <a:solidFill>
            <a:srgbClr val="EDF1F6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2400">
                <a:solidFill>
                  <a:schemeClr val="tx1"/>
                </a:solidFill>
              </a:rPr>
              <a:t>PLEASE NOTE:</a:t>
            </a:r>
          </a:p>
          <a:p>
            <a:pPr algn="ctr"/>
            <a:r>
              <a:rPr lang="en-US" sz="2400">
                <a:solidFill>
                  <a:schemeClr val="tx1"/>
                </a:solidFill>
              </a:rPr>
              <a:t>In order to insert an image into the background, simply drag and drop your image onto the slide</a:t>
            </a:r>
          </a:p>
        </p:txBody>
      </p:sp>
    </p:spTree>
    <p:extLst>
      <p:ext uri="{BB962C8B-B14F-4D97-AF65-F5344CB8AC3E}">
        <p14:creationId xmlns:p14="http://schemas.microsoft.com/office/powerpoint/2010/main" val="4275647321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Text Placeholder 34">
            <a:extLst>
              <a:ext uri="{FF2B5EF4-FFF2-40B4-BE49-F238E27FC236}">
                <a16:creationId xmlns:a16="http://schemas.microsoft.com/office/drawing/2014/main" id="{104628BA-4C61-8440-A07A-B41A776F3B7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19667" y="3429000"/>
            <a:ext cx="3784600" cy="1985864"/>
          </a:xfrm>
          <a:prstGeom prst="rect">
            <a:avLst/>
          </a:prstGeom>
        </p:spPr>
        <p:txBody>
          <a:bodyPr/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 sz="1600" b="0" i="0">
                <a:solidFill>
                  <a:schemeClr val="tx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defRPr>
            </a:lvl1pPr>
          </a:lstStyle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lang="en-US" sz="1600">
                <a:solidFill>
                  <a:schemeClr val="tx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rPr>
              <a:t>Duis </a:t>
            </a:r>
            <a:r>
              <a:rPr lang="en-US" sz="1600" err="1">
                <a:solidFill>
                  <a:schemeClr val="tx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rPr>
              <a:t>viverra</a:t>
            </a:r>
            <a:r>
              <a:rPr lang="en-US" sz="1600">
                <a:solidFill>
                  <a:schemeClr val="tx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rPr>
              <a:t> ipsum </a:t>
            </a:r>
            <a:r>
              <a:rPr lang="en-US" sz="1600" err="1">
                <a:solidFill>
                  <a:schemeClr val="tx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rPr>
              <a:t>odio</a:t>
            </a:r>
            <a:r>
              <a:rPr lang="en-US" sz="1600">
                <a:solidFill>
                  <a:schemeClr val="tx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rPr>
              <a:t>, </a:t>
            </a:r>
            <a:r>
              <a:rPr lang="en-US" sz="1600" err="1">
                <a:solidFill>
                  <a:schemeClr val="tx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rPr>
              <a:t>efficitur</a:t>
            </a:r>
            <a:r>
              <a:rPr lang="en-US" sz="1600">
                <a:solidFill>
                  <a:schemeClr val="tx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rPr>
              <a:t> </a:t>
            </a:r>
            <a:r>
              <a:rPr lang="en-US" sz="1600" err="1">
                <a:solidFill>
                  <a:schemeClr val="tx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rPr>
              <a:t>suscipit</a:t>
            </a:r>
            <a:r>
              <a:rPr lang="en-US" sz="1600">
                <a:solidFill>
                  <a:schemeClr val="tx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rPr>
              <a:t> </a:t>
            </a:r>
            <a:r>
              <a:rPr lang="en-US" sz="1600" err="1">
                <a:solidFill>
                  <a:schemeClr val="tx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rPr>
              <a:t>quam</a:t>
            </a:r>
            <a:r>
              <a:rPr lang="en-US" sz="1600">
                <a:solidFill>
                  <a:schemeClr val="tx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rPr>
              <a:t> </a:t>
            </a:r>
            <a:r>
              <a:rPr lang="en-US" sz="1600" err="1">
                <a:solidFill>
                  <a:schemeClr val="tx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rPr>
              <a:t>molestie</a:t>
            </a:r>
            <a:r>
              <a:rPr lang="en-US" sz="1600">
                <a:solidFill>
                  <a:schemeClr val="tx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rPr>
              <a:t> non. </a:t>
            </a:r>
            <a:r>
              <a:rPr lang="en-US" sz="1600" err="1">
                <a:solidFill>
                  <a:schemeClr val="tx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rPr>
              <a:t>Quisque</a:t>
            </a:r>
            <a:r>
              <a:rPr lang="en-US" sz="1600">
                <a:solidFill>
                  <a:schemeClr val="tx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rPr>
              <a:t> </a:t>
            </a:r>
            <a:r>
              <a:rPr lang="en-US" sz="1600" err="1">
                <a:solidFill>
                  <a:schemeClr val="tx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rPr>
              <a:t>lobortis</a:t>
            </a:r>
            <a:r>
              <a:rPr lang="en-US" sz="1600">
                <a:solidFill>
                  <a:schemeClr val="tx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rPr>
              <a:t> ante </a:t>
            </a:r>
            <a:r>
              <a:rPr lang="en-US" sz="1600" err="1">
                <a:solidFill>
                  <a:schemeClr val="tx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rPr>
              <a:t>nec</a:t>
            </a:r>
            <a:r>
              <a:rPr lang="en-US" sz="1600">
                <a:solidFill>
                  <a:schemeClr val="tx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rPr>
              <a:t> </a:t>
            </a:r>
            <a:r>
              <a:rPr lang="en-US" sz="1600" err="1">
                <a:solidFill>
                  <a:schemeClr val="tx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rPr>
              <a:t>urna</a:t>
            </a:r>
            <a:r>
              <a:rPr lang="en-US" sz="1600">
                <a:solidFill>
                  <a:schemeClr val="tx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rPr>
              <a:t> </a:t>
            </a:r>
            <a:r>
              <a:rPr lang="en-US" sz="1600" err="1">
                <a:solidFill>
                  <a:schemeClr val="tx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rPr>
              <a:t>egestas</a:t>
            </a:r>
            <a:r>
              <a:rPr lang="en-US" sz="1600">
                <a:solidFill>
                  <a:schemeClr val="tx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rPr>
              <a:t> </a:t>
            </a:r>
            <a:r>
              <a:rPr lang="en-US" sz="1600" err="1">
                <a:solidFill>
                  <a:schemeClr val="tx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rPr>
              <a:t>viverra</a:t>
            </a:r>
            <a:r>
              <a:rPr lang="en-US" sz="1600">
                <a:solidFill>
                  <a:schemeClr val="tx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rPr>
              <a:t>. </a:t>
            </a:r>
            <a:br>
              <a:rPr lang="en-US" sz="1600">
                <a:solidFill>
                  <a:schemeClr val="tx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rPr>
            </a:br>
            <a:br>
              <a:rPr lang="en-US" sz="1600">
                <a:solidFill>
                  <a:schemeClr val="tx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rPr>
            </a:br>
            <a:r>
              <a:rPr lang="en-US" sz="1600">
                <a:solidFill>
                  <a:schemeClr val="tx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rPr>
              <a:t>Sed vel ipsum </a:t>
            </a:r>
            <a:r>
              <a:rPr lang="en-US" sz="1600" err="1">
                <a:solidFill>
                  <a:schemeClr val="tx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rPr>
              <a:t>metus</a:t>
            </a:r>
            <a:r>
              <a:rPr lang="en-US" sz="1600">
                <a:solidFill>
                  <a:schemeClr val="tx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rPr>
              <a:t> sed </a:t>
            </a:r>
            <a:r>
              <a:rPr lang="en-US" sz="1600" err="1">
                <a:solidFill>
                  <a:schemeClr val="tx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rPr>
              <a:t>consectetur</a:t>
            </a:r>
            <a:r>
              <a:rPr lang="en-US" sz="1600">
                <a:solidFill>
                  <a:schemeClr val="tx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rPr>
              <a:t>.</a:t>
            </a:r>
            <a:endParaRPr lang="en-US" sz="1600">
              <a:solidFill>
                <a:schemeClr val="tx1"/>
              </a:solidFill>
              <a:latin typeface="CiscoSansTT ExtraLight" panose="020B0303020201020303" pitchFamily="34" charset="0"/>
              <a:cs typeface="CiscoSansTT ExtraLight" panose="020B0303020201020303" pitchFamily="34" charset="0"/>
              <a:sym typeface="Helvetica Neue Light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lang="en-US" sz="1600" u="none" strike="noStrike" cap="none">
              <a:solidFill>
                <a:schemeClr val="tx1"/>
              </a:solidFill>
              <a:latin typeface="CiscoSansTT ExtraLight" panose="020B0303020201020303" pitchFamily="34" charset="0"/>
              <a:ea typeface="Helvetica Neue Light"/>
              <a:cs typeface="CiscoSansTT ExtraLight" panose="020B0303020201020303" pitchFamily="34" charset="0"/>
              <a:sym typeface="Helvetica Neue Light"/>
            </a:endParaRPr>
          </a:p>
        </p:txBody>
      </p:sp>
      <p:sp>
        <p:nvSpPr>
          <p:cNvPr id="3" name="Table Placeholder 2">
            <a:extLst>
              <a:ext uri="{FF2B5EF4-FFF2-40B4-BE49-F238E27FC236}">
                <a16:creationId xmlns:a16="http://schemas.microsoft.com/office/drawing/2014/main" id="{291315C8-5372-429E-98A3-1CFB19671AA6}"/>
              </a:ext>
            </a:extLst>
          </p:cNvPr>
          <p:cNvSpPr>
            <a:spLocks noGrp="1"/>
          </p:cNvSpPr>
          <p:nvPr>
            <p:ph type="tbl" sz="quarter" idx="15"/>
          </p:nvPr>
        </p:nvSpPr>
        <p:spPr>
          <a:xfrm>
            <a:off x="4729167" y="1602317"/>
            <a:ext cx="6743167" cy="1152727"/>
          </a:xfrm>
          <a:prstGeom prst="rect">
            <a:avLst/>
          </a:prstGeom>
          <a:solidFill>
            <a:srgbClr val="EDF1F6"/>
          </a:solidFill>
        </p:spPr>
        <p:txBody>
          <a:bodyPr lIns="72000" tIns="72000" rIns="72000" bIns="72000" anchor="ctr" anchorCtr="0"/>
          <a:lstStyle>
            <a:lvl1pPr>
              <a:spcAft>
                <a:spcPts val="800"/>
              </a:spcAft>
              <a:defRPr sz="1600">
                <a:latin typeface="+mn-lt"/>
              </a:defRPr>
            </a:lvl1pPr>
          </a:lstStyle>
          <a:p>
            <a:endParaRPr lang="en-US"/>
          </a:p>
        </p:txBody>
      </p:sp>
      <p:sp>
        <p:nvSpPr>
          <p:cNvPr id="33" name="Table Placeholder 32">
            <a:extLst>
              <a:ext uri="{FF2B5EF4-FFF2-40B4-BE49-F238E27FC236}">
                <a16:creationId xmlns:a16="http://schemas.microsoft.com/office/drawing/2014/main" id="{76374512-DC03-4B83-BB85-85A3FBF236B1}"/>
              </a:ext>
            </a:extLst>
          </p:cNvPr>
          <p:cNvSpPr>
            <a:spLocks noGrp="1"/>
          </p:cNvSpPr>
          <p:nvPr>
            <p:ph type="tbl" sz="quarter" idx="16"/>
          </p:nvPr>
        </p:nvSpPr>
        <p:spPr>
          <a:xfrm>
            <a:off x="4729166" y="2949998"/>
            <a:ext cx="6743167" cy="1152727"/>
          </a:xfrm>
          <a:prstGeom prst="rect">
            <a:avLst/>
          </a:prstGeom>
          <a:solidFill>
            <a:srgbClr val="EDF1F6"/>
          </a:solidFill>
        </p:spPr>
        <p:txBody>
          <a:bodyPr lIns="72000" tIns="72000" rIns="72000" bIns="72000" anchor="ctr" anchorCtr="0"/>
          <a:lstStyle>
            <a:lvl1pPr>
              <a:spcAft>
                <a:spcPts val="800"/>
              </a:spcAft>
              <a:defRPr lang="en-US" sz="1600">
                <a:latin typeface="+mn-lt"/>
              </a:defRPr>
            </a:lvl1pPr>
          </a:lstStyle>
          <a:p>
            <a:pPr lvl="0"/>
            <a:endParaRPr lang="en-US"/>
          </a:p>
        </p:txBody>
      </p:sp>
      <p:sp>
        <p:nvSpPr>
          <p:cNvPr id="36" name="Table Placeholder 35">
            <a:extLst>
              <a:ext uri="{FF2B5EF4-FFF2-40B4-BE49-F238E27FC236}">
                <a16:creationId xmlns:a16="http://schemas.microsoft.com/office/drawing/2014/main" id="{80CAC521-2683-4449-93C6-87F52104BE7A}"/>
              </a:ext>
            </a:extLst>
          </p:cNvPr>
          <p:cNvSpPr>
            <a:spLocks noGrp="1"/>
          </p:cNvSpPr>
          <p:nvPr>
            <p:ph type="tbl" sz="quarter" idx="17"/>
          </p:nvPr>
        </p:nvSpPr>
        <p:spPr>
          <a:xfrm>
            <a:off x="4729166" y="4297681"/>
            <a:ext cx="6743165" cy="1152727"/>
          </a:xfrm>
          <a:prstGeom prst="rect">
            <a:avLst/>
          </a:prstGeom>
          <a:solidFill>
            <a:srgbClr val="EDF1F6"/>
          </a:solidFill>
        </p:spPr>
        <p:txBody>
          <a:bodyPr lIns="72000" tIns="72000" rIns="72000" bIns="72000" anchor="ctr" anchorCtr="0"/>
          <a:lstStyle>
            <a:lvl1pPr>
              <a:spcAft>
                <a:spcPts val="800"/>
              </a:spcAft>
              <a:defRPr lang="en-US" sz="1600">
                <a:latin typeface="+mn-lt"/>
              </a:defRPr>
            </a:lvl1pPr>
          </a:lstStyle>
          <a:p>
            <a:pPr lvl="0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BD9AED8-6A3B-4418-8A35-72D2020889F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1200" y="2070100"/>
            <a:ext cx="3793067" cy="1358899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354782527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C7ACAD07-0E9D-41D1-BC32-C16D2E362C07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14300" y="408213"/>
            <a:ext cx="1193801" cy="1194105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>
                <a:noFill/>
              </a:defRPr>
            </a:lvl1pPr>
          </a:lstStyle>
          <a:p>
            <a:endParaRPr lang="en-US"/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54B24C29-5325-4B17-B777-A01160F2BFEF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996000"/>
            <a:ext cx="5846533" cy="4672800"/>
          </a:xfrm>
          <a:custGeom>
            <a:avLst/>
            <a:gdLst>
              <a:gd name="connsiteX0" fmla="*/ 127600 w 4384900"/>
              <a:gd name="connsiteY0" fmla="*/ 0 h 3504600"/>
              <a:gd name="connsiteX1" fmla="*/ 2632600 w 4384900"/>
              <a:gd name="connsiteY1" fmla="*/ 0 h 3504600"/>
              <a:gd name="connsiteX2" fmla="*/ 4384900 w 4384900"/>
              <a:gd name="connsiteY2" fmla="*/ 1752300 h 3504600"/>
              <a:gd name="connsiteX3" fmla="*/ 2632600 w 4384900"/>
              <a:gd name="connsiteY3" fmla="*/ 3504600 h 3504600"/>
              <a:gd name="connsiteX4" fmla="*/ 127600 w 4384900"/>
              <a:gd name="connsiteY4" fmla="*/ 3504600 h 3504600"/>
              <a:gd name="connsiteX5" fmla="*/ 0 w 4384900"/>
              <a:gd name="connsiteY5" fmla="*/ 3498157 h 3504600"/>
              <a:gd name="connsiteX6" fmla="*/ 0 w 4384900"/>
              <a:gd name="connsiteY6" fmla="*/ 6443 h 3504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384900" h="3504600">
                <a:moveTo>
                  <a:pt x="127600" y="0"/>
                </a:moveTo>
                <a:lnTo>
                  <a:pt x="2632600" y="0"/>
                </a:lnTo>
                <a:cubicBezTo>
                  <a:pt x="3600369" y="0"/>
                  <a:pt x="4384900" y="784531"/>
                  <a:pt x="4384900" y="1752300"/>
                </a:cubicBezTo>
                <a:cubicBezTo>
                  <a:pt x="4384900" y="2720069"/>
                  <a:pt x="3600369" y="3504600"/>
                  <a:pt x="2632600" y="3504600"/>
                </a:cubicBezTo>
                <a:lnTo>
                  <a:pt x="127600" y="3504600"/>
                </a:lnTo>
                <a:lnTo>
                  <a:pt x="0" y="3498157"/>
                </a:lnTo>
                <a:lnTo>
                  <a:pt x="0" y="6443"/>
                </a:lnTo>
                <a:close/>
              </a:path>
            </a:pathLst>
          </a:custGeom>
          <a:solidFill>
            <a:srgbClr val="EDF1F6"/>
          </a:solidFill>
        </p:spPr>
        <p:txBody>
          <a:bodyPr wrap="square">
            <a:noAutofit/>
          </a:bodyPr>
          <a:lstStyle/>
          <a:p>
            <a:endParaRPr lang="en-US"/>
          </a:p>
        </p:txBody>
      </p:sp>
      <p:sp>
        <p:nvSpPr>
          <p:cNvPr id="8" name="Text Placeholder 34">
            <a:extLst>
              <a:ext uri="{FF2B5EF4-FFF2-40B4-BE49-F238E27FC236}">
                <a16:creationId xmlns:a16="http://schemas.microsoft.com/office/drawing/2014/main" id="{51001CE0-F65B-2E4E-AE64-C00B92C9DFD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991351" y="2531594"/>
            <a:ext cx="3587749" cy="2679639"/>
          </a:xfrm>
          <a:prstGeom prst="rect">
            <a:avLst/>
          </a:prstGeom>
        </p:spPr>
        <p:txBody>
          <a:bodyPr/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 sz="1600" b="0" i="0">
                <a:solidFill>
                  <a:schemeClr val="tx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defRPr>
            </a:lvl1pPr>
          </a:lstStyle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lang="en-US" sz="1600">
                <a:solidFill>
                  <a:schemeClr val="tx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rPr>
              <a:t>Duis </a:t>
            </a:r>
            <a:r>
              <a:rPr lang="en-US" sz="1600" err="1">
                <a:solidFill>
                  <a:schemeClr val="tx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rPr>
              <a:t>viverra</a:t>
            </a:r>
            <a:r>
              <a:rPr lang="en-US" sz="1600">
                <a:solidFill>
                  <a:schemeClr val="tx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rPr>
              <a:t> ipsum </a:t>
            </a:r>
            <a:r>
              <a:rPr lang="en-US" sz="1600" err="1">
                <a:solidFill>
                  <a:schemeClr val="tx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rPr>
              <a:t>odio</a:t>
            </a:r>
            <a:r>
              <a:rPr lang="en-US" sz="1600">
                <a:solidFill>
                  <a:schemeClr val="tx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rPr>
              <a:t>, </a:t>
            </a:r>
            <a:r>
              <a:rPr lang="en-US" sz="1600" err="1">
                <a:solidFill>
                  <a:schemeClr val="tx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rPr>
              <a:t>efficitur</a:t>
            </a:r>
            <a:r>
              <a:rPr lang="en-US" sz="1600">
                <a:solidFill>
                  <a:schemeClr val="tx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rPr>
              <a:t> </a:t>
            </a:r>
            <a:r>
              <a:rPr lang="en-US" sz="1600" err="1">
                <a:solidFill>
                  <a:schemeClr val="tx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rPr>
              <a:t>suscipit</a:t>
            </a:r>
            <a:r>
              <a:rPr lang="en-US" sz="1600">
                <a:solidFill>
                  <a:schemeClr val="tx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rPr>
              <a:t> </a:t>
            </a:r>
            <a:r>
              <a:rPr lang="en-US" sz="1600" err="1">
                <a:solidFill>
                  <a:schemeClr val="tx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rPr>
              <a:t>quam</a:t>
            </a:r>
            <a:r>
              <a:rPr lang="en-US" sz="1600">
                <a:solidFill>
                  <a:schemeClr val="tx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rPr>
              <a:t> </a:t>
            </a:r>
            <a:r>
              <a:rPr lang="en-US" sz="1600" err="1">
                <a:solidFill>
                  <a:schemeClr val="tx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rPr>
              <a:t>molestie</a:t>
            </a:r>
            <a:r>
              <a:rPr lang="en-US" sz="1600">
                <a:solidFill>
                  <a:schemeClr val="tx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rPr>
              <a:t> non. </a:t>
            </a:r>
            <a:r>
              <a:rPr lang="en-US" sz="1600" err="1">
                <a:solidFill>
                  <a:schemeClr val="tx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rPr>
              <a:t>Quisque</a:t>
            </a:r>
            <a:r>
              <a:rPr lang="en-US" sz="1600">
                <a:solidFill>
                  <a:schemeClr val="tx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rPr>
              <a:t> </a:t>
            </a:r>
            <a:r>
              <a:rPr lang="en-US" sz="1600" err="1">
                <a:solidFill>
                  <a:schemeClr val="tx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rPr>
              <a:t>lobortis</a:t>
            </a:r>
            <a:r>
              <a:rPr lang="en-US" sz="1600">
                <a:solidFill>
                  <a:schemeClr val="tx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rPr>
              <a:t> ante </a:t>
            </a:r>
            <a:r>
              <a:rPr lang="en-US" sz="1600" err="1">
                <a:solidFill>
                  <a:schemeClr val="tx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rPr>
              <a:t>nec</a:t>
            </a:r>
            <a:r>
              <a:rPr lang="en-US" sz="1600">
                <a:solidFill>
                  <a:schemeClr val="tx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rPr>
              <a:t> </a:t>
            </a:r>
            <a:r>
              <a:rPr lang="en-US" sz="1600" err="1">
                <a:solidFill>
                  <a:schemeClr val="tx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rPr>
              <a:t>urna</a:t>
            </a:r>
            <a:r>
              <a:rPr lang="en-US" sz="1600">
                <a:solidFill>
                  <a:schemeClr val="tx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rPr>
              <a:t> </a:t>
            </a:r>
            <a:r>
              <a:rPr lang="en-US" sz="1600" err="1">
                <a:solidFill>
                  <a:schemeClr val="tx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rPr>
              <a:t>egestas</a:t>
            </a:r>
            <a:r>
              <a:rPr lang="en-US" sz="1600">
                <a:solidFill>
                  <a:schemeClr val="tx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rPr>
              <a:t> </a:t>
            </a:r>
            <a:r>
              <a:rPr lang="en-US" sz="1600" err="1">
                <a:solidFill>
                  <a:schemeClr val="tx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rPr>
              <a:t>viverra</a:t>
            </a:r>
            <a:r>
              <a:rPr lang="en-US" sz="1600">
                <a:solidFill>
                  <a:schemeClr val="tx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rPr>
              <a:t>. </a:t>
            </a:r>
            <a:br>
              <a:rPr lang="en-US" sz="1600">
                <a:solidFill>
                  <a:schemeClr val="tx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rPr>
            </a:br>
            <a:br>
              <a:rPr lang="en-US" sz="1600">
                <a:solidFill>
                  <a:schemeClr val="tx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rPr>
            </a:br>
            <a:r>
              <a:rPr lang="en-US" sz="1600">
                <a:solidFill>
                  <a:schemeClr val="tx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rPr>
              <a:t>Sed vel ipsum </a:t>
            </a:r>
            <a:r>
              <a:rPr lang="en-US" sz="1600" err="1">
                <a:solidFill>
                  <a:schemeClr val="tx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rPr>
              <a:t>metus</a:t>
            </a:r>
            <a:r>
              <a:rPr lang="en-US" sz="1600">
                <a:solidFill>
                  <a:schemeClr val="tx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rPr>
              <a:t> sed </a:t>
            </a:r>
            <a:r>
              <a:rPr lang="en-US" sz="1600" err="1">
                <a:solidFill>
                  <a:schemeClr val="tx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rPr>
              <a:t>consectetur</a:t>
            </a:r>
            <a:r>
              <a:rPr lang="en-US" sz="1600">
                <a:solidFill>
                  <a:schemeClr val="tx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rPr>
              <a:t>.</a:t>
            </a:r>
            <a:endParaRPr lang="en-US" sz="1600">
              <a:solidFill>
                <a:schemeClr val="tx1"/>
              </a:solidFill>
              <a:latin typeface="CiscoSansTT ExtraLight" panose="020B0303020201020303" pitchFamily="34" charset="0"/>
              <a:cs typeface="CiscoSansTT ExtraLight" panose="020B0303020201020303" pitchFamily="34" charset="0"/>
              <a:sym typeface="Helvetica Neue Light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lang="en-US" sz="1600" u="none" strike="noStrike" cap="none">
              <a:solidFill>
                <a:schemeClr val="tx1"/>
              </a:solidFill>
              <a:latin typeface="CiscoSansTT ExtraLight" panose="020B0303020201020303" pitchFamily="34" charset="0"/>
              <a:ea typeface="Helvetica Neue Light"/>
              <a:cs typeface="CiscoSansTT ExtraLight" panose="020B0303020201020303" pitchFamily="34" charset="0"/>
              <a:sym typeface="Helvetica Neue Light"/>
            </a:endParaRP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7F88E966-67A3-774E-A25D-4F72AE08C37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991351" y="1612900"/>
            <a:ext cx="3587749" cy="918693"/>
          </a:xfrm>
          <a:prstGeom prst="rect">
            <a:avLst/>
          </a:prstGeom>
        </p:spPr>
        <p:txBody>
          <a:bodyPr/>
          <a:lstStyle>
            <a:lvl1pPr>
              <a:defRPr sz="2933" b="0" i="0">
                <a:solidFill>
                  <a:schemeClr val="tx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defRPr>
            </a:lvl1pPr>
            <a:lvl2pPr>
              <a:defRPr sz="2933" b="0" i="0">
                <a:solidFill>
                  <a:schemeClr val="tx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defRPr>
            </a:lvl2pPr>
            <a:lvl3pPr>
              <a:defRPr sz="2933" b="0" i="0">
                <a:solidFill>
                  <a:schemeClr val="tx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defRPr>
            </a:lvl3pPr>
            <a:lvl4pPr>
              <a:defRPr sz="2933" b="0" i="0">
                <a:solidFill>
                  <a:schemeClr val="tx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defRPr>
            </a:lvl4pPr>
            <a:lvl5pPr>
              <a:defRPr sz="2933" b="0" i="0">
                <a:solidFill>
                  <a:schemeClr val="tx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defRPr>
            </a:lvl5pPr>
          </a:lstStyle>
          <a:p>
            <a:pPr lvl="0"/>
            <a:r>
              <a:rPr lang="en-GB"/>
              <a:t>Lorem ipsum </a:t>
            </a:r>
            <a:r>
              <a:rPr lang="en-GB" err="1"/>
              <a:t>dolor</a:t>
            </a:r>
            <a:endParaRPr lang="en-US"/>
          </a:p>
        </p:txBody>
      </p:sp>
      <p:sp>
        <p:nvSpPr>
          <p:cNvPr id="13" name="Picture Placeholder 11">
            <a:extLst>
              <a:ext uri="{FF2B5EF4-FFF2-40B4-BE49-F238E27FC236}">
                <a16:creationId xmlns:a16="http://schemas.microsoft.com/office/drawing/2014/main" id="{415A6F53-7A2A-446D-BE6F-72DFEBE1D528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3841748" y="4719861"/>
            <a:ext cx="1401181" cy="1401539"/>
          </a:xfrm>
          <a:prstGeom prst="rect">
            <a:avLst/>
          </a:prstGeom>
          <a:blipFill>
            <a:blip r:embed="rId3"/>
            <a:stretch>
              <a:fillRect/>
            </a:stretch>
          </a:blipFill>
        </p:spPr>
        <p:txBody>
          <a:bodyPr/>
          <a:lstStyle>
            <a:lvl1pPr>
              <a:defRPr>
                <a:noFill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64702790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628178E9-5DA9-44DD-AADF-420059B1CD5D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10591799" y="488950"/>
            <a:ext cx="1301751" cy="1301751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>
                <a:noFill/>
              </a:defRPr>
            </a:lvl1pPr>
          </a:lstStyle>
          <a:p>
            <a:endParaRPr lang="en-US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F78B2954-CFD9-4530-9B20-E3B0177074C0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21434" y="1044900"/>
            <a:ext cx="6670565" cy="4873997"/>
          </a:xfrm>
          <a:custGeom>
            <a:avLst/>
            <a:gdLst>
              <a:gd name="connsiteX0" fmla="*/ 1827750 w 5002924"/>
              <a:gd name="connsiteY0" fmla="*/ 0 h 3655498"/>
              <a:gd name="connsiteX1" fmla="*/ 5002924 w 5002924"/>
              <a:gd name="connsiteY1" fmla="*/ 0 h 3655498"/>
              <a:gd name="connsiteX2" fmla="*/ 5002924 w 5002924"/>
              <a:gd name="connsiteY2" fmla="*/ 3655498 h 3655498"/>
              <a:gd name="connsiteX3" fmla="*/ 1827711 w 5002924"/>
              <a:gd name="connsiteY3" fmla="*/ 3655498 h 3655498"/>
              <a:gd name="connsiteX4" fmla="*/ 1640874 w 5002924"/>
              <a:gd name="connsiteY4" fmla="*/ 3646064 h 3655498"/>
              <a:gd name="connsiteX5" fmla="*/ 0 w 5002924"/>
              <a:gd name="connsiteY5" fmla="*/ 1827750 h 3655498"/>
              <a:gd name="connsiteX6" fmla="*/ 1827750 w 5002924"/>
              <a:gd name="connsiteY6" fmla="*/ 0 h 36554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002924" h="3655498">
                <a:moveTo>
                  <a:pt x="1827750" y="0"/>
                </a:moveTo>
                <a:lnTo>
                  <a:pt x="5002924" y="0"/>
                </a:lnTo>
                <a:lnTo>
                  <a:pt x="5002924" y="3655498"/>
                </a:lnTo>
                <a:lnTo>
                  <a:pt x="1827711" y="3655498"/>
                </a:lnTo>
                <a:lnTo>
                  <a:pt x="1640874" y="3646064"/>
                </a:lnTo>
                <a:cubicBezTo>
                  <a:pt x="719220" y="3552465"/>
                  <a:pt x="0" y="2774098"/>
                  <a:pt x="0" y="1827750"/>
                </a:cubicBezTo>
                <a:cubicBezTo>
                  <a:pt x="0" y="818312"/>
                  <a:pt x="818312" y="0"/>
                  <a:pt x="1827750" y="0"/>
                </a:cubicBezTo>
                <a:close/>
              </a:path>
            </a:pathLst>
          </a:custGeom>
          <a:solidFill>
            <a:srgbClr val="EDF1F6"/>
          </a:solidFill>
        </p:spPr>
        <p:txBody>
          <a:bodyPr wrap="square">
            <a:noAutofit/>
          </a:bodyPr>
          <a:lstStyle/>
          <a:p>
            <a:endParaRPr lang="en-US"/>
          </a:p>
        </p:txBody>
      </p:sp>
      <p:sp>
        <p:nvSpPr>
          <p:cNvPr id="12" name="Picture Placeholder 10">
            <a:extLst>
              <a:ext uri="{FF2B5EF4-FFF2-40B4-BE49-F238E27FC236}">
                <a16:creationId xmlns:a16="http://schemas.microsoft.com/office/drawing/2014/main" id="{0CCB00C6-BCBD-452F-819F-42406F8787EE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629399" y="5283200"/>
            <a:ext cx="984253" cy="984251"/>
          </a:xfrm>
          <a:prstGeom prst="rect">
            <a:avLst/>
          </a:prstGeom>
          <a:blipFill>
            <a:blip r:embed="rId3"/>
            <a:stretch>
              <a:fillRect/>
            </a:stretch>
          </a:blipFill>
        </p:spPr>
        <p:txBody>
          <a:bodyPr/>
          <a:lstStyle>
            <a:lvl1pPr>
              <a:defRPr>
                <a:noFill/>
              </a:defRPr>
            </a:lvl1pPr>
          </a:lstStyle>
          <a:p>
            <a:endParaRPr lang="en-US"/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41E0EB8A-C974-4157-ACB5-9C435793D71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719667" y="2967567"/>
            <a:ext cx="4029048" cy="2807757"/>
          </a:xfrm>
          <a:prstGeom prst="rect">
            <a:avLst/>
          </a:prstGeom>
        </p:spPr>
        <p:txBody>
          <a:bodyPr/>
          <a:lstStyle>
            <a:lvl1pPr marL="0" indent="0">
              <a:spcAft>
                <a:spcPts val="1600"/>
              </a:spcAft>
              <a:buFont typeface="Arial" panose="020B0604020202020204" pitchFamily="34" charset="0"/>
              <a:buNone/>
              <a:defRPr>
                <a:solidFill>
                  <a:schemeClr val="bg2"/>
                </a:solidFill>
                <a:latin typeface="+mn-lt"/>
              </a:defRPr>
            </a:lvl1pPr>
            <a:lvl2pPr marL="0" indent="0">
              <a:spcAft>
                <a:spcPts val="1600"/>
              </a:spcAft>
              <a:buFont typeface="Arial" panose="020B0604020202020204" pitchFamily="34" charset="0"/>
              <a:buNone/>
              <a:defRPr>
                <a:solidFill>
                  <a:schemeClr val="bg2"/>
                </a:solidFill>
                <a:latin typeface="+mn-lt"/>
              </a:defRPr>
            </a:lvl2pPr>
            <a:lvl3pPr marL="0" indent="0">
              <a:spcAft>
                <a:spcPts val="1600"/>
              </a:spcAft>
              <a:buFont typeface="Arial" panose="020B0604020202020204" pitchFamily="34" charset="0"/>
              <a:buNone/>
              <a:defRPr>
                <a:solidFill>
                  <a:schemeClr val="bg2"/>
                </a:solidFill>
                <a:latin typeface="+mn-lt"/>
              </a:defRPr>
            </a:lvl3pPr>
            <a:lvl4pPr marL="0" indent="0">
              <a:spcAft>
                <a:spcPts val="1600"/>
              </a:spcAft>
              <a:buFont typeface="Arial" panose="020B0604020202020204" pitchFamily="34" charset="0"/>
              <a:buNone/>
              <a:defRPr>
                <a:solidFill>
                  <a:schemeClr val="bg2"/>
                </a:solidFill>
                <a:latin typeface="+mn-lt"/>
              </a:defRPr>
            </a:lvl4pPr>
            <a:lvl5pPr marL="0" indent="0">
              <a:spcAft>
                <a:spcPts val="1600"/>
              </a:spcAft>
              <a:buFont typeface="Arial" panose="020B0604020202020204" pitchFamily="34" charset="0"/>
              <a:buNone/>
              <a:defRPr>
                <a:solidFill>
                  <a:schemeClr val="bg2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3FB6EE8-88E3-4BE5-841A-466E49FAAF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667" y="1155702"/>
            <a:ext cx="4029047" cy="136313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610484696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" name="Google Shape;1224;p213">
            <a:extLst>
              <a:ext uri="{FF2B5EF4-FFF2-40B4-BE49-F238E27FC236}">
                <a16:creationId xmlns:a16="http://schemas.microsoft.com/office/drawing/2014/main" id="{68C67C1E-F7FA-5548-8B9F-05D1053DB46A}"/>
              </a:ext>
            </a:extLst>
          </p:cNvPr>
          <p:cNvCxnSpPr/>
          <p:nvPr userDrawn="1"/>
        </p:nvCxnSpPr>
        <p:spPr>
          <a:xfrm>
            <a:off x="6504859" y="1170769"/>
            <a:ext cx="638000" cy="0"/>
          </a:xfrm>
          <a:prstGeom prst="straightConnector1">
            <a:avLst/>
          </a:prstGeom>
          <a:noFill/>
          <a:ln w="28575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</p:cxnSp>
      <p:cxnSp>
        <p:nvCxnSpPr>
          <p:cNvPr id="11" name="Google Shape;1229;p213">
            <a:extLst>
              <a:ext uri="{FF2B5EF4-FFF2-40B4-BE49-F238E27FC236}">
                <a16:creationId xmlns:a16="http://schemas.microsoft.com/office/drawing/2014/main" id="{FE8EF11A-BCE2-694B-9DCE-BD54298E5B40}"/>
              </a:ext>
            </a:extLst>
          </p:cNvPr>
          <p:cNvCxnSpPr/>
          <p:nvPr userDrawn="1"/>
        </p:nvCxnSpPr>
        <p:spPr>
          <a:xfrm>
            <a:off x="6504859" y="2883469"/>
            <a:ext cx="638000" cy="0"/>
          </a:xfrm>
          <a:prstGeom prst="straightConnector1">
            <a:avLst/>
          </a:prstGeom>
          <a:noFill/>
          <a:ln w="28575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</p:cxnSp>
      <p:cxnSp>
        <p:nvCxnSpPr>
          <p:cNvPr id="17" name="Google Shape;1235;p213">
            <a:extLst>
              <a:ext uri="{FF2B5EF4-FFF2-40B4-BE49-F238E27FC236}">
                <a16:creationId xmlns:a16="http://schemas.microsoft.com/office/drawing/2014/main" id="{C0F4385B-5632-1248-B982-AE73BA738930}"/>
              </a:ext>
            </a:extLst>
          </p:cNvPr>
          <p:cNvCxnSpPr/>
          <p:nvPr userDrawn="1"/>
        </p:nvCxnSpPr>
        <p:spPr>
          <a:xfrm>
            <a:off x="9338113" y="1170769"/>
            <a:ext cx="638000" cy="0"/>
          </a:xfrm>
          <a:prstGeom prst="straightConnector1">
            <a:avLst/>
          </a:prstGeom>
          <a:noFill/>
          <a:ln w="28575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</p:cxnSp>
      <p:cxnSp>
        <p:nvCxnSpPr>
          <p:cNvPr id="20" name="Google Shape;1238;p213">
            <a:extLst>
              <a:ext uri="{FF2B5EF4-FFF2-40B4-BE49-F238E27FC236}">
                <a16:creationId xmlns:a16="http://schemas.microsoft.com/office/drawing/2014/main" id="{EEF9B179-41FC-8140-81B8-5373ECB284D4}"/>
              </a:ext>
            </a:extLst>
          </p:cNvPr>
          <p:cNvCxnSpPr/>
          <p:nvPr userDrawn="1"/>
        </p:nvCxnSpPr>
        <p:spPr>
          <a:xfrm>
            <a:off x="9338113" y="2883469"/>
            <a:ext cx="638000" cy="0"/>
          </a:xfrm>
          <a:prstGeom prst="straightConnector1">
            <a:avLst/>
          </a:prstGeom>
          <a:noFill/>
          <a:ln w="28575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7C86FEC3-9BE1-6841-B3F0-E62CA4E287F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11200" y="3429001"/>
            <a:ext cx="4318000" cy="2133599"/>
          </a:xfrm>
          <a:prstGeom prst="rect">
            <a:avLst/>
          </a:prstGeom>
        </p:spPr>
        <p:txBody>
          <a:bodyPr/>
          <a:lstStyle>
            <a:lvl1pPr marL="0" marR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r>
              <a:rPr lang="en-US" sz="1600">
                <a:solidFill>
                  <a:srgbClr val="00BCEB"/>
                </a:solidFill>
                <a:latin typeface="CiscoSansTT ExtraLight" panose="020B0303020201020303" pitchFamily="34" charset="0"/>
                <a:ea typeface="Helvetica Neue Light"/>
                <a:cs typeface="CiscoSansTT ExtraLight" panose="020B0303020201020303" pitchFamily="34" charset="0"/>
                <a:sym typeface="Helvetica Neue Light"/>
              </a:rPr>
              <a:t>Lorem ipsum dolor sit </a:t>
            </a:r>
            <a:r>
              <a:rPr lang="en-US" sz="1600" err="1">
                <a:solidFill>
                  <a:srgbClr val="00BCEB"/>
                </a:solidFill>
                <a:latin typeface="CiscoSansTT ExtraLight" panose="020B0303020201020303" pitchFamily="34" charset="0"/>
                <a:ea typeface="Helvetica Neue Light"/>
                <a:cs typeface="CiscoSansTT ExtraLight" panose="020B0303020201020303" pitchFamily="34" charset="0"/>
                <a:sym typeface="Helvetica Neue Light"/>
              </a:rPr>
              <a:t>amet</a:t>
            </a:r>
            <a:r>
              <a:rPr lang="en-US" sz="1600">
                <a:solidFill>
                  <a:srgbClr val="00BCEB"/>
                </a:solidFill>
                <a:latin typeface="CiscoSansTT ExtraLight" panose="020B0303020201020303" pitchFamily="34" charset="0"/>
                <a:ea typeface="Helvetica Neue Light"/>
                <a:cs typeface="CiscoSansTT ExtraLight" panose="020B0303020201020303" pitchFamily="34" charset="0"/>
                <a:sym typeface="Helvetica Neue Light"/>
              </a:rPr>
              <a:t> </a:t>
            </a:r>
            <a:r>
              <a:rPr lang="en-US" sz="1600" err="1">
                <a:solidFill>
                  <a:srgbClr val="00BCEB"/>
                </a:solidFill>
                <a:latin typeface="CiscoSansTT ExtraLight" panose="020B0303020201020303" pitchFamily="34" charset="0"/>
                <a:ea typeface="Helvetica Neue Light"/>
                <a:cs typeface="CiscoSansTT ExtraLight" panose="020B0303020201020303" pitchFamily="34" charset="0"/>
                <a:sym typeface="Helvetica Neue Light"/>
              </a:rPr>
              <a:t>consectetur</a:t>
            </a:r>
            <a:r>
              <a:rPr lang="en-US" sz="1600">
                <a:solidFill>
                  <a:srgbClr val="00BCEB"/>
                </a:solidFill>
                <a:latin typeface="CiscoSansTT ExtraLight" panose="020B0303020201020303" pitchFamily="34" charset="0"/>
                <a:ea typeface="Helvetica Neue Light"/>
                <a:cs typeface="CiscoSansTT ExtraLight" panose="020B0303020201020303" pitchFamily="34" charset="0"/>
                <a:sym typeface="Helvetica Neue Light"/>
              </a:rPr>
              <a:t> </a:t>
            </a:r>
            <a:r>
              <a:rPr lang="en-US" sz="1600" err="1">
                <a:solidFill>
                  <a:srgbClr val="00BCEB"/>
                </a:solidFill>
                <a:latin typeface="CiscoSansTT ExtraLight" panose="020B0303020201020303" pitchFamily="34" charset="0"/>
                <a:ea typeface="Helvetica Neue Light"/>
                <a:cs typeface="CiscoSansTT ExtraLight" panose="020B0303020201020303" pitchFamily="34" charset="0"/>
                <a:sym typeface="Helvetica Neue Light"/>
              </a:rPr>
              <a:t>adipiscing</a:t>
            </a:r>
            <a:r>
              <a:rPr lang="en-US" sz="1600">
                <a:solidFill>
                  <a:srgbClr val="00BCEB"/>
                </a:solidFill>
                <a:latin typeface="CiscoSansTT ExtraLight" panose="020B0303020201020303" pitchFamily="34" charset="0"/>
                <a:ea typeface="Helvetica Neue Light"/>
                <a:cs typeface="CiscoSansTT ExtraLight" panose="020B0303020201020303" pitchFamily="34" charset="0"/>
                <a:sym typeface="Helvetica Neue Light"/>
              </a:rPr>
              <a:t> </a:t>
            </a:r>
            <a:r>
              <a:rPr lang="en-US" sz="1600" err="1">
                <a:solidFill>
                  <a:srgbClr val="00BCEB"/>
                </a:solidFill>
                <a:latin typeface="CiscoSansTT ExtraLight" panose="020B0303020201020303" pitchFamily="34" charset="0"/>
                <a:ea typeface="Helvetica Neue Light"/>
                <a:cs typeface="CiscoSansTT ExtraLight" panose="020B0303020201020303" pitchFamily="34" charset="0"/>
                <a:sym typeface="Helvetica Neue Light"/>
              </a:rPr>
              <a:t>elit</a:t>
            </a:r>
            <a:endParaRPr lang="en-US" sz="1600" u="none" strike="noStrike" cap="none">
              <a:solidFill>
                <a:srgbClr val="00BCEB"/>
              </a:solidFill>
              <a:latin typeface="CiscoSansTT ExtraLight" panose="020B0303020201020303" pitchFamily="34" charset="0"/>
              <a:ea typeface="Helvetica Neue Light"/>
              <a:cs typeface="CiscoSansTT ExtraLight" panose="020B0303020201020303" pitchFamily="34" charset="0"/>
              <a:sym typeface="Helvetica Neue Light"/>
            </a:endParaRPr>
          </a:p>
        </p:txBody>
      </p:sp>
      <p:sp>
        <p:nvSpPr>
          <p:cNvPr id="34" name="Text Placeholder 33">
            <a:extLst>
              <a:ext uri="{FF2B5EF4-FFF2-40B4-BE49-F238E27FC236}">
                <a16:creationId xmlns:a16="http://schemas.microsoft.com/office/drawing/2014/main" id="{E4F1703F-FD14-2747-80D3-F176B49F55A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402624" y="1321922"/>
            <a:ext cx="1974851" cy="383116"/>
          </a:xfrm>
          <a:prstGeom prst="rect">
            <a:avLst/>
          </a:prstGeom>
        </p:spPr>
        <p:txBody>
          <a:bodyPr/>
          <a:lstStyle>
            <a:lvl1pPr>
              <a:defRPr b="1" i="0">
                <a:solidFill>
                  <a:schemeClr val="tx1"/>
                </a:solidFill>
                <a:latin typeface="CiscoSansTT" panose="020B0503020201020303" pitchFamily="34" charset="0"/>
                <a:cs typeface="CiscoSansTT" panose="020B0503020201020303" pitchFamily="34" charset="0"/>
              </a:defRPr>
            </a:lvl1pPr>
          </a:lstStyle>
          <a:p>
            <a:pPr lvl="0"/>
            <a:r>
              <a:rPr lang="en-GB"/>
              <a:t>Lorem</a:t>
            </a:r>
            <a:endParaRPr lang="en-US"/>
          </a:p>
        </p:txBody>
      </p:sp>
      <p:sp>
        <p:nvSpPr>
          <p:cNvPr id="36" name="Text Placeholder 33">
            <a:extLst>
              <a:ext uri="{FF2B5EF4-FFF2-40B4-BE49-F238E27FC236}">
                <a16:creationId xmlns:a16="http://schemas.microsoft.com/office/drawing/2014/main" id="{738D0011-FE5C-6641-AED1-0F6D9B42410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258924" y="1316567"/>
            <a:ext cx="1974851" cy="383116"/>
          </a:xfrm>
          <a:prstGeom prst="rect">
            <a:avLst/>
          </a:prstGeom>
        </p:spPr>
        <p:txBody>
          <a:bodyPr/>
          <a:lstStyle>
            <a:lvl1pPr>
              <a:defRPr b="1" i="0">
                <a:solidFill>
                  <a:schemeClr val="tx1"/>
                </a:solidFill>
                <a:latin typeface="CiscoSansTT" panose="020B0503020201020303" pitchFamily="34" charset="0"/>
                <a:cs typeface="CiscoSansTT" panose="020B0503020201020303" pitchFamily="34" charset="0"/>
              </a:defRPr>
            </a:lvl1pPr>
          </a:lstStyle>
          <a:p>
            <a:pPr lvl="0"/>
            <a:r>
              <a:rPr lang="en-GB"/>
              <a:t>Lorem</a:t>
            </a:r>
            <a:endParaRPr lang="en-US"/>
          </a:p>
        </p:txBody>
      </p:sp>
      <p:sp>
        <p:nvSpPr>
          <p:cNvPr id="37" name="Text Placeholder 33">
            <a:extLst>
              <a:ext uri="{FF2B5EF4-FFF2-40B4-BE49-F238E27FC236}">
                <a16:creationId xmlns:a16="http://schemas.microsoft.com/office/drawing/2014/main" id="{0C772D10-64AC-0A46-AC66-15F55CB301D4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402624" y="3033309"/>
            <a:ext cx="1974851" cy="383116"/>
          </a:xfrm>
          <a:prstGeom prst="rect">
            <a:avLst/>
          </a:prstGeom>
        </p:spPr>
        <p:txBody>
          <a:bodyPr/>
          <a:lstStyle>
            <a:lvl1pPr>
              <a:defRPr b="1" i="0">
                <a:solidFill>
                  <a:schemeClr val="tx1"/>
                </a:solidFill>
                <a:latin typeface="CiscoSansTT" panose="020B0503020201020303" pitchFamily="34" charset="0"/>
                <a:cs typeface="CiscoSansTT" panose="020B0503020201020303" pitchFamily="34" charset="0"/>
              </a:defRPr>
            </a:lvl1pPr>
          </a:lstStyle>
          <a:p>
            <a:pPr lvl="0"/>
            <a:r>
              <a:rPr lang="en-GB"/>
              <a:t>Lorem</a:t>
            </a:r>
            <a:endParaRPr lang="en-US"/>
          </a:p>
        </p:txBody>
      </p:sp>
      <p:sp>
        <p:nvSpPr>
          <p:cNvPr id="38" name="Text Placeholder 33">
            <a:extLst>
              <a:ext uri="{FF2B5EF4-FFF2-40B4-BE49-F238E27FC236}">
                <a16:creationId xmlns:a16="http://schemas.microsoft.com/office/drawing/2014/main" id="{AFD5C6FC-1D6D-804C-B9DB-5C348B87BB43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9258924" y="3027954"/>
            <a:ext cx="1974851" cy="383116"/>
          </a:xfrm>
          <a:prstGeom prst="rect">
            <a:avLst/>
          </a:prstGeom>
        </p:spPr>
        <p:txBody>
          <a:bodyPr/>
          <a:lstStyle>
            <a:lvl1pPr>
              <a:defRPr b="1" i="0">
                <a:solidFill>
                  <a:schemeClr val="tx1"/>
                </a:solidFill>
                <a:latin typeface="CiscoSansTT" panose="020B0503020201020303" pitchFamily="34" charset="0"/>
                <a:cs typeface="CiscoSansTT" panose="020B0503020201020303" pitchFamily="34" charset="0"/>
              </a:defRPr>
            </a:lvl1pPr>
          </a:lstStyle>
          <a:p>
            <a:pPr lvl="0"/>
            <a:r>
              <a:rPr lang="en-GB"/>
              <a:t>Lorem</a:t>
            </a:r>
            <a:endParaRPr lang="en-US"/>
          </a:p>
        </p:txBody>
      </p:sp>
      <p:sp>
        <p:nvSpPr>
          <p:cNvPr id="40" name="Text Placeholder 39">
            <a:extLst>
              <a:ext uri="{FF2B5EF4-FFF2-40B4-BE49-F238E27FC236}">
                <a16:creationId xmlns:a16="http://schemas.microsoft.com/office/drawing/2014/main" id="{75C611E1-F971-A442-A55E-2A1060215033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399194" y="1719170"/>
            <a:ext cx="1974557" cy="757767"/>
          </a:xfrm>
          <a:prstGeom prst="rect">
            <a:avLst/>
          </a:prstGeom>
        </p:spPr>
        <p:txBody>
          <a:bodyPr/>
          <a:lstStyle>
            <a:lvl1pPr marL="0" indent="0" algn="l" rtl="0">
              <a:spcBef>
                <a:spcPts val="0"/>
              </a:spcBef>
              <a:spcAft>
                <a:spcPts val="0"/>
              </a:spcAft>
              <a:buNone/>
              <a:defRPr sz="1200" b="0" i="0">
                <a:solidFill>
                  <a:schemeClr val="tx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defRPr>
            </a:lvl1pPr>
            <a:lvl2pPr>
              <a:defRPr sz="1200" b="0" i="0">
                <a:solidFill>
                  <a:schemeClr val="tx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defRPr>
            </a:lvl2pPr>
            <a:lvl3pPr>
              <a:defRPr sz="1200" b="0" i="0">
                <a:solidFill>
                  <a:schemeClr val="tx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defRPr>
            </a:lvl3pPr>
            <a:lvl4pPr>
              <a:defRPr sz="1200" b="0" i="0">
                <a:solidFill>
                  <a:schemeClr val="tx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defRPr>
            </a:lvl4pPr>
            <a:lvl5pPr>
              <a:defRPr sz="1200" b="0" i="0">
                <a:solidFill>
                  <a:schemeClr val="tx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defRPr>
            </a:lvl5pPr>
          </a:lstStyle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200">
                <a:solidFill>
                  <a:schemeClr val="tx1"/>
                </a:solidFill>
                <a:latin typeface="CiscoSansTT ExtraLight" panose="020B0303020201020303" pitchFamily="34" charset="0"/>
                <a:ea typeface="Helvetica Neue Light"/>
                <a:cs typeface="CiscoSansTT ExtraLight" panose="020B0303020201020303" pitchFamily="34" charset="0"/>
                <a:sym typeface="Helvetica Neue Light"/>
              </a:rPr>
              <a:t>Lorem ipsum dolor sit </a:t>
            </a:r>
            <a:r>
              <a:rPr lang="en-US" sz="1200" err="1">
                <a:solidFill>
                  <a:schemeClr val="tx1"/>
                </a:solidFill>
                <a:latin typeface="CiscoSansTT ExtraLight" panose="020B0303020201020303" pitchFamily="34" charset="0"/>
                <a:ea typeface="Helvetica Neue Light"/>
                <a:cs typeface="CiscoSansTT ExtraLight" panose="020B0303020201020303" pitchFamily="34" charset="0"/>
                <a:sym typeface="Helvetica Neue Light"/>
              </a:rPr>
              <a:t>amet</a:t>
            </a:r>
            <a:r>
              <a:rPr lang="en-US" sz="1200">
                <a:solidFill>
                  <a:schemeClr val="tx1"/>
                </a:solidFill>
                <a:latin typeface="CiscoSansTT ExtraLight" panose="020B0303020201020303" pitchFamily="34" charset="0"/>
                <a:ea typeface="Helvetica Neue Light"/>
                <a:cs typeface="CiscoSansTT ExtraLight" panose="020B0303020201020303" pitchFamily="34" charset="0"/>
                <a:sym typeface="Helvetica Neue Light"/>
              </a:rPr>
              <a:t> </a:t>
            </a:r>
            <a:r>
              <a:rPr lang="en-US" sz="1200" err="1">
                <a:solidFill>
                  <a:schemeClr val="tx1"/>
                </a:solidFill>
                <a:latin typeface="CiscoSansTT ExtraLight" panose="020B0303020201020303" pitchFamily="34" charset="0"/>
                <a:ea typeface="Helvetica Neue Light"/>
                <a:cs typeface="CiscoSansTT ExtraLight" panose="020B0303020201020303" pitchFamily="34" charset="0"/>
                <a:sym typeface="Helvetica Neue Light"/>
              </a:rPr>
              <a:t>consectetur</a:t>
            </a:r>
            <a:r>
              <a:rPr lang="en-US" sz="1200">
                <a:solidFill>
                  <a:schemeClr val="tx1"/>
                </a:solidFill>
                <a:latin typeface="CiscoSansTT ExtraLight" panose="020B0303020201020303" pitchFamily="34" charset="0"/>
                <a:ea typeface="Helvetica Neue Light"/>
                <a:cs typeface="CiscoSansTT ExtraLight" panose="020B0303020201020303" pitchFamily="34" charset="0"/>
                <a:sym typeface="Helvetica Neue Light"/>
              </a:rPr>
              <a:t> </a:t>
            </a:r>
            <a:r>
              <a:rPr lang="en-US" sz="1200" err="1">
                <a:solidFill>
                  <a:schemeClr val="tx1"/>
                </a:solidFill>
                <a:latin typeface="CiscoSansTT ExtraLight" panose="020B0303020201020303" pitchFamily="34" charset="0"/>
                <a:ea typeface="Helvetica Neue Light"/>
                <a:cs typeface="CiscoSansTT ExtraLight" panose="020B0303020201020303" pitchFamily="34" charset="0"/>
                <a:sym typeface="Helvetica Neue Light"/>
              </a:rPr>
              <a:t>adipiscing</a:t>
            </a:r>
            <a:r>
              <a:rPr lang="en-US" sz="1200">
                <a:solidFill>
                  <a:schemeClr val="tx1"/>
                </a:solidFill>
                <a:latin typeface="CiscoSansTT ExtraLight" panose="020B0303020201020303" pitchFamily="34" charset="0"/>
                <a:ea typeface="Helvetica Neue Light"/>
                <a:cs typeface="CiscoSansTT ExtraLight" panose="020B0303020201020303" pitchFamily="34" charset="0"/>
                <a:sym typeface="Helvetica Neue Light"/>
              </a:rPr>
              <a:t> </a:t>
            </a:r>
            <a:r>
              <a:rPr lang="en-US" sz="1200" err="1">
                <a:solidFill>
                  <a:schemeClr val="tx1"/>
                </a:solidFill>
                <a:latin typeface="CiscoSansTT ExtraLight" panose="020B0303020201020303" pitchFamily="34" charset="0"/>
                <a:ea typeface="Helvetica Neue Light"/>
                <a:cs typeface="CiscoSansTT ExtraLight" panose="020B0303020201020303" pitchFamily="34" charset="0"/>
                <a:sym typeface="Helvetica Neue Light"/>
              </a:rPr>
              <a:t>elit</a:t>
            </a:r>
            <a:endParaRPr lang="en-US" sz="1200">
              <a:solidFill>
                <a:schemeClr val="tx1"/>
              </a:solidFill>
              <a:latin typeface="CiscoSansTT ExtraLight" panose="020B0303020201020303" pitchFamily="34" charset="0"/>
              <a:ea typeface="Helvetica Neue Light"/>
              <a:cs typeface="CiscoSansTT ExtraLight" panose="020B0303020201020303" pitchFamily="34" charset="0"/>
              <a:sym typeface="Helvetica Neue Light"/>
            </a:endParaRP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lang="en-US" sz="1200">
              <a:solidFill>
                <a:schemeClr val="tx1"/>
              </a:solidFill>
              <a:latin typeface="CiscoSansTT ExtraLight" panose="020B0303020201020303" pitchFamily="34" charset="0"/>
              <a:ea typeface="Helvetica Neue Light"/>
              <a:cs typeface="CiscoSansTT ExtraLight" panose="020B0303020201020303" pitchFamily="34" charset="0"/>
              <a:sym typeface="Helvetica Neue Light"/>
            </a:endParaRPr>
          </a:p>
        </p:txBody>
      </p:sp>
      <p:sp>
        <p:nvSpPr>
          <p:cNvPr id="41" name="Text Placeholder 39">
            <a:extLst>
              <a:ext uri="{FF2B5EF4-FFF2-40B4-BE49-F238E27FC236}">
                <a16:creationId xmlns:a16="http://schemas.microsoft.com/office/drawing/2014/main" id="{30A3C0E0-993B-A247-8F10-FF5570956410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255200" y="1718258"/>
            <a:ext cx="1974557" cy="757767"/>
          </a:xfrm>
          <a:prstGeom prst="rect">
            <a:avLst/>
          </a:prstGeom>
        </p:spPr>
        <p:txBody>
          <a:bodyPr/>
          <a:lstStyle>
            <a:lvl1pPr marL="0" indent="0" algn="l" rtl="0">
              <a:spcBef>
                <a:spcPts val="0"/>
              </a:spcBef>
              <a:spcAft>
                <a:spcPts val="0"/>
              </a:spcAft>
              <a:buNone/>
              <a:defRPr sz="1200" b="0" i="0">
                <a:solidFill>
                  <a:schemeClr val="tx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defRPr>
            </a:lvl1pPr>
            <a:lvl2pPr>
              <a:defRPr sz="1200" b="0" i="0">
                <a:solidFill>
                  <a:schemeClr val="tx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defRPr>
            </a:lvl2pPr>
            <a:lvl3pPr>
              <a:defRPr sz="1200" b="0" i="0">
                <a:solidFill>
                  <a:schemeClr val="tx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defRPr>
            </a:lvl3pPr>
            <a:lvl4pPr>
              <a:defRPr sz="1200" b="0" i="0">
                <a:solidFill>
                  <a:schemeClr val="tx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defRPr>
            </a:lvl4pPr>
            <a:lvl5pPr>
              <a:defRPr sz="1200" b="0" i="0">
                <a:solidFill>
                  <a:schemeClr val="tx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defRPr>
            </a:lvl5pPr>
          </a:lstStyle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200">
                <a:solidFill>
                  <a:schemeClr val="tx1"/>
                </a:solidFill>
                <a:latin typeface="CiscoSansTT ExtraLight" panose="020B0303020201020303" pitchFamily="34" charset="0"/>
                <a:ea typeface="Helvetica Neue Light"/>
                <a:cs typeface="CiscoSansTT ExtraLight" panose="020B0303020201020303" pitchFamily="34" charset="0"/>
                <a:sym typeface="Helvetica Neue Light"/>
              </a:rPr>
              <a:t>Lorem ipsum dolor sit </a:t>
            </a:r>
            <a:r>
              <a:rPr lang="en-US" sz="1200" err="1">
                <a:solidFill>
                  <a:schemeClr val="tx1"/>
                </a:solidFill>
                <a:latin typeface="CiscoSansTT ExtraLight" panose="020B0303020201020303" pitchFamily="34" charset="0"/>
                <a:ea typeface="Helvetica Neue Light"/>
                <a:cs typeface="CiscoSansTT ExtraLight" panose="020B0303020201020303" pitchFamily="34" charset="0"/>
                <a:sym typeface="Helvetica Neue Light"/>
              </a:rPr>
              <a:t>amet</a:t>
            </a:r>
            <a:r>
              <a:rPr lang="en-US" sz="1200">
                <a:solidFill>
                  <a:schemeClr val="tx1"/>
                </a:solidFill>
                <a:latin typeface="CiscoSansTT ExtraLight" panose="020B0303020201020303" pitchFamily="34" charset="0"/>
                <a:ea typeface="Helvetica Neue Light"/>
                <a:cs typeface="CiscoSansTT ExtraLight" panose="020B0303020201020303" pitchFamily="34" charset="0"/>
                <a:sym typeface="Helvetica Neue Light"/>
              </a:rPr>
              <a:t> </a:t>
            </a:r>
            <a:r>
              <a:rPr lang="en-US" sz="1200" err="1">
                <a:solidFill>
                  <a:schemeClr val="tx1"/>
                </a:solidFill>
                <a:latin typeface="CiscoSansTT ExtraLight" panose="020B0303020201020303" pitchFamily="34" charset="0"/>
                <a:ea typeface="Helvetica Neue Light"/>
                <a:cs typeface="CiscoSansTT ExtraLight" panose="020B0303020201020303" pitchFamily="34" charset="0"/>
                <a:sym typeface="Helvetica Neue Light"/>
              </a:rPr>
              <a:t>consectetur</a:t>
            </a:r>
            <a:r>
              <a:rPr lang="en-US" sz="1200">
                <a:solidFill>
                  <a:schemeClr val="tx1"/>
                </a:solidFill>
                <a:latin typeface="CiscoSansTT ExtraLight" panose="020B0303020201020303" pitchFamily="34" charset="0"/>
                <a:ea typeface="Helvetica Neue Light"/>
                <a:cs typeface="CiscoSansTT ExtraLight" panose="020B0303020201020303" pitchFamily="34" charset="0"/>
                <a:sym typeface="Helvetica Neue Light"/>
              </a:rPr>
              <a:t> </a:t>
            </a:r>
            <a:r>
              <a:rPr lang="en-US" sz="1200" err="1">
                <a:solidFill>
                  <a:schemeClr val="tx1"/>
                </a:solidFill>
                <a:latin typeface="CiscoSansTT ExtraLight" panose="020B0303020201020303" pitchFamily="34" charset="0"/>
                <a:ea typeface="Helvetica Neue Light"/>
                <a:cs typeface="CiscoSansTT ExtraLight" panose="020B0303020201020303" pitchFamily="34" charset="0"/>
                <a:sym typeface="Helvetica Neue Light"/>
              </a:rPr>
              <a:t>adipiscing</a:t>
            </a:r>
            <a:r>
              <a:rPr lang="en-US" sz="1200">
                <a:solidFill>
                  <a:schemeClr val="tx1"/>
                </a:solidFill>
                <a:latin typeface="CiscoSansTT ExtraLight" panose="020B0303020201020303" pitchFamily="34" charset="0"/>
                <a:ea typeface="Helvetica Neue Light"/>
                <a:cs typeface="CiscoSansTT ExtraLight" panose="020B0303020201020303" pitchFamily="34" charset="0"/>
                <a:sym typeface="Helvetica Neue Light"/>
              </a:rPr>
              <a:t> </a:t>
            </a:r>
            <a:r>
              <a:rPr lang="en-US" sz="1200" err="1">
                <a:solidFill>
                  <a:schemeClr val="tx1"/>
                </a:solidFill>
                <a:latin typeface="CiscoSansTT ExtraLight" panose="020B0303020201020303" pitchFamily="34" charset="0"/>
                <a:ea typeface="Helvetica Neue Light"/>
                <a:cs typeface="CiscoSansTT ExtraLight" panose="020B0303020201020303" pitchFamily="34" charset="0"/>
                <a:sym typeface="Helvetica Neue Light"/>
              </a:rPr>
              <a:t>elit</a:t>
            </a:r>
            <a:endParaRPr lang="en-US" sz="1200">
              <a:solidFill>
                <a:schemeClr val="tx1"/>
              </a:solidFill>
              <a:latin typeface="CiscoSansTT ExtraLight" panose="020B0303020201020303" pitchFamily="34" charset="0"/>
              <a:ea typeface="Helvetica Neue Light"/>
              <a:cs typeface="CiscoSansTT ExtraLight" panose="020B0303020201020303" pitchFamily="34" charset="0"/>
              <a:sym typeface="Helvetica Neue Light"/>
            </a:endParaRP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lang="en-US" sz="1200">
              <a:solidFill>
                <a:schemeClr val="tx1"/>
              </a:solidFill>
              <a:latin typeface="CiscoSansTT ExtraLight" panose="020B0303020201020303" pitchFamily="34" charset="0"/>
              <a:ea typeface="Helvetica Neue Light"/>
              <a:cs typeface="CiscoSansTT ExtraLight" panose="020B0303020201020303" pitchFamily="34" charset="0"/>
              <a:sym typeface="Helvetica Neue Light"/>
            </a:endParaRPr>
          </a:p>
        </p:txBody>
      </p:sp>
      <p:sp>
        <p:nvSpPr>
          <p:cNvPr id="44" name="Text Placeholder 39">
            <a:extLst>
              <a:ext uri="{FF2B5EF4-FFF2-40B4-BE49-F238E27FC236}">
                <a16:creationId xmlns:a16="http://schemas.microsoft.com/office/drawing/2014/main" id="{B4A71F95-4B93-464A-9C8D-6FBE935C4950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399194" y="3439107"/>
            <a:ext cx="1974557" cy="757767"/>
          </a:xfrm>
          <a:prstGeom prst="rect">
            <a:avLst/>
          </a:prstGeom>
        </p:spPr>
        <p:txBody>
          <a:bodyPr/>
          <a:lstStyle>
            <a:lvl1pPr marL="0" indent="0" algn="l" rtl="0">
              <a:spcBef>
                <a:spcPts val="0"/>
              </a:spcBef>
              <a:spcAft>
                <a:spcPts val="0"/>
              </a:spcAft>
              <a:buNone/>
              <a:defRPr sz="1200" b="0" i="0">
                <a:solidFill>
                  <a:schemeClr val="tx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defRPr>
            </a:lvl1pPr>
            <a:lvl2pPr>
              <a:defRPr sz="1200" b="0" i="0">
                <a:solidFill>
                  <a:schemeClr val="tx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defRPr>
            </a:lvl2pPr>
            <a:lvl3pPr>
              <a:defRPr sz="1200" b="0" i="0">
                <a:solidFill>
                  <a:schemeClr val="tx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defRPr>
            </a:lvl3pPr>
            <a:lvl4pPr>
              <a:defRPr sz="1200" b="0" i="0">
                <a:solidFill>
                  <a:schemeClr val="tx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defRPr>
            </a:lvl4pPr>
            <a:lvl5pPr>
              <a:defRPr sz="1200" b="0" i="0">
                <a:solidFill>
                  <a:schemeClr val="tx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defRPr>
            </a:lvl5pPr>
          </a:lstStyle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200">
                <a:solidFill>
                  <a:schemeClr val="tx1"/>
                </a:solidFill>
                <a:latin typeface="CiscoSansTT ExtraLight" panose="020B0303020201020303" pitchFamily="34" charset="0"/>
                <a:ea typeface="Helvetica Neue Light"/>
                <a:cs typeface="CiscoSansTT ExtraLight" panose="020B0303020201020303" pitchFamily="34" charset="0"/>
                <a:sym typeface="Helvetica Neue Light"/>
              </a:rPr>
              <a:t>Lorem ipsum dolor sit </a:t>
            </a:r>
            <a:r>
              <a:rPr lang="en-US" sz="1200" err="1">
                <a:solidFill>
                  <a:schemeClr val="tx1"/>
                </a:solidFill>
                <a:latin typeface="CiscoSansTT ExtraLight" panose="020B0303020201020303" pitchFamily="34" charset="0"/>
                <a:ea typeface="Helvetica Neue Light"/>
                <a:cs typeface="CiscoSansTT ExtraLight" panose="020B0303020201020303" pitchFamily="34" charset="0"/>
                <a:sym typeface="Helvetica Neue Light"/>
              </a:rPr>
              <a:t>amet</a:t>
            </a:r>
            <a:r>
              <a:rPr lang="en-US" sz="1200">
                <a:solidFill>
                  <a:schemeClr val="tx1"/>
                </a:solidFill>
                <a:latin typeface="CiscoSansTT ExtraLight" panose="020B0303020201020303" pitchFamily="34" charset="0"/>
                <a:ea typeface="Helvetica Neue Light"/>
                <a:cs typeface="CiscoSansTT ExtraLight" panose="020B0303020201020303" pitchFamily="34" charset="0"/>
                <a:sym typeface="Helvetica Neue Light"/>
              </a:rPr>
              <a:t> </a:t>
            </a:r>
            <a:r>
              <a:rPr lang="en-US" sz="1200" err="1">
                <a:solidFill>
                  <a:schemeClr val="tx1"/>
                </a:solidFill>
                <a:latin typeface="CiscoSansTT ExtraLight" panose="020B0303020201020303" pitchFamily="34" charset="0"/>
                <a:ea typeface="Helvetica Neue Light"/>
                <a:cs typeface="CiscoSansTT ExtraLight" panose="020B0303020201020303" pitchFamily="34" charset="0"/>
                <a:sym typeface="Helvetica Neue Light"/>
              </a:rPr>
              <a:t>consectetur</a:t>
            </a:r>
            <a:r>
              <a:rPr lang="en-US" sz="1200">
                <a:solidFill>
                  <a:schemeClr val="tx1"/>
                </a:solidFill>
                <a:latin typeface="CiscoSansTT ExtraLight" panose="020B0303020201020303" pitchFamily="34" charset="0"/>
                <a:ea typeface="Helvetica Neue Light"/>
                <a:cs typeface="CiscoSansTT ExtraLight" panose="020B0303020201020303" pitchFamily="34" charset="0"/>
                <a:sym typeface="Helvetica Neue Light"/>
              </a:rPr>
              <a:t> </a:t>
            </a:r>
            <a:r>
              <a:rPr lang="en-US" sz="1200" err="1">
                <a:solidFill>
                  <a:schemeClr val="tx1"/>
                </a:solidFill>
                <a:latin typeface="CiscoSansTT ExtraLight" panose="020B0303020201020303" pitchFamily="34" charset="0"/>
                <a:ea typeface="Helvetica Neue Light"/>
                <a:cs typeface="CiscoSansTT ExtraLight" panose="020B0303020201020303" pitchFamily="34" charset="0"/>
                <a:sym typeface="Helvetica Neue Light"/>
              </a:rPr>
              <a:t>adipiscing</a:t>
            </a:r>
            <a:r>
              <a:rPr lang="en-US" sz="1200">
                <a:solidFill>
                  <a:schemeClr val="tx1"/>
                </a:solidFill>
                <a:latin typeface="CiscoSansTT ExtraLight" panose="020B0303020201020303" pitchFamily="34" charset="0"/>
                <a:ea typeface="Helvetica Neue Light"/>
                <a:cs typeface="CiscoSansTT ExtraLight" panose="020B0303020201020303" pitchFamily="34" charset="0"/>
                <a:sym typeface="Helvetica Neue Light"/>
              </a:rPr>
              <a:t> </a:t>
            </a:r>
            <a:r>
              <a:rPr lang="en-US" sz="1200" err="1">
                <a:solidFill>
                  <a:schemeClr val="tx1"/>
                </a:solidFill>
                <a:latin typeface="CiscoSansTT ExtraLight" panose="020B0303020201020303" pitchFamily="34" charset="0"/>
                <a:ea typeface="Helvetica Neue Light"/>
                <a:cs typeface="CiscoSansTT ExtraLight" panose="020B0303020201020303" pitchFamily="34" charset="0"/>
                <a:sym typeface="Helvetica Neue Light"/>
              </a:rPr>
              <a:t>elit</a:t>
            </a:r>
            <a:endParaRPr lang="en-US" sz="1200">
              <a:solidFill>
                <a:schemeClr val="tx1"/>
              </a:solidFill>
              <a:latin typeface="CiscoSansTT ExtraLight" panose="020B0303020201020303" pitchFamily="34" charset="0"/>
              <a:ea typeface="Helvetica Neue Light"/>
              <a:cs typeface="CiscoSansTT ExtraLight" panose="020B0303020201020303" pitchFamily="34" charset="0"/>
              <a:sym typeface="Helvetica Neue Light"/>
            </a:endParaRP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lang="en-US" sz="1200">
              <a:solidFill>
                <a:schemeClr val="tx1"/>
              </a:solidFill>
              <a:latin typeface="CiscoSansTT ExtraLight" panose="020B0303020201020303" pitchFamily="34" charset="0"/>
              <a:ea typeface="Helvetica Neue Light"/>
              <a:cs typeface="CiscoSansTT ExtraLight" panose="020B0303020201020303" pitchFamily="34" charset="0"/>
              <a:sym typeface="Helvetica Neue Light"/>
            </a:endParaRPr>
          </a:p>
        </p:txBody>
      </p:sp>
      <p:sp>
        <p:nvSpPr>
          <p:cNvPr id="45" name="Text Placeholder 39">
            <a:extLst>
              <a:ext uri="{FF2B5EF4-FFF2-40B4-BE49-F238E27FC236}">
                <a16:creationId xmlns:a16="http://schemas.microsoft.com/office/drawing/2014/main" id="{58E4658F-7CC8-4041-BBE3-C4200556636A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255200" y="3438195"/>
            <a:ext cx="1974557" cy="757767"/>
          </a:xfrm>
          <a:prstGeom prst="rect">
            <a:avLst/>
          </a:prstGeom>
        </p:spPr>
        <p:txBody>
          <a:bodyPr/>
          <a:lstStyle>
            <a:lvl1pPr marL="0" indent="0" algn="l" rtl="0">
              <a:spcBef>
                <a:spcPts val="0"/>
              </a:spcBef>
              <a:spcAft>
                <a:spcPts val="0"/>
              </a:spcAft>
              <a:buNone/>
              <a:defRPr sz="1200" b="0" i="0">
                <a:solidFill>
                  <a:schemeClr val="tx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defRPr>
            </a:lvl1pPr>
            <a:lvl2pPr>
              <a:defRPr sz="1200" b="0" i="0">
                <a:solidFill>
                  <a:schemeClr val="tx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defRPr>
            </a:lvl2pPr>
            <a:lvl3pPr>
              <a:defRPr sz="1200" b="0" i="0">
                <a:solidFill>
                  <a:schemeClr val="tx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defRPr>
            </a:lvl3pPr>
            <a:lvl4pPr>
              <a:defRPr sz="1200" b="0" i="0">
                <a:solidFill>
                  <a:schemeClr val="tx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defRPr>
            </a:lvl4pPr>
            <a:lvl5pPr>
              <a:defRPr sz="1200" b="0" i="0">
                <a:solidFill>
                  <a:schemeClr val="tx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defRPr>
            </a:lvl5pPr>
          </a:lstStyle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200">
                <a:solidFill>
                  <a:schemeClr val="tx1"/>
                </a:solidFill>
                <a:latin typeface="CiscoSansTT ExtraLight" panose="020B0303020201020303" pitchFamily="34" charset="0"/>
                <a:ea typeface="Helvetica Neue Light"/>
                <a:cs typeface="CiscoSansTT ExtraLight" panose="020B0303020201020303" pitchFamily="34" charset="0"/>
                <a:sym typeface="Helvetica Neue Light"/>
              </a:rPr>
              <a:t>Lorem ipsum dolor sit </a:t>
            </a:r>
            <a:r>
              <a:rPr lang="en-US" sz="1200" err="1">
                <a:solidFill>
                  <a:schemeClr val="tx1"/>
                </a:solidFill>
                <a:latin typeface="CiscoSansTT ExtraLight" panose="020B0303020201020303" pitchFamily="34" charset="0"/>
                <a:ea typeface="Helvetica Neue Light"/>
                <a:cs typeface="CiscoSansTT ExtraLight" panose="020B0303020201020303" pitchFamily="34" charset="0"/>
                <a:sym typeface="Helvetica Neue Light"/>
              </a:rPr>
              <a:t>amet</a:t>
            </a:r>
            <a:r>
              <a:rPr lang="en-US" sz="1200">
                <a:solidFill>
                  <a:schemeClr val="tx1"/>
                </a:solidFill>
                <a:latin typeface="CiscoSansTT ExtraLight" panose="020B0303020201020303" pitchFamily="34" charset="0"/>
                <a:ea typeface="Helvetica Neue Light"/>
                <a:cs typeface="CiscoSansTT ExtraLight" panose="020B0303020201020303" pitchFamily="34" charset="0"/>
                <a:sym typeface="Helvetica Neue Light"/>
              </a:rPr>
              <a:t> </a:t>
            </a:r>
            <a:r>
              <a:rPr lang="en-US" sz="1200" err="1">
                <a:solidFill>
                  <a:schemeClr val="tx1"/>
                </a:solidFill>
                <a:latin typeface="CiscoSansTT ExtraLight" panose="020B0303020201020303" pitchFamily="34" charset="0"/>
                <a:ea typeface="Helvetica Neue Light"/>
                <a:cs typeface="CiscoSansTT ExtraLight" panose="020B0303020201020303" pitchFamily="34" charset="0"/>
                <a:sym typeface="Helvetica Neue Light"/>
              </a:rPr>
              <a:t>consectetur</a:t>
            </a:r>
            <a:r>
              <a:rPr lang="en-US" sz="1200">
                <a:solidFill>
                  <a:schemeClr val="tx1"/>
                </a:solidFill>
                <a:latin typeface="CiscoSansTT ExtraLight" panose="020B0303020201020303" pitchFamily="34" charset="0"/>
                <a:ea typeface="Helvetica Neue Light"/>
                <a:cs typeface="CiscoSansTT ExtraLight" panose="020B0303020201020303" pitchFamily="34" charset="0"/>
                <a:sym typeface="Helvetica Neue Light"/>
              </a:rPr>
              <a:t> </a:t>
            </a:r>
            <a:r>
              <a:rPr lang="en-US" sz="1200" err="1">
                <a:solidFill>
                  <a:schemeClr val="tx1"/>
                </a:solidFill>
                <a:latin typeface="CiscoSansTT ExtraLight" panose="020B0303020201020303" pitchFamily="34" charset="0"/>
                <a:ea typeface="Helvetica Neue Light"/>
                <a:cs typeface="CiscoSansTT ExtraLight" panose="020B0303020201020303" pitchFamily="34" charset="0"/>
                <a:sym typeface="Helvetica Neue Light"/>
              </a:rPr>
              <a:t>adipiscing</a:t>
            </a:r>
            <a:r>
              <a:rPr lang="en-US" sz="1200">
                <a:solidFill>
                  <a:schemeClr val="tx1"/>
                </a:solidFill>
                <a:latin typeface="CiscoSansTT ExtraLight" panose="020B0303020201020303" pitchFamily="34" charset="0"/>
                <a:ea typeface="Helvetica Neue Light"/>
                <a:cs typeface="CiscoSansTT ExtraLight" panose="020B0303020201020303" pitchFamily="34" charset="0"/>
                <a:sym typeface="Helvetica Neue Light"/>
              </a:rPr>
              <a:t> </a:t>
            </a:r>
            <a:r>
              <a:rPr lang="en-US" sz="1200" err="1">
                <a:solidFill>
                  <a:schemeClr val="tx1"/>
                </a:solidFill>
                <a:latin typeface="CiscoSansTT ExtraLight" panose="020B0303020201020303" pitchFamily="34" charset="0"/>
                <a:ea typeface="Helvetica Neue Light"/>
                <a:cs typeface="CiscoSansTT ExtraLight" panose="020B0303020201020303" pitchFamily="34" charset="0"/>
                <a:sym typeface="Helvetica Neue Light"/>
              </a:rPr>
              <a:t>elit</a:t>
            </a:r>
            <a:endParaRPr lang="en-US" sz="1200">
              <a:solidFill>
                <a:schemeClr val="tx1"/>
              </a:solidFill>
              <a:latin typeface="CiscoSansTT ExtraLight" panose="020B0303020201020303" pitchFamily="34" charset="0"/>
              <a:ea typeface="Helvetica Neue Light"/>
              <a:cs typeface="CiscoSansTT ExtraLight" panose="020B0303020201020303" pitchFamily="34" charset="0"/>
              <a:sym typeface="Helvetica Neue Light"/>
            </a:endParaRP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lang="en-US" sz="1200">
              <a:solidFill>
                <a:schemeClr val="tx1"/>
              </a:solidFill>
              <a:latin typeface="CiscoSansTT ExtraLight" panose="020B0303020201020303" pitchFamily="34" charset="0"/>
              <a:ea typeface="Helvetica Neue Light"/>
              <a:cs typeface="CiscoSansTT ExtraLight" panose="020B0303020201020303" pitchFamily="34" charset="0"/>
              <a:sym typeface="Helvetica Neue Light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B2D0F69-DC62-4D67-8A64-70C1D1EC982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1200" y="2070099"/>
            <a:ext cx="4318000" cy="1287516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21" name="Google Shape;1229;p213">
            <a:extLst>
              <a:ext uri="{FF2B5EF4-FFF2-40B4-BE49-F238E27FC236}">
                <a16:creationId xmlns:a16="http://schemas.microsoft.com/office/drawing/2014/main" id="{CEA0F091-302A-4927-A8DD-577AC767374D}"/>
              </a:ext>
            </a:extLst>
          </p:cNvPr>
          <p:cNvCxnSpPr/>
          <p:nvPr userDrawn="1"/>
        </p:nvCxnSpPr>
        <p:spPr>
          <a:xfrm>
            <a:off x="6504859" y="4585269"/>
            <a:ext cx="638000" cy="0"/>
          </a:xfrm>
          <a:prstGeom prst="straightConnector1">
            <a:avLst/>
          </a:prstGeom>
          <a:noFill/>
          <a:ln w="28575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</p:cxnSp>
      <p:cxnSp>
        <p:nvCxnSpPr>
          <p:cNvPr id="22" name="Google Shape;1238;p213">
            <a:extLst>
              <a:ext uri="{FF2B5EF4-FFF2-40B4-BE49-F238E27FC236}">
                <a16:creationId xmlns:a16="http://schemas.microsoft.com/office/drawing/2014/main" id="{A868F961-DC9F-4B48-8F97-A1686F674246}"/>
              </a:ext>
            </a:extLst>
          </p:cNvPr>
          <p:cNvCxnSpPr/>
          <p:nvPr userDrawn="1"/>
        </p:nvCxnSpPr>
        <p:spPr>
          <a:xfrm>
            <a:off x="9338113" y="4585269"/>
            <a:ext cx="638000" cy="0"/>
          </a:xfrm>
          <a:prstGeom prst="straightConnector1">
            <a:avLst/>
          </a:prstGeom>
          <a:noFill/>
          <a:ln w="28575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23" name="Text Placeholder 33">
            <a:extLst>
              <a:ext uri="{FF2B5EF4-FFF2-40B4-BE49-F238E27FC236}">
                <a16:creationId xmlns:a16="http://schemas.microsoft.com/office/drawing/2014/main" id="{83E8820D-8E81-4A56-9485-BB161CE50651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402624" y="4735109"/>
            <a:ext cx="1974851" cy="383116"/>
          </a:xfrm>
          <a:prstGeom prst="rect">
            <a:avLst/>
          </a:prstGeom>
        </p:spPr>
        <p:txBody>
          <a:bodyPr/>
          <a:lstStyle>
            <a:lvl1pPr>
              <a:defRPr b="1" i="0">
                <a:solidFill>
                  <a:schemeClr val="tx1"/>
                </a:solidFill>
                <a:latin typeface="CiscoSansTT" panose="020B0503020201020303" pitchFamily="34" charset="0"/>
                <a:cs typeface="CiscoSansTT" panose="020B0503020201020303" pitchFamily="34" charset="0"/>
              </a:defRPr>
            </a:lvl1pPr>
          </a:lstStyle>
          <a:p>
            <a:pPr lvl="0"/>
            <a:r>
              <a:rPr lang="en-GB"/>
              <a:t>Lorem</a:t>
            </a:r>
            <a:endParaRPr lang="en-US"/>
          </a:p>
        </p:txBody>
      </p:sp>
      <p:sp>
        <p:nvSpPr>
          <p:cNvPr id="24" name="Text Placeholder 33">
            <a:extLst>
              <a:ext uri="{FF2B5EF4-FFF2-40B4-BE49-F238E27FC236}">
                <a16:creationId xmlns:a16="http://schemas.microsoft.com/office/drawing/2014/main" id="{964F4B52-8FE5-47F3-A1CA-2A5857DF7364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9258924" y="4729754"/>
            <a:ext cx="1974851" cy="383116"/>
          </a:xfrm>
          <a:prstGeom prst="rect">
            <a:avLst/>
          </a:prstGeom>
        </p:spPr>
        <p:txBody>
          <a:bodyPr/>
          <a:lstStyle>
            <a:lvl1pPr>
              <a:defRPr b="1" i="0">
                <a:solidFill>
                  <a:schemeClr val="tx1"/>
                </a:solidFill>
                <a:latin typeface="CiscoSansTT" panose="020B0503020201020303" pitchFamily="34" charset="0"/>
                <a:cs typeface="CiscoSansTT" panose="020B0503020201020303" pitchFamily="34" charset="0"/>
              </a:defRPr>
            </a:lvl1pPr>
          </a:lstStyle>
          <a:p>
            <a:pPr lvl="0"/>
            <a:r>
              <a:rPr lang="en-GB"/>
              <a:t>Lorem</a:t>
            </a:r>
            <a:endParaRPr lang="en-US"/>
          </a:p>
        </p:txBody>
      </p:sp>
      <p:sp>
        <p:nvSpPr>
          <p:cNvPr id="25" name="Text Placeholder 39">
            <a:extLst>
              <a:ext uri="{FF2B5EF4-FFF2-40B4-BE49-F238E27FC236}">
                <a16:creationId xmlns:a16="http://schemas.microsoft.com/office/drawing/2014/main" id="{0E564191-D8DF-4C58-BD72-CD5A8FC8508D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399194" y="5140907"/>
            <a:ext cx="1974557" cy="757767"/>
          </a:xfrm>
          <a:prstGeom prst="rect">
            <a:avLst/>
          </a:prstGeom>
        </p:spPr>
        <p:txBody>
          <a:bodyPr/>
          <a:lstStyle>
            <a:lvl1pPr marL="0" indent="0" algn="l" rtl="0">
              <a:spcBef>
                <a:spcPts val="0"/>
              </a:spcBef>
              <a:spcAft>
                <a:spcPts val="0"/>
              </a:spcAft>
              <a:buNone/>
              <a:defRPr sz="1200" b="0" i="0">
                <a:solidFill>
                  <a:schemeClr val="tx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defRPr>
            </a:lvl1pPr>
            <a:lvl2pPr>
              <a:defRPr sz="1200" b="0" i="0">
                <a:solidFill>
                  <a:schemeClr val="tx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defRPr>
            </a:lvl2pPr>
            <a:lvl3pPr>
              <a:defRPr sz="1200" b="0" i="0">
                <a:solidFill>
                  <a:schemeClr val="tx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defRPr>
            </a:lvl3pPr>
            <a:lvl4pPr>
              <a:defRPr sz="1200" b="0" i="0">
                <a:solidFill>
                  <a:schemeClr val="tx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defRPr>
            </a:lvl4pPr>
            <a:lvl5pPr>
              <a:defRPr sz="1200" b="0" i="0">
                <a:solidFill>
                  <a:schemeClr val="tx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defRPr>
            </a:lvl5pPr>
          </a:lstStyle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200">
                <a:solidFill>
                  <a:schemeClr val="tx1"/>
                </a:solidFill>
                <a:latin typeface="CiscoSansTT ExtraLight" panose="020B0303020201020303" pitchFamily="34" charset="0"/>
                <a:ea typeface="Helvetica Neue Light"/>
                <a:cs typeface="CiscoSansTT ExtraLight" panose="020B0303020201020303" pitchFamily="34" charset="0"/>
                <a:sym typeface="Helvetica Neue Light"/>
              </a:rPr>
              <a:t>Lorem ipsum dolor sit </a:t>
            </a:r>
            <a:r>
              <a:rPr lang="en-US" sz="1200" err="1">
                <a:solidFill>
                  <a:schemeClr val="tx1"/>
                </a:solidFill>
                <a:latin typeface="CiscoSansTT ExtraLight" panose="020B0303020201020303" pitchFamily="34" charset="0"/>
                <a:ea typeface="Helvetica Neue Light"/>
                <a:cs typeface="CiscoSansTT ExtraLight" panose="020B0303020201020303" pitchFamily="34" charset="0"/>
                <a:sym typeface="Helvetica Neue Light"/>
              </a:rPr>
              <a:t>amet</a:t>
            </a:r>
            <a:r>
              <a:rPr lang="en-US" sz="1200">
                <a:solidFill>
                  <a:schemeClr val="tx1"/>
                </a:solidFill>
                <a:latin typeface="CiscoSansTT ExtraLight" panose="020B0303020201020303" pitchFamily="34" charset="0"/>
                <a:ea typeface="Helvetica Neue Light"/>
                <a:cs typeface="CiscoSansTT ExtraLight" panose="020B0303020201020303" pitchFamily="34" charset="0"/>
                <a:sym typeface="Helvetica Neue Light"/>
              </a:rPr>
              <a:t> </a:t>
            </a:r>
            <a:r>
              <a:rPr lang="en-US" sz="1200" err="1">
                <a:solidFill>
                  <a:schemeClr val="tx1"/>
                </a:solidFill>
                <a:latin typeface="CiscoSansTT ExtraLight" panose="020B0303020201020303" pitchFamily="34" charset="0"/>
                <a:ea typeface="Helvetica Neue Light"/>
                <a:cs typeface="CiscoSansTT ExtraLight" panose="020B0303020201020303" pitchFamily="34" charset="0"/>
                <a:sym typeface="Helvetica Neue Light"/>
              </a:rPr>
              <a:t>consectetur</a:t>
            </a:r>
            <a:r>
              <a:rPr lang="en-US" sz="1200">
                <a:solidFill>
                  <a:schemeClr val="tx1"/>
                </a:solidFill>
                <a:latin typeface="CiscoSansTT ExtraLight" panose="020B0303020201020303" pitchFamily="34" charset="0"/>
                <a:ea typeface="Helvetica Neue Light"/>
                <a:cs typeface="CiscoSansTT ExtraLight" panose="020B0303020201020303" pitchFamily="34" charset="0"/>
                <a:sym typeface="Helvetica Neue Light"/>
              </a:rPr>
              <a:t> </a:t>
            </a:r>
            <a:r>
              <a:rPr lang="en-US" sz="1200" err="1">
                <a:solidFill>
                  <a:schemeClr val="tx1"/>
                </a:solidFill>
                <a:latin typeface="CiscoSansTT ExtraLight" panose="020B0303020201020303" pitchFamily="34" charset="0"/>
                <a:ea typeface="Helvetica Neue Light"/>
                <a:cs typeface="CiscoSansTT ExtraLight" panose="020B0303020201020303" pitchFamily="34" charset="0"/>
                <a:sym typeface="Helvetica Neue Light"/>
              </a:rPr>
              <a:t>adipiscing</a:t>
            </a:r>
            <a:r>
              <a:rPr lang="en-US" sz="1200">
                <a:solidFill>
                  <a:schemeClr val="tx1"/>
                </a:solidFill>
                <a:latin typeface="CiscoSansTT ExtraLight" panose="020B0303020201020303" pitchFamily="34" charset="0"/>
                <a:ea typeface="Helvetica Neue Light"/>
                <a:cs typeface="CiscoSansTT ExtraLight" panose="020B0303020201020303" pitchFamily="34" charset="0"/>
                <a:sym typeface="Helvetica Neue Light"/>
              </a:rPr>
              <a:t> </a:t>
            </a:r>
            <a:r>
              <a:rPr lang="en-US" sz="1200" err="1">
                <a:solidFill>
                  <a:schemeClr val="tx1"/>
                </a:solidFill>
                <a:latin typeface="CiscoSansTT ExtraLight" panose="020B0303020201020303" pitchFamily="34" charset="0"/>
                <a:ea typeface="Helvetica Neue Light"/>
                <a:cs typeface="CiscoSansTT ExtraLight" panose="020B0303020201020303" pitchFamily="34" charset="0"/>
                <a:sym typeface="Helvetica Neue Light"/>
              </a:rPr>
              <a:t>elit</a:t>
            </a:r>
            <a:endParaRPr lang="en-US" sz="1200">
              <a:solidFill>
                <a:schemeClr val="tx1"/>
              </a:solidFill>
              <a:latin typeface="CiscoSansTT ExtraLight" panose="020B0303020201020303" pitchFamily="34" charset="0"/>
              <a:ea typeface="Helvetica Neue Light"/>
              <a:cs typeface="CiscoSansTT ExtraLight" panose="020B0303020201020303" pitchFamily="34" charset="0"/>
              <a:sym typeface="Helvetica Neue Light"/>
            </a:endParaRP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lang="en-US" sz="1200">
              <a:solidFill>
                <a:schemeClr val="tx1"/>
              </a:solidFill>
              <a:latin typeface="CiscoSansTT ExtraLight" panose="020B0303020201020303" pitchFamily="34" charset="0"/>
              <a:ea typeface="Helvetica Neue Light"/>
              <a:cs typeface="CiscoSansTT ExtraLight" panose="020B0303020201020303" pitchFamily="34" charset="0"/>
              <a:sym typeface="Helvetica Neue Light"/>
            </a:endParaRPr>
          </a:p>
        </p:txBody>
      </p:sp>
      <p:sp>
        <p:nvSpPr>
          <p:cNvPr id="26" name="Text Placeholder 39">
            <a:extLst>
              <a:ext uri="{FF2B5EF4-FFF2-40B4-BE49-F238E27FC236}">
                <a16:creationId xmlns:a16="http://schemas.microsoft.com/office/drawing/2014/main" id="{DFF30AC0-C20A-4C35-85FF-B495370CD62F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9255200" y="5139995"/>
            <a:ext cx="1974557" cy="757767"/>
          </a:xfrm>
          <a:prstGeom prst="rect">
            <a:avLst/>
          </a:prstGeom>
        </p:spPr>
        <p:txBody>
          <a:bodyPr/>
          <a:lstStyle>
            <a:lvl1pPr marL="0" indent="0" algn="l" rtl="0">
              <a:spcBef>
                <a:spcPts val="0"/>
              </a:spcBef>
              <a:spcAft>
                <a:spcPts val="0"/>
              </a:spcAft>
              <a:buNone/>
              <a:defRPr sz="1200" b="0" i="0">
                <a:solidFill>
                  <a:schemeClr val="tx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defRPr>
            </a:lvl1pPr>
            <a:lvl2pPr>
              <a:defRPr sz="1200" b="0" i="0">
                <a:solidFill>
                  <a:schemeClr val="tx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defRPr>
            </a:lvl2pPr>
            <a:lvl3pPr>
              <a:defRPr sz="1200" b="0" i="0">
                <a:solidFill>
                  <a:schemeClr val="tx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defRPr>
            </a:lvl3pPr>
            <a:lvl4pPr>
              <a:defRPr sz="1200" b="0" i="0">
                <a:solidFill>
                  <a:schemeClr val="tx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defRPr>
            </a:lvl4pPr>
            <a:lvl5pPr>
              <a:defRPr sz="1200" b="0" i="0">
                <a:solidFill>
                  <a:schemeClr val="tx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defRPr>
            </a:lvl5pPr>
          </a:lstStyle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200">
                <a:solidFill>
                  <a:schemeClr val="tx1"/>
                </a:solidFill>
                <a:latin typeface="CiscoSansTT ExtraLight" panose="020B0303020201020303" pitchFamily="34" charset="0"/>
                <a:ea typeface="Helvetica Neue Light"/>
                <a:cs typeface="CiscoSansTT ExtraLight" panose="020B0303020201020303" pitchFamily="34" charset="0"/>
                <a:sym typeface="Helvetica Neue Light"/>
              </a:rPr>
              <a:t>Lorem ipsum dolor sit </a:t>
            </a:r>
            <a:r>
              <a:rPr lang="en-US" sz="1200" err="1">
                <a:solidFill>
                  <a:schemeClr val="tx1"/>
                </a:solidFill>
                <a:latin typeface="CiscoSansTT ExtraLight" panose="020B0303020201020303" pitchFamily="34" charset="0"/>
                <a:ea typeface="Helvetica Neue Light"/>
                <a:cs typeface="CiscoSansTT ExtraLight" panose="020B0303020201020303" pitchFamily="34" charset="0"/>
                <a:sym typeface="Helvetica Neue Light"/>
              </a:rPr>
              <a:t>amet</a:t>
            </a:r>
            <a:r>
              <a:rPr lang="en-US" sz="1200">
                <a:solidFill>
                  <a:schemeClr val="tx1"/>
                </a:solidFill>
                <a:latin typeface="CiscoSansTT ExtraLight" panose="020B0303020201020303" pitchFamily="34" charset="0"/>
                <a:ea typeface="Helvetica Neue Light"/>
                <a:cs typeface="CiscoSansTT ExtraLight" panose="020B0303020201020303" pitchFamily="34" charset="0"/>
                <a:sym typeface="Helvetica Neue Light"/>
              </a:rPr>
              <a:t> </a:t>
            </a:r>
            <a:r>
              <a:rPr lang="en-US" sz="1200" err="1">
                <a:solidFill>
                  <a:schemeClr val="tx1"/>
                </a:solidFill>
                <a:latin typeface="CiscoSansTT ExtraLight" panose="020B0303020201020303" pitchFamily="34" charset="0"/>
                <a:ea typeface="Helvetica Neue Light"/>
                <a:cs typeface="CiscoSansTT ExtraLight" panose="020B0303020201020303" pitchFamily="34" charset="0"/>
                <a:sym typeface="Helvetica Neue Light"/>
              </a:rPr>
              <a:t>consectetur</a:t>
            </a:r>
            <a:r>
              <a:rPr lang="en-US" sz="1200">
                <a:solidFill>
                  <a:schemeClr val="tx1"/>
                </a:solidFill>
                <a:latin typeface="CiscoSansTT ExtraLight" panose="020B0303020201020303" pitchFamily="34" charset="0"/>
                <a:ea typeface="Helvetica Neue Light"/>
                <a:cs typeface="CiscoSansTT ExtraLight" panose="020B0303020201020303" pitchFamily="34" charset="0"/>
                <a:sym typeface="Helvetica Neue Light"/>
              </a:rPr>
              <a:t> </a:t>
            </a:r>
            <a:r>
              <a:rPr lang="en-US" sz="1200" err="1">
                <a:solidFill>
                  <a:schemeClr val="tx1"/>
                </a:solidFill>
                <a:latin typeface="CiscoSansTT ExtraLight" panose="020B0303020201020303" pitchFamily="34" charset="0"/>
                <a:ea typeface="Helvetica Neue Light"/>
                <a:cs typeface="CiscoSansTT ExtraLight" panose="020B0303020201020303" pitchFamily="34" charset="0"/>
                <a:sym typeface="Helvetica Neue Light"/>
              </a:rPr>
              <a:t>adipiscing</a:t>
            </a:r>
            <a:r>
              <a:rPr lang="en-US" sz="1200">
                <a:solidFill>
                  <a:schemeClr val="tx1"/>
                </a:solidFill>
                <a:latin typeface="CiscoSansTT ExtraLight" panose="020B0303020201020303" pitchFamily="34" charset="0"/>
                <a:ea typeface="Helvetica Neue Light"/>
                <a:cs typeface="CiscoSansTT ExtraLight" panose="020B0303020201020303" pitchFamily="34" charset="0"/>
                <a:sym typeface="Helvetica Neue Light"/>
              </a:rPr>
              <a:t> </a:t>
            </a:r>
            <a:r>
              <a:rPr lang="en-US" sz="1200" err="1">
                <a:solidFill>
                  <a:schemeClr val="tx1"/>
                </a:solidFill>
                <a:latin typeface="CiscoSansTT ExtraLight" panose="020B0303020201020303" pitchFamily="34" charset="0"/>
                <a:ea typeface="Helvetica Neue Light"/>
                <a:cs typeface="CiscoSansTT ExtraLight" panose="020B0303020201020303" pitchFamily="34" charset="0"/>
                <a:sym typeface="Helvetica Neue Light"/>
              </a:rPr>
              <a:t>elit</a:t>
            </a:r>
            <a:endParaRPr lang="en-US" sz="1200">
              <a:solidFill>
                <a:schemeClr val="tx1"/>
              </a:solidFill>
              <a:latin typeface="CiscoSansTT ExtraLight" panose="020B0303020201020303" pitchFamily="34" charset="0"/>
              <a:ea typeface="Helvetica Neue Light"/>
              <a:cs typeface="CiscoSansTT ExtraLight" panose="020B0303020201020303" pitchFamily="34" charset="0"/>
              <a:sym typeface="Helvetica Neue Light"/>
            </a:endParaRP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lang="en-US" sz="1200">
              <a:solidFill>
                <a:schemeClr val="tx1"/>
              </a:solidFill>
              <a:latin typeface="CiscoSansTT ExtraLight" panose="020B0303020201020303" pitchFamily="34" charset="0"/>
              <a:ea typeface="Helvetica Neue Light"/>
              <a:cs typeface="CiscoSansTT ExtraLight" panose="020B0303020201020303" pitchFamily="34" charset="0"/>
              <a:sym typeface="Helvetica Neue Light"/>
            </a:endParaRPr>
          </a:p>
        </p:txBody>
      </p:sp>
    </p:spTree>
    <p:extLst>
      <p:ext uri="{BB962C8B-B14F-4D97-AF65-F5344CB8AC3E}">
        <p14:creationId xmlns:p14="http://schemas.microsoft.com/office/powerpoint/2010/main" val="2117803083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Closing Slide" preserve="1">
  <p:cSld name="Closing Slide">
    <p:bg>
      <p:bgRef idx="1001">
        <a:schemeClr val="bg2"/>
      </p:bgRef>
    </p:bg>
    <p:spTree>
      <p:nvGrpSpPr>
        <p:cNvPr id="1" name="Shape 17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>
            <a:extLst>
              <a:ext uri="{FF2B5EF4-FFF2-40B4-BE49-F238E27FC236}">
                <a16:creationId xmlns:a16="http://schemas.microsoft.com/office/drawing/2014/main" id="{F2E8120F-5B0E-4DE5-B130-9C49D2B24A32}"/>
              </a:ext>
            </a:extLst>
          </p:cNvPr>
          <p:cNvGrpSpPr/>
          <p:nvPr userDrawn="1"/>
        </p:nvGrpSpPr>
        <p:grpSpPr>
          <a:xfrm>
            <a:off x="3522511" y="3058751"/>
            <a:ext cx="5146980" cy="724599"/>
            <a:chOff x="2641883" y="2294063"/>
            <a:chExt cx="3860235" cy="543449"/>
          </a:xfrm>
        </p:grpSpPr>
        <p:grpSp>
          <p:nvGrpSpPr>
            <p:cNvPr id="5" name="Graphic 29">
              <a:extLst>
                <a:ext uri="{FF2B5EF4-FFF2-40B4-BE49-F238E27FC236}">
                  <a16:creationId xmlns:a16="http://schemas.microsoft.com/office/drawing/2014/main" id="{0A172D14-3CBF-4949-9AE4-311DECBD8083}"/>
                </a:ext>
              </a:extLst>
            </p:cNvPr>
            <p:cNvGrpSpPr/>
            <p:nvPr userDrawn="1"/>
          </p:nvGrpSpPr>
          <p:grpSpPr>
            <a:xfrm>
              <a:off x="3586197" y="2294063"/>
              <a:ext cx="2915921" cy="543449"/>
              <a:chOff x="4208467" y="3085570"/>
              <a:chExt cx="4752975" cy="885825"/>
            </a:xfrm>
            <a:solidFill>
              <a:srgbClr val="FFFFFF"/>
            </a:solidFill>
          </p:grpSpPr>
          <p:sp>
            <p:nvSpPr>
              <p:cNvPr id="7" name="Freeform: Shape 6">
                <a:extLst>
                  <a:ext uri="{FF2B5EF4-FFF2-40B4-BE49-F238E27FC236}">
                    <a16:creationId xmlns:a16="http://schemas.microsoft.com/office/drawing/2014/main" id="{14114964-F8BB-4F60-8206-4F087B8FA367}"/>
                  </a:ext>
                </a:extLst>
              </p:cNvPr>
              <p:cNvSpPr/>
              <p:nvPr/>
            </p:nvSpPr>
            <p:spPr>
              <a:xfrm>
                <a:off x="4215135" y="3085570"/>
                <a:ext cx="285750" cy="342900"/>
              </a:xfrm>
              <a:custGeom>
                <a:avLst/>
                <a:gdLst>
                  <a:gd name="connsiteX0" fmla="*/ 149542 w 285750"/>
                  <a:gd name="connsiteY0" fmla="*/ 322898 h 342900"/>
                  <a:gd name="connsiteX1" fmla="*/ 227647 w 285750"/>
                  <a:gd name="connsiteY1" fmla="*/ 294323 h 342900"/>
                  <a:gd name="connsiteX2" fmla="*/ 259080 w 285750"/>
                  <a:gd name="connsiteY2" fmla="*/ 228600 h 342900"/>
                  <a:gd name="connsiteX3" fmla="*/ 284797 w 285750"/>
                  <a:gd name="connsiteY3" fmla="*/ 228600 h 342900"/>
                  <a:gd name="connsiteX4" fmla="*/ 239077 w 285750"/>
                  <a:gd name="connsiteY4" fmla="*/ 315278 h 342900"/>
                  <a:gd name="connsiteX5" fmla="*/ 149542 w 285750"/>
                  <a:gd name="connsiteY5" fmla="*/ 345758 h 342900"/>
                  <a:gd name="connsiteX6" fmla="*/ 36195 w 285750"/>
                  <a:gd name="connsiteY6" fmla="*/ 293370 h 342900"/>
                  <a:gd name="connsiteX7" fmla="*/ 0 w 285750"/>
                  <a:gd name="connsiteY7" fmla="*/ 175260 h 342900"/>
                  <a:gd name="connsiteX8" fmla="*/ 48577 w 285750"/>
                  <a:gd name="connsiteY8" fmla="*/ 39053 h 342900"/>
                  <a:gd name="connsiteX9" fmla="*/ 150495 w 285750"/>
                  <a:gd name="connsiteY9" fmla="*/ 0 h 342900"/>
                  <a:gd name="connsiteX10" fmla="*/ 246697 w 285750"/>
                  <a:gd name="connsiteY10" fmla="*/ 32385 h 342900"/>
                  <a:gd name="connsiteX11" fmla="*/ 286702 w 285750"/>
                  <a:gd name="connsiteY11" fmla="*/ 106680 h 342900"/>
                  <a:gd name="connsiteX12" fmla="*/ 260985 w 285750"/>
                  <a:gd name="connsiteY12" fmla="*/ 106680 h 342900"/>
                  <a:gd name="connsiteX13" fmla="*/ 219075 w 285750"/>
                  <a:gd name="connsiteY13" fmla="*/ 40958 h 342900"/>
                  <a:gd name="connsiteX14" fmla="*/ 150495 w 285750"/>
                  <a:gd name="connsiteY14" fmla="*/ 21908 h 342900"/>
                  <a:gd name="connsiteX15" fmla="*/ 58102 w 285750"/>
                  <a:gd name="connsiteY15" fmla="*/ 66675 h 342900"/>
                  <a:gd name="connsiteX16" fmla="*/ 27622 w 285750"/>
                  <a:gd name="connsiteY16" fmla="*/ 175260 h 342900"/>
                  <a:gd name="connsiteX17" fmla="*/ 67627 w 285750"/>
                  <a:gd name="connsiteY17" fmla="*/ 288608 h 342900"/>
                  <a:gd name="connsiteX18" fmla="*/ 149542 w 285750"/>
                  <a:gd name="connsiteY18" fmla="*/ 322898 h 3429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285750" h="342900">
                    <a:moveTo>
                      <a:pt x="149542" y="322898"/>
                    </a:moveTo>
                    <a:cubicBezTo>
                      <a:pt x="181927" y="322898"/>
                      <a:pt x="207645" y="313373"/>
                      <a:pt x="227647" y="294323"/>
                    </a:cubicBezTo>
                    <a:cubicBezTo>
                      <a:pt x="245745" y="277178"/>
                      <a:pt x="256222" y="255270"/>
                      <a:pt x="259080" y="228600"/>
                    </a:cubicBezTo>
                    <a:lnTo>
                      <a:pt x="284797" y="228600"/>
                    </a:lnTo>
                    <a:cubicBezTo>
                      <a:pt x="280988" y="264795"/>
                      <a:pt x="265747" y="293370"/>
                      <a:pt x="239077" y="315278"/>
                    </a:cubicBezTo>
                    <a:cubicBezTo>
                      <a:pt x="214313" y="335280"/>
                      <a:pt x="184785" y="345758"/>
                      <a:pt x="149542" y="345758"/>
                    </a:cubicBezTo>
                    <a:cubicBezTo>
                      <a:pt x="100965" y="345758"/>
                      <a:pt x="63817" y="328613"/>
                      <a:pt x="36195" y="293370"/>
                    </a:cubicBezTo>
                    <a:cubicBezTo>
                      <a:pt x="11430" y="262890"/>
                      <a:pt x="0" y="223838"/>
                      <a:pt x="0" y="175260"/>
                    </a:cubicBezTo>
                    <a:cubicBezTo>
                      <a:pt x="0" y="116205"/>
                      <a:pt x="16192" y="70485"/>
                      <a:pt x="48577" y="39053"/>
                    </a:cubicBezTo>
                    <a:cubicBezTo>
                      <a:pt x="75247" y="13335"/>
                      <a:pt x="109538" y="0"/>
                      <a:pt x="150495" y="0"/>
                    </a:cubicBezTo>
                    <a:cubicBezTo>
                      <a:pt x="189547" y="0"/>
                      <a:pt x="220980" y="10478"/>
                      <a:pt x="246697" y="32385"/>
                    </a:cubicBezTo>
                    <a:cubicBezTo>
                      <a:pt x="268605" y="51435"/>
                      <a:pt x="281940" y="76200"/>
                      <a:pt x="286702" y="106680"/>
                    </a:cubicBezTo>
                    <a:lnTo>
                      <a:pt x="260985" y="106680"/>
                    </a:lnTo>
                    <a:cubicBezTo>
                      <a:pt x="255270" y="77153"/>
                      <a:pt x="241935" y="55245"/>
                      <a:pt x="219075" y="40958"/>
                    </a:cubicBezTo>
                    <a:cubicBezTo>
                      <a:pt x="200977" y="28575"/>
                      <a:pt x="178117" y="21908"/>
                      <a:pt x="150495" y="21908"/>
                    </a:cubicBezTo>
                    <a:cubicBezTo>
                      <a:pt x="111442" y="21908"/>
                      <a:pt x="80963" y="37148"/>
                      <a:pt x="58102" y="66675"/>
                    </a:cubicBezTo>
                    <a:cubicBezTo>
                      <a:pt x="37147" y="93345"/>
                      <a:pt x="27622" y="129540"/>
                      <a:pt x="27622" y="175260"/>
                    </a:cubicBezTo>
                    <a:cubicBezTo>
                      <a:pt x="27622" y="223838"/>
                      <a:pt x="40958" y="260985"/>
                      <a:pt x="67627" y="288608"/>
                    </a:cubicBezTo>
                    <a:cubicBezTo>
                      <a:pt x="87630" y="311468"/>
                      <a:pt x="115252" y="322898"/>
                      <a:pt x="149542" y="322898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2400">
                  <a:latin typeface="CiscoSansTT Light" panose="020B0503020201020303" pitchFamily="34" charset="0"/>
                  <a:cs typeface="CiscoSansTT Light" panose="020B0503020201020303" pitchFamily="34" charset="0"/>
                </a:endParaRPr>
              </a:p>
            </p:txBody>
          </p:sp>
          <p:sp>
            <p:nvSpPr>
              <p:cNvPr id="8" name="Freeform: Shape 7">
                <a:extLst>
                  <a:ext uri="{FF2B5EF4-FFF2-40B4-BE49-F238E27FC236}">
                    <a16:creationId xmlns:a16="http://schemas.microsoft.com/office/drawing/2014/main" id="{CCC4FD87-FD89-4B76-9ACC-3A4FB1A981E4}"/>
                  </a:ext>
                </a:extLst>
              </p:cNvPr>
              <p:cNvSpPr/>
              <p:nvPr/>
            </p:nvSpPr>
            <p:spPr>
              <a:xfrm>
                <a:off x="4544699" y="3092237"/>
                <a:ext cx="28575" cy="323850"/>
              </a:xfrm>
              <a:custGeom>
                <a:avLst/>
                <a:gdLst>
                  <a:gd name="connsiteX0" fmla="*/ 29528 w 28575"/>
                  <a:gd name="connsiteY0" fmla="*/ 34290 h 323850"/>
                  <a:gd name="connsiteX1" fmla="*/ 0 w 28575"/>
                  <a:gd name="connsiteY1" fmla="*/ 34290 h 323850"/>
                  <a:gd name="connsiteX2" fmla="*/ 0 w 28575"/>
                  <a:gd name="connsiteY2" fmla="*/ 0 h 323850"/>
                  <a:gd name="connsiteX3" fmla="*/ 29528 w 28575"/>
                  <a:gd name="connsiteY3" fmla="*/ 0 h 323850"/>
                  <a:gd name="connsiteX4" fmla="*/ 29528 w 28575"/>
                  <a:gd name="connsiteY4" fmla="*/ 34290 h 323850"/>
                  <a:gd name="connsiteX5" fmla="*/ 27623 w 28575"/>
                  <a:gd name="connsiteY5" fmla="*/ 332423 h 323850"/>
                  <a:gd name="connsiteX6" fmla="*/ 2858 w 28575"/>
                  <a:gd name="connsiteY6" fmla="*/ 332423 h 323850"/>
                  <a:gd name="connsiteX7" fmla="*/ 2858 w 28575"/>
                  <a:gd name="connsiteY7" fmla="*/ 92393 h 323850"/>
                  <a:gd name="connsiteX8" fmla="*/ 27623 w 28575"/>
                  <a:gd name="connsiteY8" fmla="*/ 92393 h 323850"/>
                  <a:gd name="connsiteX9" fmla="*/ 27623 w 28575"/>
                  <a:gd name="connsiteY9" fmla="*/ 332423 h 3238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28575" h="323850">
                    <a:moveTo>
                      <a:pt x="29528" y="34290"/>
                    </a:moveTo>
                    <a:lnTo>
                      <a:pt x="0" y="34290"/>
                    </a:lnTo>
                    <a:lnTo>
                      <a:pt x="0" y="0"/>
                    </a:lnTo>
                    <a:lnTo>
                      <a:pt x="29528" y="0"/>
                    </a:lnTo>
                    <a:lnTo>
                      <a:pt x="29528" y="34290"/>
                    </a:lnTo>
                    <a:close/>
                    <a:moveTo>
                      <a:pt x="27623" y="332423"/>
                    </a:moveTo>
                    <a:lnTo>
                      <a:pt x="2858" y="332423"/>
                    </a:lnTo>
                    <a:lnTo>
                      <a:pt x="2858" y="92393"/>
                    </a:lnTo>
                    <a:lnTo>
                      <a:pt x="27623" y="92393"/>
                    </a:lnTo>
                    <a:lnTo>
                      <a:pt x="27623" y="332423"/>
                    </a:ln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2400">
                  <a:latin typeface="CiscoSansTT Light" panose="020B0503020201020303" pitchFamily="34" charset="0"/>
                  <a:cs typeface="CiscoSansTT Light" panose="020B0503020201020303" pitchFamily="34" charset="0"/>
                </a:endParaRPr>
              </a:p>
            </p:txBody>
          </p:sp>
          <p:sp>
            <p:nvSpPr>
              <p:cNvPr id="9" name="Freeform: Shape 8">
                <a:extLst>
                  <a:ext uri="{FF2B5EF4-FFF2-40B4-BE49-F238E27FC236}">
                    <a16:creationId xmlns:a16="http://schemas.microsoft.com/office/drawing/2014/main" id="{7B244809-8CCE-49C2-8048-F167F8AAB089}"/>
                  </a:ext>
                </a:extLst>
              </p:cNvPr>
              <p:cNvSpPr/>
              <p:nvPr/>
            </p:nvSpPr>
            <p:spPr>
              <a:xfrm>
                <a:off x="4616137" y="3177962"/>
                <a:ext cx="190500" cy="247650"/>
              </a:xfrm>
              <a:custGeom>
                <a:avLst/>
                <a:gdLst>
                  <a:gd name="connsiteX0" fmla="*/ 164783 w 190500"/>
                  <a:gd name="connsiteY0" fmla="*/ 183833 h 247650"/>
                  <a:gd name="connsiteX1" fmla="*/ 143828 w 190500"/>
                  <a:gd name="connsiteY1" fmla="*/ 147638 h 247650"/>
                  <a:gd name="connsiteX2" fmla="*/ 86678 w 190500"/>
                  <a:gd name="connsiteY2" fmla="*/ 130493 h 247650"/>
                  <a:gd name="connsiteX3" fmla="*/ 8573 w 190500"/>
                  <a:gd name="connsiteY3" fmla="*/ 63818 h 247650"/>
                  <a:gd name="connsiteX4" fmla="*/ 33338 w 190500"/>
                  <a:gd name="connsiteY4" fmla="*/ 16192 h 247650"/>
                  <a:gd name="connsiteX5" fmla="*/ 95250 w 190500"/>
                  <a:gd name="connsiteY5" fmla="*/ 0 h 247650"/>
                  <a:gd name="connsiteX6" fmla="*/ 160973 w 190500"/>
                  <a:gd name="connsiteY6" fmla="*/ 20003 h 247650"/>
                  <a:gd name="connsiteX7" fmla="*/ 188595 w 190500"/>
                  <a:gd name="connsiteY7" fmla="*/ 65723 h 247650"/>
                  <a:gd name="connsiteX8" fmla="*/ 162878 w 190500"/>
                  <a:gd name="connsiteY8" fmla="*/ 65723 h 247650"/>
                  <a:gd name="connsiteX9" fmla="*/ 139065 w 190500"/>
                  <a:gd name="connsiteY9" fmla="*/ 31433 h 247650"/>
                  <a:gd name="connsiteX10" fmla="*/ 94298 w 190500"/>
                  <a:gd name="connsiteY10" fmla="*/ 20003 h 247650"/>
                  <a:gd name="connsiteX11" fmla="*/ 46673 w 190500"/>
                  <a:gd name="connsiteY11" fmla="*/ 34290 h 247650"/>
                  <a:gd name="connsiteX12" fmla="*/ 33338 w 190500"/>
                  <a:gd name="connsiteY12" fmla="*/ 61913 h 247650"/>
                  <a:gd name="connsiteX13" fmla="*/ 47625 w 190500"/>
                  <a:gd name="connsiteY13" fmla="*/ 93345 h 247650"/>
                  <a:gd name="connsiteX14" fmla="*/ 100013 w 190500"/>
                  <a:gd name="connsiteY14" fmla="*/ 111443 h 247650"/>
                  <a:gd name="connsiteX15" fmla="*/ 171450 w 190500"/>
                  <a:gd name="connsiteY15" fmla="*/ 139065 h 247650"/>
                  <a:gd name="connsiteX16" fmla="*/ 190500 w 190500"/>
                  <a:gd name="connsiteY16" fmla="*/ 183833 h 247650"/>
                  <a:gd name="connsiteX17" fmla="*/ 161925 w 190500"/>
                  <a:gd name="connsiteY17" fmla="*/ 236220 h 247650"/>
                  <a:gd name="connsiteX18" fmla="*/ 96203 w 190500"/>
                  <a:gd name="connsiteY18" fmla="*/ 255270 h 247650"/>
                  <a:gd name="connsiteX19" fmla="*/ 25718 w 190500"/>
                  <a:gd name="connsiteY19" fmla="*/ 233363 h 247650"/>
                  <a:gd name="connsiteX20" fmla="*/ 0 w 190500"/>
                  <a:gd name="connsiteY20" fmla="*/ 184785 h 247650"/>
                  <a:gd name="connsiteX21" fmla="*/ 25718 w 190500"/>
                  <a:gd name="connsiteY21" fmla="*/ 184785 h 247650"/>
                  <a:gd name="connsiteX22" fmla="*/ 49530 w 190500"/>
                  <a:gd name="connsiteY22" fmla="*/ 222885 h 247650"/>
                  <a:gd name="connsiteX23" fmla="*/ 96203 w 190500"/>
                  <a:gd name="connsiteY23" fmla="*/ 235268 h 247650"/>
                  <a:gd name="connsiteX24" fmla="*/ 148590 w 190500"/>
                  <a:gd name="connsiteY24" fmla="*/ 218122 h 247650"/>
                  <a:gd name="connsiteX25" fmla="*/ 164783 w 190500"/>
                  <a:gd name="connsiteY25" fmla="*/ 183833 h 2476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</a:cxnLst>
                <a:rect l="l" t="t" r="r" b="b"/>
                <a:pathLst>
                  <a:path w="190500" h="247650">
                    <a:moveTo>
                      <a:pt x="164783" y="183833"/>
                    </a:moveTo>
                    <a:cubicBezTo>
                      <a:pt x="164783" y="167640"/>
                      <a:pt x="158115" y="156210"/>
                      <a:pt x="143828" y="147638"/>
                    </a:cubicBezTo>
                    <a:cubicBezTo>
                      <a:pt x="132398" y="140970"/>
                      <a:pt x="113348" y="135255"/>
                      <a:pt x="86678" y="130493"/>
                    </a:cubicBezTo>
                    <a:cubicBezTo>
                      <a:pt x="34290" y="121920"/>
                      <a:pt x="8573" y="99060"/>
                      <a:pt x="8573" y="63818"/>
                    </a:cubicBezTo>
                    <a:cubicBezTo>
                      <a:pt x="8573" y="43815"/>
                      <a:pt x="17145" y="27623"/>
                      <a:pt x="33338" y="16192"/>
                    </a:cubicBezTo>
                    <a:cubicBezTo>
                      <a:pt x="48578" y="5715"/>
                      <a:pt x="69533" y="0"/>
                      <a:pt x="95250" y="0"/>
                    </a:cubicBezTo>
                    <a:cubicBezTo>
                      <a:pt x="121920" y="0"/>
                      <a:pt x="143828" y="6667"/>
                      <a:pt x="160973" y="20003"/>
                    </a:cubicBezTo>
                    <a:cubicBezTo>
                      <a:pt x="176213" y="32385"/>
                      <a:pt x="185738" y="47625"/>
                      <a:pt x="188595" y="65723"/>
                    </a:cubicBezTo>
                    <a:lnTo>
                      <a:pt x="162878" y="65723"/>
                    </a:lnTo>
                    <a:cubicBezTo>
                      <a:pt x="160973" y="51435"/>
                      <a:pt x="152400" y="40005"/>
                      <a:pt x="139065" y="31433"/>
                    </a:cubicBezTo>
                    <a:cubicBezTo>
                      <a:pt x="126683" y="23813"/>
                      <a:pt x="111443" y="20003"/>
                      <a:pt x="94298" y="20003"/>
                    </a:cubicBezTo>
                    <a:cubicBezTo>
                      <a:pt x="73343" y="20003"/>
                      <a:pt x="57150" y="24765"/>
                      <a:pt x="46673" y="34290"/>
                    </a:cubicBezTo>
                    <a:cubicBezTo>
                      <a:pt x="38100" y="40958"/>
                      <a:pt x="33338" y="50483"/>
                      <a:pt x="33338" y="61913"/>
                    </a:cubicBezTo>
                    <a:cubicBezTo>
                      <a:pt x="33338" y="75248"/>
                      <a:pt x="38100" y="85725"/>
                      <a:pt x="47625" y="93345"/>
                    </a:cubicBezTo>
                    <a:cubicBezTo>
                      <a:pt x="57150" y="100965"/>
                      <a:pt x="75248" y="106680"/>
                      <a:pt x="100013" y="111443"/>
                    </a:cubicBezTo>
                    <a:cubicBezTo>
                      <a:pt x="133350" y="118110"/>
                      <a:pt x="157163" y="126683"/>
                      <a:pt x="171450" y="139065"/>
                    </a:cubicBezTo>
                    <a:cubicBezTo>
                      <a:pt x="183833" y="149543"/>
                      <a:pt x="190500" y="164783"/>
                      <a:pt x="190500" y="183833"/>
                    </a:cubicBezTo>
                    <a:cubicBezTo>
                      <a:pt x="190500" y="205740"/>
                      <a:pt x="180975" y="222885"/>
                      <a:pt x="161925" y="236220"/>
                    </a:cubicBezTo>
                    <a:cubicBezTo>
                      <a:pt x="144780" y="248603"/>
                      <a:pt x="122873" y="255270"/>
                      <a:pt x="96203" y="255270"/>
                    </a:cubicBezTo>
                    <a:cubicBezTo>
                      <a:pt x="66675" y="255270"/>
                      <a:pt x="42863" y="247650"/>
                      <a:pt x="25718" y="233363"/>
                    </a:cubicBezTo>
                    <a:cubicBezTo>
                      <a:pt x="11430" y="220980"/>
                      <a:pt x="2858" y="204788"/>
                      <a:pt x="0" y="184785"/>
                    </a:cubicBezTo>
                    <a:lnTo>
                      <a:pt x="25718" y="184785"/>
                    </a:lnTo>
                    <a:cubicBezTo>
                      <a:pt x="27623" y="200978"/>
                      <a:pt x="35243" y="214313"/>
                      <a:pt x="49530" y="222885"/>
                    </a:cubicBezTo>
                    <a:cubicBezTo>
                      <a:pt x="61913" y="230505"/>
                      <a:pt x="77153" y="235268"/>
                      <a:pt x="96203" y="235268"/>
                    </a:cubicBezTo>
                    <a:cubicBezTo>
                      <a:pt x="119063" y="235268"/>
                      <a:pt x="136208" y="229553"/>
                      <a:pt x="148590" y="218122"/>
                    </a:cubicBezTo>
                    <a:cubicBezTo>
                      <a:pt x="160020" y="206693"/>
                      <a:pt x="164783" y="196215"/>
                      <a:pt x="164783" y="183833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2400">
                  <a:latin typeface="CiscoSansTT Light" panose="020B0503020201020303" pitchFamily="34" charset="0"/>
                  <a:cs typeface="CiscoSansTT Light" panose="020B0503020201020303" pitchFamily="34" charset="0"/>
                </a:endParaRPr>
              </a:p>
            </p:txBody>
          </p:sp>
          <p:sp>
            <p:nvSpPr>
              <p:cNvPr id="10" name="Freeform: Shape 9">
                <a:extLst>
                  <a:ext uri="{FF2B5EF4-FFF2-40B4-BE49-F238E27FC236}">
                    <a16:creationId xmlns:a16="http://schemas.microsoft.com/office/drawing/2014/main" id="{C1A3968A-1BCA-4C5D-A55D-7F2B0758390C}"/>
                  </a:ext>
                </a:extLst>
              </p:cNvPr>
              <p:cNvSpPr/>
              <p:nvPr/>
            </p:nvSpPr>
            <p:spPr>
              <a:xfrm>
                <a:off x="4843785" y="3177010"/>
                <a:ext cx="200025" cy="247650"/>
              </a:xfrm>
              <a:custGeom>
                <a:avLst/>
                <a:gdLst>
                  <a:gd name="connsiteX0" fmla="*/ 179070 w 200025"/>
                  <a:gd name="connsiteY0" fmla="*/ 177165 h 247650"/>
                  <a:gd name="connsiteX1" fmla="*/ 205740 w 200025"/>
                  <a:gd name="connsiteY1" fmla="*/ 177165 h 247650"/>
                  <a:gd name="connsiteX2" fmla="*/ 169545 w 200025"/>
                  <a:gd name="connsiteY2" fmla="*/ 235267 h 247650"/>
                  <a:gd name="connsiteX3" fmla="*/ 106680 w 200025"/>
                  <a:gd name="connsiteY3" fmla="*/ 254317 h 247650"/>
                  <a:gd name="connsiteX4" fmla="*/ 27622 w 200025"/>
                  <a:gd name="connsiteY4" fmla="*/ 218123 h 247650"/>
                  <a:gd name="connsiteX5" fmla="*/ 0 w 200025"/>
                  <a:gd name="connsiteY5" fmla="*/ 129540 h 247650"/>
                  <a:gd name="connsiteX6" fmla="*/ 35242 w 200025"/>
                  <a:gd name="connsiteY6" fmla="*/ 28575 h 247650"/>
                  <a:gd name="connsiteX7" fmla="*/ 107633 w 200025"/>
                  <a:gd name="connsiteY7" fmla="*/ 0 h 247650"/>
                  <a:gd name="connsiteX8" fmla="*/ 176213 w 200025"/>
                  <a:gd name="connsiteY8" fmla="*/ 22860 h 247650"/>
                  <a:gd name="connsiteX9" fmla="*/ 205740 w 200025"/>
                  <a:gd name="connsiteY9" fmla="*/ 73342 h 247650"/>
                  <a:gd name="connsiteX10" fmla="*/ 178117 w 200025"/>
                  <a:gd name="connsiteY10" fmla="*/ 73342 h 247650"/>
                  <a:gd name="connsiteX11" fmla="*/ 152400 w 200025"/>
                  <a:gd name="connsiteY11" fmla="*/ 33338 h 247650"/>
                  <a:gd name="connsiteX12" fmla="*/ 108585 w 200025"/>
                  <a:gd name="connsiteY12" fmla="*/ 20955 h 247650"/>
                  <a:gd name="connsiteX13" fmla="*/ 47625 w 200025"/>
                  <a:gd name="connsiteY13" fmla="*/ 51435 h 247650"/>
                  <a:gd name="connsiteX14" fmla="*/ 26670 w 200025"/>
                  <a:gd name="connsiteY14" fmla="*/ 129540 h 247650"/>
                  <a:gd name="connsiteX15" fmla="*/ 54292 w 200025"/>
                  <a:gd name="connsiteY15" fmla="*/ 210503 h 247650"/>
                  <a:gd name="connsiteX16" fmla="*/ 108585 w 200025"/>
                  <a:gd name="connsiteY16" fmla="*/ 232410 h 247650"/>
                  <a:gd name="connsiteX17" fmla="*/ 159067 w 200025"/>
                  <a:gd name="connsiteY17" fmla="*/ 215265 h 247650"/>
                  <a:gd name="connsiteX18" fmla="*/ 179070 w 200025"/>
                  <a:gd name="connsiteY18" fmla="*/ 177165 h 2476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200025" h="247650">
                    <a:moveTo>
                      <a:pt x="179070" y="177165"/>
                    </a:moveTo>
                    <a:lnTo>
                      <a:pt x="205740" y="177165"/>
                    </a:lnTo>
                    <a:cubicBezTo>
                      <a:pt x="201930" y="201930"/>
                      <a:pt x="189547" y="220980"/>
                      <a:pt x="169545" y="235267"/>
                    </a:cubicBezTo>
                    <a:cubicBezTo>
                      <a:pt x="152400" y="248603"/>
                      <a:pt x="130492" y="254317"/>
                      <a:pt x="106680" y="254317"/>
                    </a:cubicBezTo>
                    <a:cubicBezTo>
                      <a:pt x="73342" y="254317"/>
                      <a:pt x="46672" y="241935"/>
                      <a:pt x="27622" y="218123"/>
                    </a:cubicBezTo>
                    <a:cubicBezTo>
                      <a:pt x="9525" y="196215"/>
                      <a:pt x="0" y="166688"/>
                      <a:pt x="0" y="129540"/>
                    </a:cubicBezTo>
                    <a:cubicBezTo>
                      <a:pt x="0" y="85725"/>
                      <a:pt x="11430" y="52388"/>
                      <a:pt x="35242" y="28575"/>
                    </a:cubicBezTo>
                    <a:cubicBezTo>
                      <a:pt x="54292" y="9525"/>
                      <a:pt x="78105" y="0"/>
                      <a:pt x="107633" y="0"/>
                    </a:cubicBezTo>
                    <a:cubicBezTo>
                      <a:pt x="135255" y="0"/>
                      <a:pt x="158115" y="7620"/>
                      <a:pt x="176213" y="22860"/>
                    </a:cubicBezTo>
                    <a:cubicBezTo>
                      <a:pt x="191452" y="36195"/>
                      <a:pt x="201930" y="52388"/>
                      <a:pt x="205740" y="73342"/>
                    </a:cubicBezTo>
                    <a:lnTo>
                      <a:pt x="178117" y="73342"/>
                    </a:lnTo>
                    <a:cubicBezTo>
                      <a:pt x="175260" y="56197"/>
                      <a:pt x="166688" y="42863"/>
                      <a:pt x="152400" y="33338"/>
                    </a:cubicBezTo>
                    <a:cubicBezTo>
                      <a:pt x="140017" y="24765"/>
                      <a:pt x="125730" y="20955"/>
                      <a:pt x="108585" y="20955"/>
                    </a:cubicBezTo>
                    <a:cubicBezTo>
                      <a:pt x="82867" y="20955"/>
                      <a:pt x="61913" y="31432"/>
                      <a:pt x="47625" y="51435"/>
                    </a:cubicBezTo>
                    <a:cubicBezTo>
                      <a:pt x="33338" y="70485"/>
                      <a:pt x="26670" y="96203"/>
                      <a:pt x="26670" y="129540"/>
                    </a:cubicBezTo>
                    <a:cubicBezTo>
                      <a:pt x="26670" y="164783"/>
                      <a:pt x="36195" y="192405"/>
                      <a:pt x="54292" y="210503"/>
                    </a:cubicBezTo>
                    <a:cubicBezTo>
                      <a:pt x="68580" y="224790"/>
                      <a:pt x="86677" y="232410"/>
                      <a:pt x="108585" y="232410"/>
                    </a:cubicBezTo>
                    <a:cubicBezTo>
                      <a:pt x="128588" y="232410"/>
                      <a:pt x="145733" y="226695"/>
                      <a:pt x="159067" y="215265"/>
                    </a:cubicBezTo>
                    <a:cubicBezTo>
                      <a:pt x="168592" y="205740"/>
                      <a:pt x="176213" y="192405"/>
                      <a:pt x="179070" y="177165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2400">
                  <a:latin typeface="CiscoSansTT Light" panose="020B0503020201020303" pitchFamily="34" charset="0"/>
                  <a:cs typeface="CiscoSansTT Light" panose="020B0503020201020303" pitchFamily="34" charset="0"/>
                </a:endParaRPr>
              </a:p>
            </p:txBody>
          </p:sp>
          <p:sp>
            <p:nvSpPr>
              <p:cNvPr id="11" name="Freeform: Shape 10">
                <a:extLst>
                  <a:ext uri="{FF2B5EF4-FFF2-40B4-BE49-F238E27FC236}">
                    <a16:creationId xmlns:a16="http://schemas.microsoft.com/office/drawing/2014/main" id="{3A19A275-F179-48AE-8547-BDAB10054D7E}"/>
                  </a:ext>
                </a:extLst>
              </p:cNvPr>
              <p:cNvSpPr/>
              <p:nvPr/>
            </p:nvSpPr>
            <p:spPr>
              <a:xfrm>
                <a:off x="5084767" y="3177962"/>
                <a:ext cx="219075" cy="247650"/>
              </a:xfrm>
              <a:custGeom>
                <a:avLst/>
                <a:gdLst>
                  <a:gd name="connsiteX0" fmla="*/ 0 w 219075"/>
                  <a:gd name="connsiteY0" fmla="*/ 126683 h 247650"/>
                  <a:gd name="connsiteX1" fmla="*/ 36195 w 219075"/>
                  <a:gd name="connsiteY1" fmla="*/ 27623 h 247650"/>
                  <a:gd name="connsiteX2" fmla="*/ 110490 w 219075"/>
                  <a:gd name="connsiteY2" fmla="*/ 0 h 247650"/>
                  <a:gd name="connsiteX3" fmla="*/ 193357 w 219075"/>
                  <a:gd name="connsiteY3" fmla="*/ 36195 h 247650"/>
                  <a:gd name="connsiteX4" fmla="*/ 220980 w 219075"/>
                  <a:gd name="connsiteY4" fmla="*/ 126683 h 247650"/>
                  <a:gd name="connsiteX5" fmla="*/ 185738 w 219075"/>
                  <a:gd name="connsiteY5" fmla="*/ 225743 h 247650"/>
                  <a:gd name="connsiteX6" fmla="*/ 111442 w 219075"/>
                  <a:gd name="connsiteY6" fmla="*/ 254318 h 247650"/>
                  <a:gd name="connsiteX7" fmla="*/ 28575 w 219075"/>
                  <a:gd name="connsiteY7" fmla="*/ 217170 h 247650"/>
                  <a:gd name="connsiteX8" fmla="*/ 0 w 219075"/>
                  <a:gd name="connsiteY8" fmla="*/ 126683 h 247650"/>
                  <a:gd name="connsiteX9" fmla="*/ 25717 w 219075"/>
                  <a:gd name="connsiteY9" fmla="*/ 126683 h 247650"/>
                  <a:gd name="connsiteX10" fmla="*/ 53340 w 219075"/>
                  <a:gd name="connsiteY10" fmla="*/ 209550 h 247650"/>
                  <a:gd name="connsiteX11" fmla="*/ 110490 w 219075"/>
                  <a:gd name="connsiteY11" fmla="*/ 233363 h 247650"/>
                  <a:gd name="connsiteX12" fmla="*/ 174307 w 219075"/>
                  <a:gd name="connsiteY12" fmla="*/ 202883 h 247650"/>
                  <a:gd name="connsiteX13" fmla="*/ 195263 w 219075"/>
                  <a:gd name="connsiteY13" fmla="*/ 126683 h 247650"/>
                  <a:gd name="connsiteX14" fmla="*/ 168592 w 219075"/>
                  <a:gd name="connsiteY14" fmla="*/ 42863 h 247650"/>
                  <a:gd name="connsiteX15" fmla="*/ 110490 w 219075"/>
                  <a:gd name="connsiteY15" fmla="*/ 20003 h 247650"/>
                  <a:gd name="connsiteX16" fmla="*/ 46672 w 219075"/>
                  <a:gd name="connsiteY16" fmla="*/ 50483 h 247650"/>
                  <a:gd name="connsiteX17" fmla="*/ 25717 w 219075"/>
                  <a:gd name="connsiteY17" fmla="*/ 126683 h 2476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219075" h="247650">
                    <a:moveTo>
                      <a:pt x="0" y="126683"/>
                    </a:moveTo>
                    <a:cubicBezTo>
                      <a:pt x="0" y="82868"/>
                      <a:pt x="12382" y="50483"/>
                      <a:pt x="36195" y="27623"/>
                    </a:cubicBezTo>
                    <a:cubicBezTo>
                      <a:pt x="56197" y="9525"/>
                      <a:pt x="80963" y="0"/>
                      <a:pt x="110490" y="0"/>
                    </a:cubicBezTo>
                    <a:cubicBezTo>
                      <a:pt x="145732" y="0"/>
                      <a:pt x="173355" y="12383"/>
                      <a:pt x="193357" y="36195"/>
                    </a:cubicBezTo>
                    <a:cubicBezTo>
                      <a:pt x="211455" y="58103"/>
                      <a:pt x="220980" y="88583"/>
                      <a:pt x="220980" y="126683"/>
                    </a:cubicBezTo>
                    <a:cubicBezTo>
                      <a:pt x="220980" y="170498"/>
                      <a:pt x="209550" y="202883"/>
                      <a:pt x="185738" y="225743"/>
                    </a:cubicBezTo>
                    <a:cubicBezTo>
                      <a:pt x="166688" y="244793"/>
                      <a:pt x="141922" y="254318"/>
                      <a:pt x="111442" y="254318"/>
                    </a:cubicBezTo>
                    <a:cubicBezTo>
                      <a:pt x="76200" y="254318"/>
                      <a:pt x="48578" y="241935"/>
                      <a:pt x="28575" y="217170"/>
                    </a:cubicBezTo>
                    <a:cubicBezTo>
                      <a:pt x="9525" y="194310"/>
                      <a:pt x="0" y="163830"/>
                      <a:pt x="0" y="126683"/>
                    </a:cubicBezTo>
                    <a:close/>
                    <a:moveTo>
                      <a:pt x="25717" y="126683"/>
                    </a:moveTo>
                    <a:cubicBezTo>
                      <a:pt x="25717" y="162878"/>
                      <a:pt x="35242" y="190500"/>
                      <a:pt x="53340" y="209550"/>
                    </a:cubicBezTo>
                    <a:cubicBezTo>
                      <a:pt x="68580" y="224790"/>
                      <a:pt x="87630" y="233363"/>
                      <a:pt x="110490" y="233363"/>
                    </a:cubicBezTo>
                    <a:cubicBezTo>
                      <a:pt x="138113" y="233363"/>
                      <a:pt x="159067" y="222885"/>
                      <a:pt x="174307" y="202883"/>
                    </a:cubicBezTo>
                    <a:cubicBezTo>
                      <a:pt x="188595" y="183833"/>
                      <a:pt x="195263" y="159068"/>
                      <a:pt x="195263" y="126683"/>
                    </a:cubicBezTo>
                    <a:cubicBezTo>
                      <a:pt x="195263" y="90488"/>
                      <a:pt x="186690" y="61913"/>
                      <a:pt x="168592" y="42863"/>
                    </a:cubicBezTo>
                    <a:cubicBezTo>
                      <a:pt x="154305" y="27623"/>
                      <a:pt x="134303" y="20003"/>
                      <a:pt x="110490" y="20003"/>
                    </a:cubicBezTo>
                    <a:cubicBezTo>
                      <a:pt x="83820" y="20003"/>
                      <a:pt x="61913" y="30480"/>
                      <a:pt x="46672" y="50483"/>
                    </a:cubicBezTo>
                    <a:cubicBezTo>
                      <a:pt x="33338" y="69533"/>
                      <a:pt x="25717" y="94298"/>
                      <a:pt x="25717" y="126683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2400">
                  <a:latin typeface="CiscoSansTT Light" panose="020B0503020201020303" pitchFamily="34" charset="0"/>
                  <a:cs typeface="CiscoSansTT Light" panose="020B0503020201020303" pitchFamily="34" charset="0"/>
                </a:endParaRPr>
              </a:p>
            </p:txBody>
          </p:sp>
          <p:sp>
            <p:nvSpPr>
              <p:cNvPr id="12" name="Freeform: Shape 11">
                <a:extLst>
                  <a:ext uri="{FF2B5EF4-FFF2-40B4-BE49-F238E27FC236}">
                    <a16:creationId xmlns:a16="http://schemas.microsoft.com/office/drawing/2014/main" id="{021A6D23-10F4-4562-BC27-FDB4C8C2FDDF}"/>
                  </a:ext>
                </a:extLst>
              </p:cNvPr>
              <p:cNvSpPr/>
              <p:nvPr/>
            </p:nvSpPr>
            <p:spPr>
              <a:xfrm>
                <a:off x="4208467" y="3553247"/>
                <a:ext cx="304800" cy="342900"/>
              </a:xfrm>
              <a:custGeom>
                <a:avLst/>
                <a:gdLst>
                  <a:gd name="connsiteX0" fmla="*/ 156210 w 304800"/>
                  <a:gd name="connsiteY0" fmla="*/ 290513 h 342900"/>
                  <a:gd name="connsiteX1" fmla="*/ 228600 w 304800"/>
                  <a:gd name="connsiteY1" fmla="*/ 216218 h 342900"/>
                  <a:gd name="connsiteX2" fmla="*/ 307657 w 304800"/>
                  <a:gd name="connsiteY2" fmla="*/ 216218 h 342900"/>
                  <a:gd name="connsiteX3" fmla="*/ 256222 w 304800"/>
                  <a:gd name="connsiteY3" fmla="*/ 317183 h 342900"/>
                  <a:gd name="connsiteX4" fmla="*/ 155257 w 304800"/>
                  <a:gd name="connsiteY4" fmla="*/ 345758 h 342900"/>
                  <a:gd name="connsiteX5" fmla="*/ 39052 w 304800"/>
                  <a:gd name="connsiteY5" fmla="*/ 296228 h 342900"/>
                  <a:gd name="connsiteX6" fmla="*/ 0 w 304800"/>
                  <a:gd name="connsiteY6" fmla="*/ 171450 h 342900"/>
                  <a:gd name="connsiteX7" fmla="*/ 48577 w 304800"/>
                  <a:gd name="connsiteY7" fmla="*/ 38100 h 342900"/>
                  <a:gd name="connsiteX8" fmla="*/ 158115 w 304800"/>
                  <a:gd name="connsiteY8" fmla="*/ 0 h 342900"/>
                  <a:gd name="connsiteX9" fmla="*/ 260985 w 304800"/>
                  <a:gd name="connsiteY9" fmla="*/ 33338 h 342900"/>
                  <a:gd name="connsiteX10" fmla="*/ 304800 w 304800"/>
                  <a:gd name="connsiteY10" fmla="*/ 115253 h 342900"/>
                  <a:gd name="connsiteX11" fmla="*/ 227647 w 304800"/>
                  <a:gd name="connsiteY11" fmla="*/ 115253 h 342900"/>
                  <a:gd name="connsiteX12" fmla="*/ 158115 w 304800"/>
                  <a:gd name="connsiteY12" fmla="*/ 54293 h 342900"/>
                  <a:gd name="connsiteX13" fmla="*/ 100013 w 304800"/>
                  <a:gd name="connsiteY13" fmla="*/ 85725 h 342900"/>
                  <a:gd name="connsiteX14" fmla="*/ 80963 w 304800"/>
                  <a:gd name="connsiteY14" fmla="*/ 172402 h 342900"/>
                  <a:gd name="connsiteX15" fmla="*/ 105727 w 304800"/>
                  <a:gd name="connsiteY15" fmla="*/ 268605 h 342900"/>
                  <a:gd name="connsiteX16" fmla="*/ 156210 w 304800"/>
                  <a:gd name="connsiteY16" fmla="*/ 290513 h 3429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304800" h="342900">
                    <a:moveTo>
                      <a:pt x="156210" y="290513"/>
                    </a:moveTo>
                    <a:cubicBezTo>
                      <a:pt x="200977" y="290513"/>
                      <a:pt x="224790" y="265748"/>
                      <a:pt x="228600" y="216218"/>
                    </a:cubicBezTo>
                    <a:lnTo>
                      <a:pt x="307657" y="216218"/>
                    </a:lnTo>
                    <a:cubicBezTo>
                      <a:pt x="301942" y="260985"/>
                      <a:pt x="284797" y="295275"/>
                      <a:pt x="256222" y="317183"/>
                    </a:cubicBezTo>
                    <a:cubicBezTo>
                      <a:pt x="230505" y="336233"/>
                      <a:pt x="197167" y="345758"/>
                      <a:pt x="155257" y="345758"/>
                    </a:cubicBezTo>
                    <a:cubicBezTo>
                      <a:pt x="105727" y="345758"/>
                      <a:pt x="67627" y="329565"/>
                      <a:pt x="39052" y="296228"/>
                    </a:cubicBezTo>
                    <a:cubicBezTo>
                      <a:pt x="13335" y="265748"/>
                      <a:pt x="0" y="223838"/>
                      <a:pt x="0" y="171450"/>
                    </a:cubicBezTo>
                    <a:cubicBezTo>
                      <a:pt x="0" y="112395"/>
                      <a:pt x="16192" y="67628"/>
                      <a:pt x="48577" y="38100"/>
                    </a:cubicBezTo>
                    <a:cubicBezTo>
                      <a:pt x="76200" y="12383"/>
                      <a:pt x="112395" y="0"/>
                      <a:pt x="158115" y="0"/>
                    </a:cubicBezTo>
                    <a:cubicBezTo>
                      <a:pt x="200025" y="0"/>
                      <a:pt x="234315" y="11430"/>
                      <a:pt x="260985" y="33338"/>
                    </a:cubicBezTo>
                    <a:cubicBezTo>
                      <a:pt x="284797" y="53340"/>
                      <a:pt x="299085" y="80963"/>
                      <a:pt x="304800" y="115253"/>
                    </a:cubicBezTo>
                    <a:lnTo>
                      <a:pt x="227647" y="115253"/>
                    </a:lnTo>
                    <a:cubicBezTo>
                      <a:pt x="219075" y="74295"/>
                      <a:pt x="196215" y="54293"/>
                      <a:pt x="158115" y="54293"/>
                    </a:cubicBezTo>
                    <a:cubicBezTo>
                      <a:pt x="132397" y="54293"/>
                      <a:pt x="112395" y="64770"/>
                      <a:pt x="100013" y="85725"/>
                    </a:cubicBezTo>
                    <a:cubicBezTo>
                      <a:pt x="87630" y="105728"/>
                      <a:pt x="80963" y="134303"/>
                      <a:pt x="80963" y="172402"/>
                    </a:cubicBezTo>
                    <a:cubicBezTo>
                      <a:pt x="80963" y="216218"/>
                      <a:pt x="89535" y="248602"/>
                      <a:pt x="105727" y="268605"/>
                    </a:cubicBezTo>
                    <a:cubicBezTo>
                      <a:pt x="119063" y="282893"/>
                      <a:pt x="135255" y="290513"/>
                      <a:pt x="156210" y="290513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2400">
                  <a:latin typeface="CiscoSansTT Light" panose="020B0503020201020303" pitchFamily="34" charset="0"/>
                  <a:cs typeface="CiscoSansTT Light" panose="020B0503020201020303" pitchFamily="34" charset="0"/>
                </a:endParaRPr>
              </a:p>
            </p:txBody>
          </p:sp>
          <p:sp>
            <p:nvSpPr>
              <p:cNvPr id="13" name="Freeform: Shape 12">
                <a:extLst>
                  <a:ext uri="{FF2B5EF4-FFF2-40B4-BE49-F238E27FC236}">
                    <a16:creationId xmlns:a16="http://schemas.microsoft.com/office/drawing/2014/main" id="{0CF1C08D-E0B7-4B68-AE5D-1BA4C9F3E632}"/>
                  </a:ext>
                </a:extLst>
              </p:cNvPr>
              <p:cNvSpPr/>
              <p:nvPr/>
            </p:nvSpPr>
            <p:spPr>
              <a:xfrm>
                <a:off x="4550415" y="3651355"/>
                <a:ext cx="219075" cy="238125"/>
              </a:xfrm>
              <a:custGeom>
                <a:avLst/>
                <a:gdLst>
                  <a:gd name="connsiteX0" fmla="*/ 0 w 219075"/>
                  <a:gd name="connsiteY0" fmla="*/ 0 h 238125"/>
                  <a:gd name="connsiteX1" fmla="*/ 72390 w 219075"/>
                  <a:gd name="connsiteY1" fmla="*/ 0 h 238125"/>
                  <a:gd name="connsiteX2" fmla="*/ 72390 w 219075"/>
                  <a:gd name="connsiteY2" fmla="*/ 159067 h 238125"/>
                  <a:gd name="connsiteX3" fmla="*/ 81915 w 219075"/>
                  <a:gd name="connsiteY3" fmla="*/ 186690 h 238125"/>
                  <a:gd name="connsiteX4" fmla="*/ 110490 w 219075"/>
                  <a:gd name="connsiteY4" fmla="*/ 196215 h 238125"/>
                  <a:gd name="connsiteX5" fmla="*/ 143828 w 219075"/>
                  <a:gd name="connsiteY5" fmla="*/ 180975 h 238125"/>
                  <a:gd name="connsiteX6" fmla="*/ 155258 w 219075"/>
                  <a:gd name="connsiteY6" fmla="*/ 143827 h 238125"/>
                  <a:gd name="connsiteX7" fmla="*/ 155258 w 219075"/>
                  <a:gd name="connsiteY7" fmla="*/ 0 h 238125"/>
                  <a:gd name="connsiteX8" fmla="*/ 227647 w 219075"/>
                  <a:gd name="connsiteY8" fmla="*/ 0 h 238125"/>
                  <a:gd name="connsiteX9" fmla="*/ 227647 w 219075"/>
                  <a:gd name="connsiteY9" fmla="*/ 240030 h 238125"/>
                  <a:gd name="connsiteX10" fmla="*/ 166688 w 219075"/>
                  <a:gd name="connsiteY10" fmla="*/ 240030 h 238125"/>
                  <a:gd name="connsiteX11" fmla="*/ 160020 w 219075"/>
                  <a:gd name="connsiteY11" fmla="*/ 214313 h 238125"/>
                  <a:gd name="connsiteX12" fmla="*/ 87630 w 219075"/>
                  <a:gd name="connsiteY12" fmla="*/ 246698 h 238125"/>
                  <a:gd name="connsiteX13" fmla="*/ 20003 w 219075"/>
                  <a:gd name="connsiteY13" fmla="*/ 220027 h 238125"/>
                  <a:gd name="connsiteX14" fmla="*/ 0 w 219075"/>
                  <a:gd name="connsiteY14" fmla="*/ 156210 h 238125"/>
                  <a:gd name="connsiteX15" fmla="*/ 0 w 219075"/>
                  <a:gd name="connsiteY15" fmla="*/ 0 h 2381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219075" h="238125">
                    <a:moveTo>
                      <a:pt x="0" y="0"/>
                    </a:moveTo>
                    <a:lnTo>
                      <a:pt x="72390" y="0"/>
                    </a:lnTo>
                    <a:lnTo>
                      <a:pt x="72390" y="159067"/>
                    </a:lnTo>
                    <a:cubicBezTo>
                      <a:pt x="72390" y="171450"/>
                      <a:pt x="75247" y="180023"/>
                      <a:pt x="81915" y="186690"/>
                    </a:cubicBezTo>
                    <a:cubicBezTo>
                      <a:pt x="88583" y="193357"/>
                      <a:pt x="98108" y="196215"/>
                      <a:pt x="110490" y="196215"/>
                    </a:cubicBezTo>
                    <a:cubicBezTo>
                      <a:pt x="124778" y="196215"/>
                      <a:pt x="135255" y="191452"/>
                      <a:pt x="143828" y="180975"/>
                    </a:cubicBezTo>
                    <a:cubicBezTo>
                      <a:pt x="151447" y="171450"/>
                      <a:pt x="155258" y="159067"/>
                      <a:pt x="155258" y="143827"/>
                    </a:cubicBezTo>
                    <a:lnTo>
                      <a:pt x="155258" y="0"/>
                    </a:lnTo>
                    <a:lnTo>
                      <a:pt x="227647" y="0"/>
                    </a:lnTo>
                    <a:lnTo>
                      <a:pt x="227647" y="240030"/>
                    </a:lnTo>
                    <a:lnTo>
                      <a:pt x="166688" y="240030"/>
                    </a:lnTo>
                    <a:lnTo>
                      <a:pt x="160020" y="214313"/>
                    </a:lnTo>
                    <a:cubicBezTo>
                      <a:pt x="142875" y="236220"/>
                      <a:pt x="118110" y="246698"/>
                      <a:pt x="87630" y="246698"/>
                    </a:cubicBezTo>
                    <a:cubicBezTo>
                      <a:pt x="58103" y="246698"/>
                      <a:pt x="35242" y="238125"/>
                      <a:pt x="20003" y="220027"/>
                    </a:cubicBezTo>
                    <a:cubicBezTo>
                      <a:pt x="6667" y="204788"/>
                      <a:pt x="0" y="182880"/>
                      <a:pt x="0" y="156210"/>
                    </a:cubicBez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2400">
                  <a:latin typeface="CiscoSansTT Light" panose="020B0503020201020303" pitchFamily="34" charset="0"/>
                  <a:cs typeface="CiscoSansTT Light" panose="020B0503020201020303" pitchFamily="34" charset="0"/>
                </a:endParaRPr>
              </a:p>
            </p:txBody>
          </p:sp>
          <p:sp>
            <p:nvSpPr>
              <p:cNvPr id="14" name="Freeform: Shape 13">
                <a:extLst>
                  <a:ext uri="{FF2B5EF4-FFF2-40B4-BE49-F238E27FC236}">
                    <a16:creationId xmlns:a16="http://schemas.microsoft.com/office/drawing/2014/main" id="{9C85BB10-5D31-4B95-A484-AECFE585457E}"/>
                  </a:ext>
                </a:extLst>
              </p:cNvPr>
              <p:cNvSpPr/>
              <p:nvPr/>
            </p:nvSpPr>
            <p:spPr>
              <a:xfrm>
                <a:off x="4810447" y="3643735"/>
                <a:ext cx="219075" cy="247650"/>
              </a:xfrm>
              <a:custGeom>
                <a:avLst/>
                <a:gdLst>
                  <a:gd name="connsiteX0" fmla="*/ 113347 w 219075"/>
                  <a:gd name="connsiteY0" fmla="*/ 205740 h 247650"/>
                  <a:gd name="connsiteX1" fmla="*/ 153352 w 219075"/>
                  <a:gd name="connsiteY1" fmla="*/ 182880 h 247650"/>
                  <a:gd name="connsiteX2" fmla="*/ 144780 w 219075"/>
                  <a:gd name="connsiteY2" fmla="*/ 167640 h 247650"/>
                  <a:gd name="connsiteX3" fmla="*/ 96202 w 219075"/>
                  <a:gd name="connsiteY3" fmla="*/ 153352 h 247650"/>
                  <a:gd name="connsiteX4" fmla="*/ 32385 w 219075"/>
                  <a:gd name="connsiteY4" fmla="*/ 126683 h 247650"/>
                  <a:gd name="connsiteX5" fmla="*/ 9525 w 219075"/>
                  <a:gd name="connsiteY5" fmla="*/ 75248 h 247650"/>
                  <a:gd name="connsiteX6" fmla="*/ 40005 w 219075"/>
                  <a:gd name="connsiteY6" fmla="*/ 18098 h 247650"/>
                  <a:gd name="connsiteX7" fmla="*/ 115252 w 219075"/>
                  <a:gd name="connsiteY7" fmla="*/ 0 h 247650"/>
                  <a:gd name="connsiteX8" fmla="*/ 194310 w 219075"/>
                  <a:gd name="connsiteY8" fmla="*/ 21908 h 247650"/>
                  <a:gd name="connsiteX9" fmla="*/ 225742 w 219075"/>
                  <a:gd name="connsiteY9" fmla="*/ 73343 h 247650"/>
                  <a:gd name="connsiteX10" fmla="*/ 153352 w 219075"/>
                  <a:gd name="connsiteY10" fmla="*/ 73343 h 247650"/>
                  <a:gd name="connsiteX11" fmla="*/ 113347 w 219075"/>
                  <a:gd name="connsiteY11" fmla="*/ 48578 h 247650"/>
                  <a:gd name="connsiteX12" fmla="*/ 80963 w 219075"/>
                  <a:gd name="connsiteY12" fmla="*/ 68580 h 247650"/>
                  <a:gd name="connsiteX13" fmla="*/ 90488 w 219075"/>
                  <a:gd name="connsiteY13" fmla="*/ 83820 h 247650"/>
                  <a:gd name="connsiteX14" fmla="*/ 131445 w 219075"/>
                  <a:gd name="connsiteY14" fmla="*/ 97155 h 247650"/>
                  <a:gd name="connsiteX15" fmla="*/ 140017 w 219075"/>
                  <a:gd name="connsiteY15" fmla="*/ 99060 h 247650"/>
                  <a:gd name="connsiteX16" fmla="*/ 199072 w 219075"/>
                  <a:gd name="connsiteY16" fmla="*/ 120968 h 247650"/>
                  <a:gd name="connsiteX17" fmla="*/ 226695 w 219075"/>
                  <a:gd name="connsiteY17" fmla="*/ 172402 h 247650"/>
                  <a:gd name="connsiteX18" fmla="*/ 195263 w 219075"/>
                  <a:gd name="connsiteY18" fmla="*/ 233363 h 247650"/>
                  <a:gd name="connsiteX19" fmla="*/ 114300 w 219075"/>
                  <a:gd name="connsiteY19" fmla="*/ 253365 h 247650"/>
                  <a:gd name="connsiteX20" fmla="*/ 31433 w 219075"/>
                  <a:gd name="connsiteY20" fmla="*/ 229552 h 247650"/>
                  <a:gd name="connsiteX21" fmla="*/ 0 w 219075"/>
                  <a:gd name="connsiteY21" fmla="*/ 178118 h 247650"/>
                  <a:gd name="connsiteX22" fmla="*/ 72390 w 219075"/>
                  <a:gd name="connsiteY22" fmla="*/ 178118 h 247650"/>
                  <a:gd name="connsiteX23" fmla="*/ 86677 w 219075"/>
                  <a:gd name="connsiteY23" fmla="*/ 197168 h 247650"/>
                  <a:gd name="connsiteX24" fmla="*/ 113347 w 219075"/>
                  <a:gd name="connsiteY24" fmla="*/ 205740 h 2476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</a:cxnLst>
                <a:rect l="l" t="t" r="r" b="b"/>
                <a:pathLst>
                  <a:path w="219075" h="247650">
                    <a:moveTo>
                      <a:pt x="113347" y="205740"/>
                    </a:moveTo>
                    <a:cubicBezTo>
                      <a:pt x="140017" y="205740"/>
                      <a:pt x="153352" y="198120"/>
                      <a:pt x="153352" y="182880"/>
                    </a:cubicBezTo>
                    <a:cubicBezTo>
                      <a:pt x="153352" y="175260"/>
                      <a:pt x="150495" y="170498"/>
                      <a:pt x="144780" y="167640"/>
                    </a:cubicBezTo>
                    <a:cubicBezTo>
                      <a:pt x="139065" y="164783"/>
                      <a:pt x="122872" y="160020"/>
                      <a:pt x="96202" y="153352"/>
                    </a:cubicBezTo>
                    <a:cubicBezTo>
                      <a:pt x="66675" y="146685"/>
                      <a:pt x="44767" y="137160"/>
                      <a:pt x="32385" y="126683"/>
                    </a:cubicBezTo>
                    <a:cubicBezTo>
                      <a:pt x="17145" y="114300"/>
                      <a:pt x="9525" y="97155"/>
                      <a:pt x="9525" y="75248"/>
                    </a:cubicBezTo>
                    <a:cubicBezTo>
                      <a:pt x="9525" y="50483"/>
                      <a:pt x="20002" y="31433"/>
                      <a:pt x="40005" y="18098"/>
                    </a:cubicBezTo>
                    <a:cubicBezTo>
                      <a:pt x="58102" y="5715"/>
                      <a:pt x="83820" y="0"/>
                      <a:pt x="115252" y="0"/>
                    </a:cubicBezTo>
                    <a:cubicBezTo>
                      <a:pt x="148590" y="0"/>
                      <a:pt x="174308" y="7620"/>
                      <a:pt x="194310" y="21908"/>
                    </a:cubicBezTo>
                    <a:cubicBezTo>
                      <a:pt x="211455" y="34290"/>
                      <a:pt x="221933" y="51435"/>
                      <a:pt x="225742" y="73343"/>
                    </a:cubicBezTo>
                    <a:lnTo>
                      <a:pt x="153352" y="73343"/>
                    </a:lnTo>
                    <a:cubicBezTo>
                      <a:pt x="149542" y="57150"/>
                      <a:pt x="136208" y="48578"/>
                      <a:pt x="113347" y="48578"/>
                    </a:cubicBezTo>
                    <a:cubicBezTo>
                      <a:pt x="91440" y="48578"/>
                      <a:pt x="80963" y="55245"/>
                      <a:pt x="80963" y="68580"/>
                    </a:cubicBezTo>
                    <a:cubicBezTo>
                      <a:pt x="80963" y="75248"/>
                      <a:pt x="83820" y="80010"/>
                      <a:pt x="90488" y="83820"/>
                    </a:cubicBezTo>
                    <a:cubicBezTo>
                      <a:pt x="96202" y="87630"/>
                      <a:pt x="110490" y="91440"/>
                      <a:pt x="131445" y="97155"/>
                    </a:cubicBezTo>
                    <a:lnTo>
                      <a:pt x="140017" y="99060"/>
                    </a:lnTo>
                    <a:cubicBezTo>
                      <a:pt x="167640" y="105727"/>
                      <a:pt x="187642" y="113348"/>
                      <a:pt x="199072" y="120968"/>
                    </a:cubicBezTo>
                    <a:cubicBezTo>
                      <a:pt x="217170" y="133350"/>
                      <a:pt x="226695" y="149543"/>
                      <a:pt x="226695" y="172402"/>
                    </a:cubicBezTo>
                    <a:cubicBezTo>
                      <a:pt x="226695" y="199073"/>
                      <a:pt x="216217" y="219075"/>
                      <a:pt x="195263" y="233363"/>
                    </a:cubicBezTo>
                    <a:cubicBezTo>
                      <a:pt x="175260" y="246698"/>
                      <a:pt x="148590" y="253365"/>
                      <a:pt x="114300" y="253365"/>
                    </a:cubicBezTo>
                    <a:cubicBezTo>
                      <a:pt x="80010" y="253365"/>
                      <a:pt x="52388" y="245745"/>
                      <a:pt x="31433" y="229552"/>
                    </a:cubicBezTo>
                    <a:cubicBezTo>
                      <a:pt x="14288" y="216218"/>
                      <a:pt x="2858" y="199073"/>
                      <a:pt x="0" y="178118"/>
                    </a:cubicBezTo>
                    <a:lnTo>
                      <a:pt x="72390" y="178118"/>
                    </a:lnTo>
                    <a:cubicBezTo>
                      <a:pt x="74295" y="185738"/>
                      <a:pt x="78105" y="192405"/>
                      <a:pt x="86677" y="197168"/>
                    </a:cubicBezTo>
                    <a:cubicBezTo>
                      <a:pt x="92392" y="203835"/>
                      <a:pt x="101917" y="205740"/>
                      <a:pt x="113347" y="205740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2400">
                  <a:latin typeface="CiscoSansTT Light" panose="020B0503020201020303" pitchFamily="34" charset="0"/>
                  <a:cs typeface="CiscoSansTT Light" panose="020B0503020201020303" pitchFamily="34" charset="0"/>
                </a:endParaRPr>
              </a:p>
            </p:txBody>
          </p:sp>
          <p:sp>
            <p:nvSpPr>
              <p:cNvPr id="15" name="Freeform: Shape 14">
                <a:extLst>
                  <a:ext uri="{FF2B5EF4-FFF2-40B4-BE49-F238E27FC236}">
                    <a16:creationId xmlns:a16="http://schemas.microsoft.com/office/drawing/2014/main" id="{235BA894-88A9-4B6D-96F6-D671B66122E2}"/>
                  </a:ext>
                </a:extLst>
              </p:cNvPr>
              <p:cNvSpPr/>
              <p:nvPr/>
            </p:nvSpPr>
            <p:spPr>
              <a:xfrm>
                <a:off x="5056192" y="3594205"/>
                <a:ext cx="152400" cy="295275"/>
              </a:xfrm>
              <a:custGeom>
                <a:avLst/>
                <a:gdLst>
                  <a:gd name="connsiteX0" fmla="*/ 158115 w 152400"/>
                  <a:gd name="connsiteY0" fmla="*/ 248602 h 295275"/>
                  <a:gd name="connsiteX1" fmla="*/ 158115 w 152400"/>
                  <a:gd name="connsiteY1" fmla="*/ 297180 h 295275"/>
                  <a:gd name="connsiteX2" fmla="*/ 114300 w 152400"/>
                  <a:gd name="connsiteY2" fmla="*/ 303848 h 295275"/>
                  <a:gd name="connsiteX3" fmla="*/ 54292 w 152400"/>
                  <a:gd name="connsiteY3" fmla="*/ 281940 h 295275"/>
                  <a:gd name="connsiteX4" fmla="*/ 36195 w 152400"/>
                  <a:gd name="connsiteY4" fmla="*/ 229552 h 295275"/>
                  <a:gd name="connsiteX5" fmla="*/ 36195 w 152400"/>
                  <a:gd name="connsiteY5" fmla="*/ 107632 h 295275"/>
                  <a:gd name="connsiteX6" fmla="*/ 0 w 152400"/>
                  <a:gd name="connsiteY6" fmla="*/ 107632 h 295275"/>
                  <a:gd name="connsiteX7" fmla="*/ 0 w 152400"/>
                  <a:gd name="connsiteY7" fmla="*/ 58102 h 295275"/>
                  <a:gd name="connsiteX8" fmla="*/ 36195 w 152400"/>
                  <a:gd name="connsiteY8" fmla="*/ 58102 h 295275"/>
                  <a:gd name="connsiteX9" fmla="*/ 40957 w 152400"/>
                  <a:gd name="connsiteY9" fmla="*/ 0 h 295275"/>
                  <a:gd name="connsiteX10" fmla="*/ 108585 w 152400"/>
                  <a:gd name="connsiteY10" fmla="*/ 0 h 295275"/>
                  <a:gd name="connsiteX11" fmla="*/ 108585 w 152400"/>
                  <a:gd name="connsiteY11" fmla="*/ 58102 h 295275"/>
                  <a:gd name="connsiteX12" fmla="*/ 158115 w 152400"/>
                  <a:gd name="connsiteY12" fmla="*/ 58102 h 295275"/>
                  <a:gd name="connsiteX13" fmla="*/ 158115 w 152400"/>
                  <a:gd name="connsiteY13" fmla="*/ 107632 h 295275"/>
                  <a:gd name="connsiteX14" fmla="*/ 108585 w 152400"/>
                  <a:gd name="connsiteY14" fmla="*/ 107632 h 295275"/>
                  <a:gd name="connsiteX15" fmla="*/ 108585 w 152400"/>
                  <a:gd name="connsiteY15" fmla="*/ 233363 h 295275"/>
                  <a:gd name="connsiteX16" fmla="*/ 115253 w 152400"/>
                  <a:gd name="connsiteY16" fmla="*/ 248602 h 295275"/>
                  <a:gd name="connsiteX17" fmla="*/ 132397 w 152400"/>
                  <a:gd name="connsiteY17" fmla="*/ 254317 h 295275"/>
                  <a:gd name="connsiteX18" fmla="*/ 158115 w 152400"/>
                  <a:gd name="connsiteY18" fmla="*/ 248602 h 2952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152400" h="295275">
                    <a:moveTo>
                      <a:pt x="158115" y="248602"/>
                    </a:moveTo>
                    <a:lnTo>
                      <a:pt x="158115" y="297180"/>
                    </a:lnTo>
                    <a:cubicBezTo>
                      <a:pt x="142875" y="301942"/>
                      <a:pt x="128588" y="303848"/>
                      <a:pt x="114300" y="303848"/>
                    </a:cubicBezTo>
                    <a:cubicBezTo>
                      <a:pt x="88582" y="303848"/>
                      <a:pt x="68580" y="296228"/>
                      <a:pt x="54292" y="281940"/>
                    </a:cubicBezTo>
                    <a:cubicBezTo>
                      <a:pt x="41910" y="269557"/>
                      <a:pt x="36195" y="252413"/>
                      <a:pt x="36195" y="229552"/>
                    </a:cubicBezTo>
                    <a:lnTo>
                      <a:pt x="36195" y="107632"/>
                    </a:lnTo>
                    <a:lnTo>
                      <a:pt x="0" y="107632"/>
                    </a:lnTo>
                    <a:lnTo>
                      <a:pt x="0" y="58102"/>
                    </a:lnTo>
                    <a:lnTo>
                      <a:pt x="36195" y="58102"/>
                    </a:lnTo>
                    <a:lnTo>
                      <a:pt x="40957" y="0"/>
                    </a:lnTo>
                    <a:lnTo>
                      <a:pt x="108585" y="0"/>
                    </a:lnTo>
                    <a:lnTo>
                      <a:pt x="108585" y="58102"/>
                    </a:lnTo>
                    <a:lnTo>
                      <a:pt x="158115" y="58102"/>
                    </a:lnTo>
                    <a:lnTo>
                      <a:pt x="158115" y="107632"/>
                    </a:lnTo>
                    <a:lnTo>
                      <a:pt x="108585" y="107632"/>
                    </a:lnTo>
                    <a:lnTo>
                      <a:pt x="108585" y="233363"/>
                    </a:lnTo>
                    <a:cubicBezTo>
                      <a:pt x="108585" y="240030"/>
                      <a:pt x="110490" y="244792"/>
                      <a:pt x="115253" y="248602"/>
                    </a:cubicBezTo>
                    <a:cubicBezTo>
                      <a:pt x="119063" y="252413"/>
                      <a:pt x="124778" y="254317"/>
                      <a:pt x="132397" y="254317"/>
                    </a:cubicBezTo>
                    <a:cubicBezTo>
                      <a:pt x="138113" y="253365"/>
                      <a:pt x="146685" y="251460"/>
                      <a:pt x="158115" y="248602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2400">
                  <a:latin typeface="CiscoSansTT Light" panose="020B0503020201020303" pitchFamily="34" charset="0"/>
                  <a:cs typeface="CiscoSansTT Light" panose="020B0503020201020303" pitchFamily="34" charset="0"/>
                </a:endParaRPr>
              </a:p>
            </p:txBody>
          </p:sp>
          <p:sp>
            <p:nvSpPr>
              <p:cNvPr id="16" name="Freeform: Shape 15">
                <a:extLst>
                  <a:ext uri="{FF2B5EF4-FFF2-40B4-BE49-F238E27FC236}">
                    <a16:creationId xmlns:a16="http://schemas.microsoft.com/office/drawing/2014/main" id="{F90A1336-2D46-49AB-AD59-131208C200DC}"/>
                  </a:ext>
                </a:extLst>
              </p:cNvPr>
              <p:cNvSpPr/>
              <p:nvPr/>
            </p:nvSpPr>
            <p:spPr>
              <a:xfrm>
                <a:off x="5231452" y="3644688"/>
                <a:ext cx="247650" cy="247650"/>
              </a:xfrm>
              <a:custGeom>
                <a:avLst/>
                <a:gdLst>
                  <a:gd name="connsiteX0" fmla="*/ 0 w 247650"/>
                  <a:gd name="connsiteY0" fmla="*/ 125730 h 247650"/>
                  <a:gd name="connsiteX1" fmla="*/ 38100 w 247650"/>
                  <a:gd name="connsiteY1" fmla="*/ 27622 h 247650"/>
                  <a:gd name="connsiteX2" fmla="*/ 126682 w 247650"/>
                  <a:gd name="connsiteY2" fmla="*/ 0 h 247650"/>
                  <a:gd name="connsiteX3" fmla="*/ 224790 w 247650"/>
                  <a:gd name="connsiteY3" fmla="*/ 36195 h 247650"/>
                  <a:gd name="connsiteX4" fmla="*/ 254318 w 247650"/>
                  <a:gd name="connsiteY4" fmla="*/ 125730 h 247650"/>
                  <a:gd name="connsiteX5" fmla="*/ 216218 w 247650"/>
                  <a:gd name="connsiteY5" fmla="*/ 224790 h 247650"/>
                  <a:gd name="connsiteX6" fmla="*/ 127635 w 247650"/>
                  <a:gd name="connsiteY6" fmla="*/ 253365 h 247650"/>
                  <a:gd name="connsiteX7" fmla="*/ 30480 w 247650"/>
                  <a:gd name="connsiteY7" fmla="*/ 216218 h 247650"/>
                  <a:gd name="connsiteX8" fmla="*/ 0 w 247650"/>
                  <a:gd name="connsiteY8" fmla="*/ 125730 h 247650"/>
                  <a:gd name="connsiteX9" fmla="*/ 73343 w 247650"/>
                  <a:gd name="connsiteY9" fmla="*/ 125730 h 247650"/>
                  <a:gd name="connsiteX10" fmla="*/ 88582 w 247650"/>
                  <a:gd name="connsiteY10" fmla="*/ 189547 h 247650"/>
                  <a:gd name="connsiteX11" fmla="*/ 125730 w 247650"/>
                  <a:gd name="connsiteY11" fmla="*/ 204787 h 247650"/>
                  <a:gd name="connsiteX12" fmla="*/ 166688 w 247650"/>
                  <a:gd name="connsiteY12" fmla="*/ 184785 h 247650"/>
                  <a:gd name="connsiteX13" fmla="*/ 178118 w 247650"/>
                  <a:gd name="connsiteY13" fmla="*/ 125730 h 247650"/>
                  <a:gd name="connsiteX14" fmla="*/ 162878 w 247650"/>
                  <a:gd name="connsiteY14" fmla="*/ 62865 h 247650"/>
                  <a:gd name="connsiteX15" fmla="*/ 124778 w 247650"/>
                  <a:gd name="connsiteY15" fmla="*/ 48577 h 247650"/>
                  <a:gd name="connsiteX16" fmla="*/ 82868 w 247650"/>
                  <a:gd name="connsiteY16" fmla="*/ 68580 h 247650"/>
                  <a:gd name="connsiteX17" fmla="*/ 73343 w 247650"/>
                  <a:gd name="connsiteY17" fmla="*/ 125730 h 2476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247650" h="247650">
                    <a:moveTo>
                      <a:pt x="0" y="125730"/>
                    </a:moveTo>
                    <a:cubicBezTo>
                      <a:pt x="0" y="81915"/>
                      <a:pt x="12382" y="49530"/>
                      <a:pt x="38100" y="27622"/>
                    </a:cubicBezTo>
                    <a:cubicBezTo>
                      <a:pt x="60007" y="9525"/>
                      <a:pt x="89535" y="0"/>
                      <a:pt x="126682" y="0"/>
                    </a:cubicBezTo>
                    <a:cubicBezTo>
                      <a:pt x="170497" y="0"/>
                      <a:pt x="202882" y="12382"/>
                      <a:pt x="224790" y="36195"/>
                    </a:cubicBezTo>
                    <a:cubicBezTo>
                      <a:pt x="243840" y="58103"/>
                      <a:pt x="254318" y="87630"/>
                      <a:pt x="254318" y="125730"/>
                    </a:cubicBezTo>
                    <a:cubicBezTo>
                      <a:pt x="254318" y="169545"/>
                      <a:pt x="241935" y="202883"/>
                      <a:pt x="216218" y="224790"/>
                    </a:cubicBezTo>
                    <a:cubicBezTo>
                      <a:pt x="194310" y="243840"/>
                      <a:pt x="164782" y="253365"/>
                      <a:pt x="127635" y="253365"/>
                    </a:cubicBezTo>
                    <a:cubicBezTo>
                      <a:pt x="84772" y="253365"/>
                      <a:pt x="53340" y="240983"/>
                      <a:pt x="30480" y="216218"/>
                    </a:cubicBezTo>
                    <a:cubicBezTo>
                      <a:pt x="9525" y="194310"/>
                      <a:pt x="0" y="164783"/>
                      <a:pt x="0" y="125730"/>
                    </a:cubicBezTo>
                    <a:close/>
                    <a:moveTo>
                      <a:pt x="73343" y="125730"/>
                    </a:moveTo>
                    <a:cubicBezTo>
                      <a:pt x="73343" y="155258"/>
                      <a:pt x="78105" y="177165"/>
                      <a:pt x="88582" y="189547"/>
                    </a:cubicBezTo>
                    <a:cubicBezTo>
                      <a:pt x="97155" y="200025"/>
                      <a:pt x="109538" y="204787"/>
                      <a:pt x="125730" y="204787"/>
                    </a:cubicBezTo>
                    <a:cubicBezTo>
                      <a:pt x="144780" y="204787"/>
                      <a:pt x="159068" y="198120"/>
                      <a:pt x="166688" y="184785"/>
                    </a:cubicBezTo>
                    <a:cubicBezTo>
                      <a:pt x="174307" y="172403"/>
                      <a:pt x="178118" y="152400"/>
                      <a:pt x="178118" y="125730"/>
                    </a:cubicBezTo>
                    <a:cubicBezTo>
                      <a:pt x="178118" y="95250"/>
                      <a:pt x="173355" y="74295"/>
                      <a:pt x="162878" y="62865"/>
                    </a:cubicBezTo>
                    <a:cubicBezTo>
                      <a:pt x="154305" y="53340"/>
                      <a:pt x="141922" y="48577"/>
                      <a:pt x="124778" y="48577"/>
                    </a:cubicBezTo>
                    <a:cubicBezTo>
                      <a:pt x="105728" y="48577"/>
                      <a:pt x="91440" y="55245"/>
                      <a:pt x="82868" y="68580"/>
                    </a:cubicBezTo>
                    <a:cubicBezTo>
                      <a:pt x="77153" y="80010"/>
                      <a:pt x="73343" y="100012"/>
                      <a:pt x="73343" y="125730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2400">
                  <a:latin typeface="CiscoSansTT Light" panose="020B0503020201020303" pitchFamily="34" charset="0"/>
                  <a:cs typeface="CiscoSansTT Light" panose="020B0503020201020303" pitchFamily="34" charset="0"/>
                </a:endParaRPr>
              </a:p>
            </p:txBody>
          </p:sp>
          <p:sp>
            <p:nvSpPr>
              <p:cNvPr id="17" name="Freeform: Shape 16">
                <a:extLst>
                  <a:ext uri="{FF2B5EF4-FFF2-40B4-BE49-F238E27FC236}">
                    <a16:creationId xmlns:a16="http://schemas.microsoft.com/office/drawing/2014/main" id="{B240106F-2142-4512-9261-2BFFC7910B11}"/>
                  </a:ext>
                </a:extLst>
              </p:cNvPr>
              <p:cNvSpPr/>
              <p:nvPr/>
            </p:nvSpPr>
            <p:spPr>
              <a:xfrm>
                <a:off x="5521965" y="3644688"/>
                <a:ext cx="371475" cy="238125"/>
              </a:xfrm>
              <a:custGeom>
                <a:avLst/>
                <a:gdLst>
                  <a:gd name="connsiteX0" fmla="*/ 72390 w 371475"/>
                  <a:gd name="connsiteY0" fmla="*/ 246697 h 238125"/>
                  <a:gd name="connsiteX1" fmla="*/ 0 w 371475"/>
                  <a:gd name="connsiteY1" fmla="*/ 246697 h 238125"/>
                  <a:gd name="connsiteX2" fmla="*/ 0 w 371475"/>
                  <a:gd name="connsiteY2" fmla="*/ 6668 h 238125"/>
                  <a:gd name="connsiteX3" fmla="*/ 50482 w 371475"/>
                  <a:gd name="connsiteY3" fmla="*/ 6668 h 238125"/>
                  <a:gd name="connsiteX4" fmla="*/ 62865 w 371475"/>
                  <a:gd name="connsiteY4" fmla="*/ 33338 h 238125"/>
                  <a:gd name="connsiteX5" fmla="*/ 136207 w 371475"/>
                  <a:gd name="connsiteY5" fmla="*/ 0 h 238125"/>
                  <a:gd name="connsiteX6" fmla="*/ 208597 w 371475"/>
                  <a:gd name="connsiteY6" fmla="*/ 33338 h 238125"/>
                  <a:gd name="connsiteX7" fmla="*/ 287655 w 371475"/>
                  <a:gd name="connsiteY7" fmla="*/ 0 h 238125"/>
                  <a:gd name="connsiteX8" fmla="*/ 353378 w 371475"/>
                  <a:gd name="connsiteY8" fmla="*/ 23813 h 238125"/>
                  <a:gd name="connsiteX9" fmla="*/ 375285 w 371475"/>
                  <a:gd name="connsiteY9" fmla="*/ 90487 h 238125"/>
                  <a:gd name="connsiteX10" fmla="*/ 375285 w 371475"/>
                  <a:gd name="connsiteY10" fmla="*/ 246697 h 238125"/>
                  <a:gd name="connsiteX11" fmla="*/ 302895 w 371475"/>
                  <a:gd name="connsiteY11" fmla="*/ 246697 h 238125"/>
                  <a:gd name="connsiteX12" fmla="*/ 302895 w 371475"/>
                  <a:gd name="connsiteY12" fmla="*/ 89535 h 238125"/>
                  <a:gd name="connsiteX13" fmla="*/ 264795 w 371475"/>
                  <a:gd name="connsiteY13" fmla="*/ 51435 h 238125"/>
                  <a:gd name="connsiteX14" fmla="*/ 231457 w 371475"/>
                  <a:gd name="connsiteY14" fmla="*/ 67628 h 238125"/>
                  <a:gd name="connsiteX15" fmla="*/ 222885 w 371475"/>
                  <a:gd name="connsiteY15" fmla="*/ 100012 h 238125"/>
                  <a:gd name="connsiteX16" fmla="*/ 222885 w 371475"/>
                  <a:gd name="connsiteY16" fmla="*/ 246697 h 238125"/>
                  <a:gd name="connsiteX17" fmla="*/ 150495 w 371475"/>
                  <a:gd name="connsiteY17" fmla="*/ 246697 h 238125"/>
                  <a:gd name="connsiteX18" fmla="*/ 150495 w 371475"/>
                  <a:gd name="connsiteY18" fmla="*/ 89535 h 238125"/>
                  <a:gd name="connsiteX19" fmla="*/ 112395 w 371475"/>
                  <a:gd name="connsiteY19" fmla="*/ 51435 h 238125"/>
                  <a:gd name="connsiteX20" fmla="*/ 80963 w 371475"/>
                  <a:gd name="connsiteY20" fmla="*/ 66675 h 238125"/>
                  <a:gd name="connsiteX21" fmla="*/ 71438 w 371475"/>
                  <a:gd name="connsiteY21" fmla="*/ 97155 h 238125"/>
                  <a:gd name="connsiteX22" fmla="*/ 71438 w 371475"/>
                  <a:gd name="connsiteY22" fmla="*/ 246697 h 2381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</a:cxnLst>
                <a:rect l="l" t="t" r="r" b="b"/>
                <a:pathLst>
                  <a:path w="371475" h="238125">
                    <a:moveTo>
                      <a:pt x="72390" y="246697"/>
                    </a:moveTo>
                    <a:lnTo>
                      <a:pt x="0" y="246697"/>
                    </a:lnTo>
                    <a:lnTo>
                      <a:pt x="0" y="6668"/>
                    </a:lnTo>
                    <a:lnTo>
                      <a:pt x="50482" y="6668"/>
                    </a:lnTo>
                    <a:lnTo>
                      <a:pt x="62865" y="33338"/>
                    </a:lnTo>
                    <a:cubicBezTo>
                      <a:pt x="80963" y="11430"/>
                      <a:pt x="105728" y="0"/>
                      <a:pt x="136207" y="0"/>
                    </a:cubicBezTo>
                    <a:cubicBezTo>
                      <a:pt x="169545" y="0"/>
                      <a:pt x="194310" y="11430"/>
                      <a:pt x="208597" y="33338"/>
                    </a:cubicBezTo>
                    <a:cubicBezTo>
                      <a:pt x="228600" y="11430"/>
                      <a:pt x="254318" y="0"/>
                      <a:pt x="287655" y="0"/>
                    </a:cubicBezTo>
                    <a:cubicBezTo>
                      <a:pt x="316230" y="0"/>
                      <a:pt x="338138" y="7620"/>
                      <a:pt x="353378" y="23813"/>
                    </a:cubicBezTo>
                    <a:cubicBezTo>
                      <a:pt x="367665" y="39052"/>
                      <a:pt x="375285" y="61912"/>
                      <a:pt x="375285" y="90487"/>
                    </a:cubicBezTo>
                    <a:lnTo>
                      <a:pt x="375285" y="246697"/>
                    </a:lnTo>
                    <a:lnTo>
                      <a:pt x="302895" y="246697"/>
                    </a:lnTo>
                    <a:lnTo>
                      <a:pt x="302895" y="89535"/>
                    </a:lnTo>
                    <a:cubicBezTo>
                      <a:pt x="302895" y="63818"/>
                      <a:pt x="290513" y="51435"/>
                      <a:pt x="264795" y="51435"/>
                    </a:cubicBezTo>
                    <a:cubicBezTo>
                      <a:pt x="250507" y="51435"/>
                      <a:pt x="239078" y="57150"/>
                      <a:pt x="231457" y="67628"/>
                    </a:cubicBezTo>
                    <a:cubicBezTo>
                      <a:pt x="225743" y="76200"/>
                      <a:pt x="222885" y="86678"/>
                      <a:pt x="222885" y="100012"/>
                    </a:cubicBezTo>
                    <a:lnTo>
                      <a:pt x="222885" y="246697"/>
                    </a:lnTo>
                    <a:lnTo>
                      <a:pt x="150495" y="246697"/>
                    </a:lnTo>
                    <a:lnTo>
                      <a:pt x="150495" y="89535"/>
                    </a:lnTo>
                    <a:cubicBezTo>
                      <a:pt x="150495" y="63818"/>
                      <a:pt x="138113" y="51435"/>
                      <a:pt x="112395" y="51435"/>
                    </a:cubicBezTo>
                    <a:cubicBezTo>
                      <a:pt x="99060" y="51435"/>
                      <a:pt x="88582" y="56197"/>
                      <a:pt x="80963" y="66675"/>
                    </a:cubicBezTo>
                    <a:cubicBezTo>
                      <a:pt x="74295" y="75247"/>
                      <a:pt x="71438" y="85725"/>
                      <a:pt x="71438" y="97155"/>
                    </a:cubicBezTo>
                    <a:lnTo>
                      <a:pt x="71438" y="246697"/>
                    </a:ln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2400">
                  <a:latin typeface="CiscoSansTT Light" panose="020B0503020201020303" pitchFamily="34" charset="0"/>
                  <a:cs typeface="CiscoSansTT Light" panose="020B0503020201020303" pitchFamily="34" charset="0"/>
                </a:endParaRPr>
              </a:p>
            </p:txBody>
          </p:sp>
          <p:sp>
            <p:nvSpPr>
              <p:cNvPr id="18" name="Freeform: Shape 17">
                <a:extLst>
                  <a:ext uri="{FF2B5EF4-FFF2-40B4-BE49-F238E27FC236}">
                    <a16:creationId xmlns:a16="http://schemas.microsoft.com/office/drawing/2014/main" id="{DB8CFF30-3B90-4182-8B59-B81025B2D96E}"/>
                  </a:ext>
                </a:extLst>
              </p:cNvPr>
              <p:cNvSpPr/>
              <p:nvPr/>
            </p:nvSpPr>
            <p:spPr>
              <a:xfrm>
                <a:off x="5934397" y="3645640"/>
                <a:ext cx="247650" cy="247650"/>
              </a:xfrm>
              <a:custGeom>
                <a:avLst/>
                <a:gdLst>
                  <a:gd name="connsiteX0" fmla="*/ 170498 w 247650"/>
                  <a:gd name="connsiteY0" fmla="*/ 176213 h 247650"/>
                  <a:gd name="connsiteX1" fmla="*/ 243840 w 247650"/>
                  <a:gd name="connsiteY1" fmla="*/ 176213 h 247650"/>
                  <a:gd name="connsiteX2" fmla="*/ 203835 w 247650"/>
                  <a:gd name="connsiteY2" fmla="*/ 234315 h 247650"/>
                  <a:gd name="connsiteX3" fmla="*/ 125730 w 247650"/>
                  <a:gd name="connsiteY3" fmla="*/ 253365 h 247650"/>
                  <a:gd name="connsiteX4" fmla="*/ 30480 w 247650"/>
                  <a:gd name="connsiteY4" fmla="*/ 215265 h 247650"/>
                  <a:gd name="connsiteX5" fmla="*/ 0 w 247650"/>
                  <a:gd name="connsiteY5" fmla="*/ 126682 h 247650"/>
                  <a:gd name="connsiteX6" fmla="*/ 38100 w 247650"/>
                  <a:gd name="connsiteY6" fmla="*/ 28575 h 247650"/>
                  <a:gd name="connsiteX7" fmla="*/ 123825 w 247650"/>
                  <a:gd name="connsiteY7" fmla="*/ 0 h 247650"/>
                  <a:gd name="connsiteX8" fmla="*/ 218123 w 247650"/>
                  <a:gd name="connsiteY8" fmla="*/ 40957 h 247650"/>
                  <a:gd name="connsiteX9" fmla="*/ 247650 w 247650"/>
                  <a:gd name="connsiteY9" fmla="*/ 144780 h 247650"/>
                  <a:gd name="connsiteX10" fmla="*/ 72390 w 247650"/>
                  <a:gd name="connsiteY10" fmla="*/ 144780 h 247650"/>
                  <a:gd name="connsiteX11" fmla="*/ 129540 w 247650"/>
                  <a:gd name="connsiteY11" fmla="*/ 203835 h 247650"/>
                  <a:gd name="connsiteX12" fmla="*/ 157163 w 247650"/>
                  <a:gd name="connsiteY12" fmla="*/ 197168 h 247650"/>
                  <a:gd name="connsiteX13" fmla="*/ 170498 w 247650"/>
                  <a:gd name="connsiteY13" fmla="*/ 176213 h 247650"/>
                  <a:gd name="connsiteX14" fmla="*/ 121920 w 247650"/>
                  <a:gd name="connsiteY14" fmla="*/ 44768 h 247650"/>
                  <a:gd name="connsiteX15" fmla="*/ 72390 w 247650"/>
                  <a:gd name="connsiteY15" fmla="*/ 101918 h 247650"/>
                  <a:gd name="connsiteX16" fmla="*/ 173355 w 247650"/>
                  <a:gd name="connsiteY16" fmla="*/ 101918 h 247650"/>
                  <a:gd name="connsiteX17" fmla="*/ 121920 w 247650"/>
                  <a:gd name="connsiteY17" fmla="*/ 44768 h 2476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247650" h="247650">
                    <a:moveTo>
                      <a:pt x="170498" y="176213"/>
                    </a:moveTo>
                    <a:lnTo>
                      <a:pt x="243840" y="176213"/>
                    </a:lnTo>
                    <a:cubicBezTo>
                      <a:pt x="238125" y="200978"/>
                      <a:pt x="223838" y="220980"/>
                      <a:pt x="203835" y="234315"/>
                    </a:cubicBezTo>
                    <a:cubicBezTo>
                      <a:pt x="183833" y="246697"/>
                      <a:pt x="157163" y="253365"/>
                      <a:pt x="125730" y="253365"/>
                    </a:cubicBezTo>
                    <a:cubicBezTo>
                      <a:pt x="84773" y="253365"/>
                      <a:pt x="53340" y="240983"/>
                      <a:pt x="30480" y="215265"/>
                    </a:cubicBezTo>
                    <a:cubicBezTo>
                      <a:pt x="9525" y="192405"/>
                      <a:pt x="0" y="162878"/>
                      <a:pt x="0" y="126682"/>
                    </a:cubicBezTo>
                    <a:cubicBezTo>
                      <a:pt x="0" y="83820"/>
                      <a:pt x="12383" y="50482"/>
                      <a:pt x="38100" y="28575"/>
                    </a:cubicBezTo>
                    <a:cubicBezTo>
                      <a:pt x="60008" y="9525"/>
                      <a:pt x="88583" y="0"/>
                      <a:pt x="123825" y="0"/>
                    </a:cubicBezTo>
                    <a:cubicBezTo>
                      <a:pt x="165735" y="0"/>
                      <a:pt x="197168" y="13335"/>
                      <a:pt x="218123" y="40957"/>
                    </a:cubicBezTo>
                    <a:cubicBezTo>
                      <a:pt x="237173" y="65722"/>
                      <a:pt x="247650" y="100013"/>
                      <a:pt x="247650" y="144780"/>
                    </a:cubicBezTo>
                    <a:lnTo>
                      <a:pt x="72390" y="144780"/>
                    </a:lnTo>
                    <a:cubicBezTo>
                      <a:pt x="77153" y="183833"/>
                      <a:pt x="96203" y="203835"/>
                      <a:pt x="129540" y="203835"/>
                    </a:cubicBezTo>
                    <a:cubicBezTo>
                      <a:pt x="140018" y="203835"/>
                      <a:pt x="149543" y="201930"/>
                      <a:pt x="157163" y="197168"/>
                    </a:cubicBezTo>
                    <a:cubicBezTo>
                      <a:pt x="163830" y="191453"/>
                      <a:pt x="168593" y="184785"/>
                      <a:pt x="170498" y="176213"/>
                    </a:cubicBezTo>
                    <a:close/>
                    <a:moveTo>
                      <a:pt x="121920" y="44768"/>
                    </a:moveTo>
                    <a:cubicBezTo>
                      <a:pt x="92393" y="44768"/>
                      <a:pt x="76200" y="63818"/>
                      <a:pt x="72390" y="101918"/>
                    </a:cubicBezTo>
                    <a:lnTo>
                      <a:pt x="173355" y="101918"/>
                    </a:lnTo>
                    <a:cubicBezTo>
                      <a:pt x="170498" y="63818"/>
                      <a:pt x="153353" y="44768"/>
                      <a:pt x="121920" y="44768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2400">
                  <a:latin typeface="CiscoSansTT Light" panose="020B0503020201020303" pitchFamily="34" charset="0"/>
                  <a:cs typeface="CiscoSansTT Light" panose="020B0503020201020303" pitchFamily="34" charset="0"/>
                </a:endParaRPr>
              </a:p>
            </p:txBody>
          </p:sp>
          <p:sp>
            <p:nvSpPr>
              <p:cNvPr id="19" name="Freeform: Shape 18">
                <a:extLst>
                  <a:ext uri="{FF2B5EF4-FFF2-40B4-BE49-F238E27FC236}">
                    <a16:creationId xmlns:a16="http://schemas.microsoft.com/office/drawing/2014/main" id="{2D192A82-0EAF-4951-B698-9291EB2AF632}"/>
                  </a:ext>
                </a:extLst>
              </p:cNvPr>
              <p:cNvSpPr/>
              <p:nvPr/>
            </p:nvSpPr>
            <p:spPr>
              <a:xfrm>
                <a:off x="6216337" y="3643735"/>
                <a:ext cx="152400" cy="247650"/>
              </a:xfrm>
              <a:custGeom>
                <a:avLst/>
                <a:gdLst>
                  <a:gd name="connsiteX0" fmla="*/ 72390 w 152400"/>
                  <a:gd name="connsiteY0" fmla="*/ 247650 h 247650"/>
                  <a:gd name="connsiteX1" fmla="*/ 0 w 152400"/>
                  <a:gd name="connsiteY1" fmla="*/ 247650 h 247650"/>
                  <a:gd name="connsiteX2" fmla="*/ 0 w 152400"/>
                  <a:gd name="connsiteY2" fmla="*/ 7620 h 247650"/>
                  <a:gd name="connsiteX3" fmla="*/ 60008 w 152400"/>
                  <a:gd name="connsiteY3" fmla="*/ 7620 h 247650"/>
                  <a:gd name="connsiteX4" fmla="*/ 67628 w 152400"/>
                  <a:gd name="connsiteY4" fmla="*/ 43815 h 247650"/>
                  <a:gd name="connsiteX5" fmla="*/ 130493 w 152400"/>
                  <a:gd name="connsiteY5" fmla="*/ 0 h 247650"/>
                  <a:gd name="connsiteX6" fmla="*/ 158115 w 152400"/>
                  <a:gd name="connsiteY6" fmla="*/ 2858 h 247650"/>
                  <a:gd name="connsiteX7" fmla="*/ 158115 w 152400"/>
                  <a:gd name="connsiteY7" fmla="*/ 69533 h 247650"/>
                  <a:gd name="connsiteX8" fmla="*/ 127635 w 152400"/>
                  <a:gd name="connsiteY8" fmla="*/ 64770 h 247650"/>
                  <a:gd name="connsiteX9" fmla="*/ 87630 w 152400"/>
                  <a:gd name="connsiteY9" fmla="*/ 88583 h 247650"/>
                  <a:gd name="connsiteX10" fmla="*/ 73343 w 152400"/>
                  <a:gd name="connsiteY10" fmla="*/ 146685 h 247650"/>
                  <a:gd name="connsiteX11" fmla="*/ 73343 w 152400"/>
                  <a:gd name="connsiteY11" fmla="*/ 247650 h 2476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152400" h="247650">
                    <a:moveTo>
                      <a:pt x="72390" y="247650"/>
                    </a:moveTo>
                    <a:lnTo>
                      <a:pt x="0" y="247650"/>
                    </a:lnTo>
                    <a:lnTo>
                      <a:pt x="0" y="7620"/>
                    </a:lnTo>
                    <a:lnTo>
                      <a:pt x="60008" y="7620"/>
                    </a:lnTo>
                    <a:lnTo>
                      <a:pt x="67628" y="43815"/>
                    </a:lnTo>
                    <a:cubicBezTo>
                      <a:pt x="80963" y="15240"/>
                      <a:pt x="101918" y="0"/>
                      <a:pt x="130493" y="0"/>
                    </a:cubicBezTo>
                    <a:cubicBezTo>
                      <a:pt x="140970" y="0"/>
                      <a:pt x="150495" y="953"/>
                      <a:pt x="158115" y="2858"/>
                    </a:cubicBezTo>
                    <a:lnTo>
                      <a:pt x="158115" y="69533"/>
                    </a:lnTo>
                    <a:cubicBezTo>
                      <a:pt x="148590" y="66675"/>
                      <a:pt x="138113" y="64770"/>
                      <a:pt x="127635" y="64770"/>
                    </a:cubicBezTo>
                    <a:cubicBezTo>
                      <a:pt x="111443" y="64770"/>
                      <a:pt x="98108" y="72390"/>
                      <a:pt x="87630" y="88583"/>
                    </a:cubicBezTo>
                    <a:cubicBezTo>
                      <a:pt x="78105" y="102870"/>
                      <a:pt x="73343" y="122873"/>
                      <a:pt x="73343" y="146685"/>
                    </a:cubicBezTo>
                    <a:lnTo>
                      <a:pt x="73343" y="247650"/>
                    </a:ln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2400">
                  <a:latin typeface="CiscoSansTT Light" panose="020B0503020201020303" pitchFamily="34" charset="0"/>
                  <a:cs typeface="CiscoSansTT Light" panose="020B0503020201020303" pitchFamily="34" charset="0"/>
                </a:endParaRPr>
              </a:p>
            </p:txBody>
          </p:sp>
          <p:sp>
            <p:nvSpPr>
              <p:cNvPr id="20" name="Freeform: Shape 19">
                <a:extLst>
                  <a:ext uri="{FF2B5EF4-FFF2-40B4-BE49-F238E27FC236}">
                    <a16:creationId xmlns:a16="http://schemas.microsoft.com/office/drawing/2014/main" id="{80C91A13-B1E2-46AB-A230-643F57D492E5}"/>
                  </a:ext>
                </a:extLst>
              </p:cNvPr>
              <p:cNvSpPr/>
              <p:nvPr/>
            </p:nvSpPr>
            <p:spPr>
              <a:xfrm>
                <a:off x="6522090" y="3559915"/>
                <a:ext cx="219075" cy="323850"/>
              </a:xfrm>
              <a:custGeom>
                <a:avLst/>
                <a:gdLst>
                  <a:gd name="connsiteX0" fmla="*/ 210503 w 219075"/>
                  <a:gd name="connsiteY0" fmla="*/ 137160 h 323850"/>
                  <a:gd name="connsiteX1" fmla="*/ 210503 w 219075"/>
                  <a:gd name="connsiteY1" fmla="*/ 190500 h 323850"/>
                  <a:gd name="connsiteX2" fmla="*/ 77153 w 219075"/>
                  <a:gd name="connsiteY2" fmla="*/ 190500 h 323850"/>
                  <a:gd name="connsiteX3" fmla="*/ 77153 w 219075"/>
                  <a:gd name="connsiteY3" fmla="*/ 275272 h 323850"/>
                  <a:gd name="connsiteX4" fmla="*/ 223838 w 219075"/>
                  <a:gd name="connsiteY4" fmla="*/ 275272 h 323850"/>
                  <a:gd name="connsiteX5" fmla="*/ 223838 w 219075"/>
                  <a:gd name="connsiteY5" fmla="*/ 331470 h 323850"/>
                  <a:gd name="connsiteX6" fmla="*/ 0 w 219075"/>
                  <a:gd name="connsiteY6" fmla="*/ 331470 h 323850"/>
                  <a:gd name="connsiteX7" fmla="*/ 0 w 219075"/>
                  <a:gd name="connsiteY7" fmla="*/ 0 h 323850"/>
                  <a:gd name="connsiteX8" fmla="*/ 223838 w 219075"/>
                  <a:gd name="connsiteY8" fmla="*/ 0 h 323850"/>
                  <a:gd name="connsiteX9" fmla="*/ 223838 w 219075"/>
                  <a:gd name="connsiteY9" fmla="*/ 57150 h 323850"/>
                  <a:gd name="connsiteX10" fmla="*/ 77153 w 219075"/>
                  <a:gd name="connsiteY10" fmla="*/ 57150 h 323850"/>
                  <a:gd name="connsiteX11" fmla="*/ 77153 w 219075"/>
                  <a:gd name="connsiteY11" fmla="*/ 138113 h 323850"/>
                  <a:gd name="connsiteX12" fmla="*/ 210503 w 219075"/>
                  <a:gd name="connsiteY12" fmla="*/ 138113 h 3238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219075" h="323850">
                    <a:moveTo>
                      <a:pt x="210503" y="137160"/>
                    </a:moveTo>
                    <a:lnTo>
                      <a:pt x="210503" y="190500"/>
                    </a:lnTo>
                    <a:lnTo>
                      <a:pt x="77153" y="190500"/>
                    </a:lnTo>
                    <a:lnTo>
                      <a:pt x="77153" y="275272"/>
                    </a:lnTo>
                    <a:lnTo>
                      <a:pt x="223838" y="275272"/>
                    </a:lnTo>
                    <a:lnTo>
                      <a:pt x="223838" y="331470"/>
                    </a:lnTo>
                    <a:lnTo>
                      <a:pt x="0" y="331470"/>
                    </a:lnTo>
                    <a:lnTo>
                      <a:pt x="0" y="0"/>
                    </a:lnTo>
                    <a:lnTo>
                      <a:pt x="223838" y="0"/>
                    </a:lnTo>
                    <a:lnTo>
                      <a:pt x="223838" y="57150"/>
                    </a:lnTo>
                    <a:lnTo>
                      <a:pt x="77153" y="57150"/>
                    </a:lnTo>
                    <a:lnTo>
                      <a:pt x="77153" y="138113"/>
                    </a:lnTo>
                    <a:lnTo>
                      <a:pt x="210503" y="138113"/>
                    </a:ln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2400">
                  <a:latin typeface="CiscoSansTT Light" panose="020B0503020201020303" pitchFamily="34" charset="0"/>
                  <a:cs typeface="CiscoSansTT Light" panose="020B0503020201020303" pitchFamily="34" charset="0"/>
                </a:endParaRPr>
              </a:p>
            </p:txBody>
          </p:sp>
          <p:sp>
            <p:nvSpPr>
              <p:cNvPr id="21" name="Freeform: Shape 20">
                <a:extLst>
                  <a:ext uri="{FF2B5EF4-FFF2-40B4-BE49-F238E27FC236}">
                    <a16:creationId xmlns:a16="http://schemas.microsoft.com/office/drawing/2014/main" id="{2D1B10F0-040A-47F8-B34E-69FE25EF43B1}"/>
                  </a:ext>
                </a:extLst>
              </p:cNvPr>
              <p:cNvSpPr/>
              <p:nvPr/>
            </p:nvSpPr>
            <p:spPr>
              <a:xfrm>
                <a:off x="6768787" y="3651355"/>
                <a:ext cx="257175" cy="238125"/>
              </a:xfrm>
              <a:custGeom>
                <a:avLst/>
                <a:gdLst>
                  <a:gd name="connsiteX0" fmla="*/ 246697 w 257175"/>
                  <a:gd name="connsiteY0" fmla="*/ 0 h 238125"/>
                  <a:gd name="connsiteX1" fmla="*/ 167640 w 257175"/>
                  <a:gd name="connsiteY1" fmla="*/ 113348 h 238125"/>
                  <a:gd name="connsiteX2" fmla="*/ 259080 w 257175"/>
                  <a:gd name="connsiteY2" fmla="*/ 240982 h 238125"/>
                  <a:gd name="connsiteX3" fmla="*/ 172403 w 257175"/>
                  <a:gd name="connsiteY3" fmla="*/ 240982 h 238125"/>
                  <a:gd name="connsiteX4" fmla="*/ 125730 w 257175"/>
                  <a:gd name="connsiteY4" fmla="*/ 166688 h 238125"/>
                  <a:gd name="connsiteX5" fmla="*/ 76200 w 257175"/>
                  <a:gd name="connsiteY5" fmla="*/ 240982 h 238125"/>
                  <a:gd name="connsiteX6" fmla="*/ 0 w 257175"/>
                  <a:gd name="connsiteY6" fmla="*/ 240982 h 238125"/>
                  <a:gd name="connsiteX7" fmla="*/ 89535 w 257175"/>
                  <a:gd name="connsiteY7" fmla="*/ 114300 h 238125"/>
                  <a:gd name="connsiteX8" fmla="*/ 4763 w 257175"/>
                  <a:gd name="connsiteY8" fmla="*/ 952 h 238125"/>
                  <a:gd name="connsiteX9" fmla="*/ 88583 w 257175"/>
                  <a:gd name="connsiteY9" fmla="*/ 952 h 238125"/>
                  <a:gd name="connsiteX10" fmla="*/ 129540 w 257175"/>
                  <a:gd name="connsiteY10" fmla="*/ 62865 h 238125"/>
                  <a:gd name="connsiteX11" fmla="*/ 171450 w 257175"/>
                  <a:gd name="connsiteY11" fmla="*/ 0 h 238125"/>
                  <a:gd name="connsiteX12" fmla="*/ 246697 w 257175"/>
                  <a:gd name="connsiteY12" fmla="*/ 0 h 2381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257175" h="238125">
                    <a:moveTo>
                      <a:pt x="246697" y="0"/>
                    </a:moveTo>
                    <a:lnTo>
                      <a:pt x="167640" y="113348"/>
                    </a:lnTo>
                    <a:lnTo>
                      <a:pt x="259080" y="240982"/>
                    </a:lnTo>
                    <a:lnTo>
                      <a:pt x="172403" y="240982"/>
                    </a:lnTo>
                    <a:lnTo>
                      <a:pt x="125730" y="166688"/>
                    </a:lnTo>
                    <a:lnTo>
                      <a:pt x="76200" y="240982"/>
                    </a:lnTo>
                    <a:lnTo>
                      <a:pt x="0" y="240982"/>
                    </a:lnTo>
                    <a:lnTo>
                      <a:pt x="89535" y="114300"/>
                    </a:lnTo>
                    <a:lnTo>
                      <a:pt x="4763" y="952"/>
                    </a:lnTo>
                    <a:lnTo>
                      <a:pt x="88583" y="952"/>
                    </a:lnTo>
                    <a:lnTo>
                      <a:pt x="129540" y="62865"/>
                    </a:lnTo>
                    <a:lnTo>
                      <a:pt x="171450" y="0"/>
                    </a:lnTo>
                    <a:lnTo>
                      <a:pt x="246697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2400">
                  <a:latin typeface="CiscoSansTT Light" panose="020B0503020201020303" pitchFamily="34" charset="0"/>
                  <a:cs typeface="CiscoSansTT Light" panose="020B0503020201020303" pitchFamily="34" charset="0"/>
                </a:endParaRPr>
              </a:p>
            </p:txBody>
          </p:sp>
          <p:sp>
            <p:nvSpPr>
              <p:cNvPr id="22" name="Freeform: Shape 21">
                <a:extLst>
                  <a:ext uri="{FF2B5EF4-FFF2-40B4-BE49-F238E27FC236}">
                    <a16:creationId xmlns:a16="http://schemas.microsoft.com/office/drawing/2014/main" id="{89AB0E61-3929-4193-9DEA-833BB0837D27}"/>
                  </a:ext>
                </a:extLst>
              </p:cNvPr>
              <p:cNvSpPr/>
              <p:nvPr/>
            </p:nvSpPr>
            <p:spPr>
              <a:xfrm>
                <a:off x="7052632" y="3644688"/>
                <a:ext cx="247650" cy="323850"/>
              </a:xfrm>
              <a:custGeom>
                <a:avLst/>
                <a:gdLst>
                  <a:gd name="connsiteX0" fmla="*/ 138113 w 247650"/>
                  <a:gd name="connsiteY0" fmla="*/ 253365 h 323850"/>
                  <a:gd name="connsiteX1" fmla="*/ 72390 w 247650"/>
                  <a:gd name="connsiteY1" fmla="*/ 225743 h 323850"/>
                  <a:gd name="connsiteX2" fmla="*/ 72390 w 247650"/>
                  <a:gd name="connsiteY2" fmla="*/ 329565 h 323850"/>
                  <a:gd name="connsiteX3" fmla="*/ 0 w 247650"/>
                  <a:gd name="connsiteY3" fmla="*/ 329565 h 323850"/>
                  <a:gd name="connsiteX4" fmla="*/ 0 w 247650"/>
                  <a:gd name="connsiteY4" fmla="*/ 6668 h 323850"/>
                  <a:gd name="connsiteX5" fmla="*/ 54292 w 247650"/>
                  <a:gd name="connsiteY5" fmla="*/ 6668 h 323850"/>
                  <a:gd name="connsiteX6" fmla="*/ 68580 w 247650"/>
                  <a:gd name="connsiteY6" fmla="*/ 33338 h 323850"/>
                  <a:gd name="connsiteX7" fmla="*/ 144780 w 247650"/>
                  <a:gd name="connsiteY7" fmla="*/ 0 h 323850"/>
                  <a:gd name="connsiteX8" fmla="*/ 225742 w 247650"/>
                  <a:gd name="connsiteY8" fmla="*/ 36195 h 323850"/>
                  <a:gd name="connsiteX9" fmla="*/ 251460 w 247650"/>
                  <a:gd name="connsiteY9" fmla="*/ 123825 h 323850"/>
                  <a:gd name="connsiteX10" fmla="*/ 214313 w 247650"/>
                  <a:gd name="connsiteY10" fmla="*/ 224790 h 323850"/>
                  <a:gd name="connsiteX11" fmla="*/ 138113 w 247650"/>
                  <a:gd name="connsiteY11" fmla="*/ 253365 h 323850"/>
                  <a:gd name="connsiteX12" fmla="*/ 179070 w 247650"/>
                  <a:gd name="connsiteY12" fmla="*/ 124778 h 323850"/>
                  <a:gd name="connsiteX13" fmla="*/ 125730 w 247650"/>
                  <a:gd name="connsiteY13" fmla="*/ 52387 h 323850"/>
                  <a:gd name="connsiteX14" fmla="*/ 83820 w 247650"/>
                  <a:gd name="connsiteY14" fmla="*/ 72390 h 323850"/>
                  <a:gd name="connsiteX15" fmla="*/ 69532 w 247650"/>
                  <a:gd name="connsiteY15" fmla="*/ 123825 h 323850"/>
                  <a:gd name="connsiteX16" fmla="*/ 122872 w 247650"/>
                  <a:gd name="connsiteY16" fmla="*/ 200978 h 323850"/>
                  <a:gd name="connsiteX17" fmla="*/ 164782 w 247650"/>
                  <a:gd name="connsiteY17" fmla="*/ 180022 h 323850"/>
                  <a:gd name="connsiteX18" fmla="*/ 179070 w 247650"/>
                  <a:gd name="connsiteY18" fmla="*/ 124778 h 3238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247650" h="323850">
                    <a:moveTo>
                      <a:pt x="138113" y="253365"/>
                    </a:moveTo>
                    <a:cubicBezTo>
                      <a:pt x="112395" y="253365"/>
                      <a:pt x="89535" y="243840"/>
                      <a:pt x="72390" y="225743"/>
                    </a:cubicBezTo>
                    <a:lnTo>
                      <a:pt x="72390" y="329565"/>
                    </a:lnTo>
                    <a:lnTo>
                      <a:pt x="0" y="329565"/>
                    </a:lnTo>
                    <a:lnTo>
                      <a:pt x="0" y="6668"/>
                    </a:lnTo>
                    <a:lnTo>
                      <a:pt x="54292" y="6668"/>
                    </a:lnTo>
                    <a:lnTo>
                      <a:pt x="68580" y="33338"/>
                    </a:lnTo>
                    <a:cubicBezTo>
                      <a:pt x="87630" y="10477"/>
                      <a:pt x="113347" y="0"/>
                      <a:pt x="144780" y="0"/>
                    </a:cubicBezTo>
                    <a:cubicBezTo>
                      <a:pt x="180022" y="0"/>
                      <a:pt x="206692" y="12382"/>
                      <a:pt x="225742" y="36195"/>
                    </a:cubicBezTo>
                    <a:cubicBezTo>
                      <a:pt x="242888" y="58103"/>
                      <a:pt x="251460" y="86678"/>
                      <a:pt x="251460" y="123825"/>
                    </a:cubicBezTo>
                    <a:cubicBezTo>
                      <a:pt x="251460" y="166687"/>
                      <a:pt x="239077" y="200025"/>
                      <a:pt x="214313" y="224790"/>
                    </a:cubicBezTo>
                    <a:cubicBezTo>
                      <a:pt x="194310" y="243840"/>
                      <a:pt x="169545" y="253365"/>
                      <a:pt x="138113" y="253365"/>
                    </a:cubicBezTo>
                    <a:close/>
                    <a:moveTo>
                      <a:pt x="179070" y="124778"/>
                    </a:moveTo>
                    <a:cubicBezTo>
                      <a:pt x="179070" y="76200"/>
                      <a:pt x="160972" y="52387"/>
                      <a:pt x="125730" y="52387"/>
                    </a:cubicBezTo>
                    <a:cubicBezTo>
                      <a:pt x="107632" y="52387"/>
                      <a:pt x="93345" y="59055"/>
                      <a:pt x="83820" y="72390"/>
                    </a:cubicBezTo>
                    <a:cubicBezTo>
                      <a:pt x="74295" y="84772"/>
                      <a:pt x="69532" y="101918"/>
                      <a:pt x="69532" y="123825"/>
                    </a:cubicBezTo>
                    <a:cubicBezTo>
                      <a:pt x="69532" y="175260"/>
                      <a:pt x="87630" y="200978"/>
                      <a:pt x="122872" y="200978"/>
                    </a:cubicBezTo>
                    <a:cubicBezTo>
                      <a:pt x="140970" y="200978"/>
                      <a:pt x="155257" y="194310"/>
                      <a:pt x="164782" y="180022"/>
                    </a:cubicBezTo>
                    <a:cubicBezTo>
                      <a:pt x="175260" y="166687"/>
                      <a:pt x="179070" y="148590"/>
                      <a:pt x="179070" y="124778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2400">
                  <a:latin typeface="CiscoSansTT Light" panose="020B0503020201020303" pitchFamily="34" charset="0"/>
                  <a:cs typeface="CiscoSansTT Light" panose="020B0503020201020303" pitchFamily="34" charset="0"/>
                </a:endParaRPr>
              </a:p>
            </p:txBody>
          </p:sp>
          <p:sp>
            <p:nvSpPr>
              <p:cNvPr id="23" name="Freeform: Shape 22">
                <a:extLst>
                  <a:ext uri="{FF2B5EF4-FFF2-40B4-BE49-F238E27FC236}">
                    <a16:creationId xmlns:a16="http://schemas.microsoft.com/office/drawing/2014/main" id="{2E4DD595-C4FA-44EC-8D49-177AF0C87545}"/>
                  </a:ext>
                </a:extLst>
              </p:cNvPr>
              <p:cNvSpPr/>
              <p:nvPr/>
            </p:nvSpPr>
            <p:spPr>
              <a:xfrm>
                <a:off x="7332667" y="3645640"/>
                <a:ext cx="238125" cy="247650"/>
              </a:xfrm>
              <a:custGeom>
                <a:avLst/>
                <a:gdLst>
                  <a:gd name="connsiteX0" fmla="*/ 170497 w 238125"/>
                  <a:gd name="connsiteY0" fmla="*/ 176213 h 247650"/>
                  <a:gd name="connsiteX1" fmla="*/ 243840 w 238125"/>
                  <a:gd name="connsiteY1" fmla="*/ 176213 h 247650"/>
                  <a:gd name="connsiteX2" fmla="*/ 203835 w 238125"/>
                  <a:gd name="connsiteY2" fmla="*/ 234315 h 247650"/>
                  <a:gd name="connsiteX3" fmla="*/ 125730 w 238125"/>
                  <a:gd name="connsiteY3" fmla="*/ 253365 h 247650"/>
                  <a:gd name="connsiteX4" fmla="*/ 30480 w 238125"/>
                  <a:gd name="connsiteY4" fmla="*/ 215265 h 247650"/>
                  <a:gd name="connsiteX5" fmla="*/ 0 w 238125"/>
                  <a:gd name="connsiteY5" fmla="*/ 126682 h 247650"/>
                  <a:gd name="connsiteX6" fmla="*/ 38100 w 238125"/>
                  <a:gd name="connsiteY6" fmla="*/ 28575 h 247650"/>
                  <a:gd name="connsiteX7" fmla="*/ 123825 w 238125"/>
                  <a:gd name="connsiteY7" fmla="*/ 0 h 247650"/>
                  <a:gd name="connsiteX8" fmla="*/ 218122 w 238125"/>
                  <a:gd name="connsiteY8" fmla="*/ 40957 h 247650"/>
                  <a:gd name="connsiteX9" fmla="*/ 247650 w 238125"/>
                  <a:gd name="connsiteY9" fmla="*/ 144780 h 247650"/>
                  <a:gd name="connsiteX10" fmla="*/ 72390 w 238125"/>
                  <a:gd name="connsiteY10" fmla="*/ 144780 h 247650"/>
                  <a:gd name="connsiteX11" fmla="*/ 129540 w 238125"/>
                  <a:gd name="connsiteY11" fmla="*/ 203835 h 247650"/>
                  <a:gd name="connsiteX12" fmla="*/ 157163 w 238125"/>
                  <a:gd name="connsiteY12" fmla="*/ 197168 h 247650"/>
                  <a:gd name="connsiteX13" fmla="*/ 170497 w 238125"/>
                  <a:gd name="connsiteY13" fmla="*/ 176213 h 247650"/>
                  <a:gd name="connsiteX14" fmla="*/ 121920 w 238125"/>
                  <a:gd name="connsiteY14" fmla="*/ 44768 h 247650"/>
                  <a:gd name="connsiteX15" fmla="*/ 72390 w 238125"/>
                  <a:gd name="connsiteY15" fmla="*/ 101918 h 247650"/>
                  <a:gd name="connsiteX16" fmla="*/ 173355 w 238125"/>
                  <a:gd name="connsiteY16" fmla="*/ 101918 h 247650"/>
                  <a:gd name="connsiteX17" fmla="*/ 121920 w 238125"/>
                  <a:gd name="connsiteY17" fmla="*/ 44768 h 2476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238125" h="247650">
                    <a:moveTo>
                      <a:pt x="170497" y="176213"/>
                    </a:moveTo>
                    <a:lnTo>
                      <a:pt x="243840" y="176213"/>
                    </a:lnTo>
                    <a:cubicBezTo>
                      <a:pt x="238125" y="200978"/>
                      <a:pt x="224790" y="220980"/>
                      <a:pt x="203835" y="234315"/>
                    </a:cubicBezTo>
                    <a:cubicBezTo>
                      <a:pt x="183832" y="246697"/>
                      <a:pt x="157163" y="253365"/>
                      <a:pt x="125730" y="253365"/>
                    </a:cubicBezTo>
                    <a:cubicBezTo>
                      <a:pt x="84772" y="253365"/>
                      <a:pt x="53340" y="240983"/>
                      <a:pt x="30480" y="215265"/>
                    </a:cubicBezTo>
                    <a:cubicBezTo>
                      <a:pt x="9525" y="192405"/>
                      <a:pt x="0" y="162878"/>
                      <a:pt x="0" y="126682"/>
                    </a:cubicBezTo>
                    <a:cubicBezTo>
                      <a:pt x="0" y="83820"/>
                      <a:pt x="12382" y="50482"/>
                      <a:pt x="38100" y="28575"/>
                    </a:cubicBezTo>
                    <a:cubicBezTo>
                      <a:pt x="60007" y="9525"/>
                      <a:pt x="88582" y="0"/>
                      <a:pt x="123825" y="0"/>
                    </a:cubicBezTo>
                    <a:cubicBezTo>
                      <a:pt x="165735" y="0"/>
                      <a:pt x="197167" y="13335"/>
                      <a:pt x="218122" y="40957"/>
                    </a:cubicBezTo>
                    <a:cubicBezTo>
                      <a:pt x="237172" y="65722"/>
                      <a:pt x="247650" y="100013"/>
                      <a:pt x="247650" y="144780"/>
                    </a:cubicBezTo>
                    <a:lnTo>
                      <a:pt x="72390" y="144780"/>
                    </a:lnTo>
                    <a:cubicBezTo>
                      <a:pt x="77153" y="183833"/>
                      <a:pt x="96203" y="203835"/>
                      <a:pt x="129540" y="203835"/>
                    </a:cubicBezTo>
                    <a:cubicBezTo>
                      <a:pt x="140017" y="203835"/>
                      <a:pt x="149542" y="201930"/>
                      <a:pt x="157163" y="197168"/>
                    </a:cubicBezTo>
                    <a:cubicBezTo>
                      <a:pt x="164782" y="192405"/>
                      <a:pt x="168592" y="184785"/>
                      <a:pt x="170497" y="176213"/>
                    </a:cubicBezTo>
                    <a:close/>
                    <a:moveTo>
                      <a:pt x="121920" y="44768"/>
                    </a:moveTo>
                    <a:cubicBezTo>
                      <a:pt x="92392" y="44768"/>
                      <a:pt x="76200" y="63818"/>
                      <a:pt x="72390" y="101918"/>
                    </a:cubicBezTo>
                    <a:lnTo>
                      <a:pt x="173355" y="101918"/>
                    </a:lnTo>
                    <a:cubicBezTo>
                      <a:pt x="171450" y="63818"/>
                      <a:pt x="154305" y="44768"/>
                      <a:pt x="121920" y="44768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2400">
                  <a:latin typeface="CiscoSansTT Light" panose="020B0503020201020303" pitchFamily="34" charset="0"/>
                  <a:cs typeface="CiscoSansTT Light" panose="020B0503020201020303" pitchFamily="34" charset="0"/>
                </a:endParaRPr>
              </a:p>
            </p:txBody>
          </p:sp>
          <p:sp>
            <p:nvSpPr>
              <p:cNvPr id="24" name="Freeform: Shape 23">
                <a:extLst>
                  <a:ext uri="{FF2B5EF4-FFF2-40B4-BE49-F238E27FC236}">
                    <a16:creationId xmlns:a16="http://schemas.microsoft.com/office/drawing/2014/main" id="{44F3F178-9A7F-42B2-A659-A9EFAFEEB18E}"/>
                  </a:ext>
                </a:extLst>
              </p:cNvPr>
              <p:cNvSpPr/>
              <p:nvPr/>
            </p:nvSpPr>
            <p:spPr>
              <a:xfrm>
                <a:off x="7614607" y="3643735"/>
                <a:ext cx="152400" cy="247650"/>
              </a:xfrm>
              <a:custGeom>
                <a:avLst/>
                <a:gdLst>
                  <a:gd name="connsiteX0" fmla="*/ 72390 w 152400"/>
                  <a:gd name="connsiteY0" fmla="*/ 247650 h 247650"/>
                  <a:gd name="connsiteX1" fmla="*/ 0 w 152400"/>
                  <a:gd name="connsiteY1" fmla="*/ 247650 h 247650"/>
                  <a:gd name="connsiteX2" fmla="*/ 0 w 152400"/>
                  <a:gd name="connsiteY2" fmla="*/ 7620 h 247650"/>
                  <a:gd name="connsiteX3" fmla="*/ 60007 w 152400"/>
                  <a:gd name="connsiteY3" fmla="*/ 7620 h 247650"/>
                  <a:gd name="connsiteX4" fmla="*/ 67627 w 152400"/>
                  <a:gd name="connsiteY4" fmla="*/ 43815 h 247650"/>
                  <a:gd name="connsiteX5" fmla="*/ 130493 w 152400"/>
                  <a:gd name="connsiteY5" fmla="*/ 0 h 247650"/>
                  <a:gd name="connsiteX6" fmla="*/ 158115 w 152400"/>
                  <a:gd name="connsiteY6" fmla="*/ 2858 h 247650"/>
                  <a:gd name="connsiteX7" fmla="*/ 158115 w 152400"/>
                  <a:gd name="connsiteY7" fmla="*/ 69533 h 247650"/>
                  <a:gd name="connsiteX8" fmla="*/ 127635 w 152400"/>
                  <a:gd name="connsiteY8" fmla="*/ 64770 h 247650"/>
                  <a:gd name="connsiteX9" fmla="*/ 87630 w 152400"/>
                  <a:gd name="connsiteY9" fmla="*/ 88583 h 247650"/>
                  <a:gd name="connsiteX10" fmla="*/ 73343 w 152400"/>
                  <a:gd name="connsiteY10" fmla="*/ 146685 h 247650"/>
                  <a:gd name="connsiteX11" fmla="*/ 73343 w 152400"/>
                  <a:gd name="connsiteY11" fmla="*/ 247650 h 2476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152400" h="247650">
                    <a:moveTo>
                      <a:pt x="72390" y="247650"/>
                    </a:moveTo>
                    <a:lnTo>
                      <a:pt x="0" y="247650"/>
                    </a:lnTo>
                    <a:lnTo>
                      <a:pt x="0" y="7620"/>
                    </a:lnTo>
                    <a:lnTo>
                      <a:pt x="60007" y="7620"/>
                    </a:lnTo>
                    <a:lnTo>
                      <a:pt x="67627" y="43815"/>
                    </a:lnTo>
                    <a:cubicBezTo>
                      <a:pt x="80963" y="15240"/>
                      <a:pt x="101918" y="0"/>
                      <a:pt x="130493" y="0"/>
                    </a:cubicBezTo>
                    <a:cubicBezTo>
                      <a:pt x="140970" y="0"/>
                      <a:pt x="150495" y="953"/>
                      <a:pt x="158115" y="2858"/>
                    </a:cubicBezTo>
                    <a:lnTo>
                      <a:pt x="158115" y="69533"/>
                    </a:lnTo>
                    <a:cubicBezTo>
                      <a:pt x="148590" y="66675"/>
                      <a:pt x="138113" y="64770"/>
                      <a:pt x="127635" y="64770"/>
                    </a:cubicBezTo>
                    <a:cubicBezTo>
                      <a:pt x="111443" y="64770"/>
                      <a:pt x="98107" y="72390"/>
                      <a:pt x="87630" y="88583"/>
                    </a:cubicBezTo>
                    <a:cubicBezTo>
                      <a:pt x="78105" y="102870"/>
                      <a:pt x="73343" y="122873"/>
                      <a:pt x="73343" y="146685"/>
                    </a:cubicBezTo>
                    <a:lnTo>
                      <a:pt x="73343" y="247650"/>
                    </a:ln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2400">
                  <a:latin typeface="CiscoSansTT Light" panose="020B0503020201020303" pitchFamily="34" charset="0"/>
                  <a:cs typeface="CiscoSansTT Light" panose="020B0503020201020303" pitchFamily="34" charset="0"/>
                </a:endParaRPr>
              </a:p>
            </p:txBody>
          </p:sp>
          <p:sp>
            <p:nvSpPr>
              <p:cNvPr id="25" name="Freeform: Shape 24">
                <a:extLst>
                  <a:ext uri="{FF2B5EF4-FFF2-40B4-BE49-F238E27FC236}">
                    <a16:creationId xmlns:a16="http://schemas.microsoft.com/office/drawing/2014/main" id="{C6DEB7E9-6706-4C5F-B271-C7423D03763C}"/>
                  </a:ext>
                </a:extLst>
              </p:cNvPr>
              <p:cNvSpPr/>
              <p:nvPr/>
            </p:nvSpPr>
            <p:spPr>
              <a:xfrm>
                <a:off x="7793677" y="3559915"/>
                <a:ext cx="76200" cy="323850"/>
              </a:xfrm>
              <a:custGeom>
                <a:avLst/>
                <a:gdLst>
                  <a:gd name="connsiteX0" fmla="*/ 78105 w 76200"/>
                  <a:gd name="connsiteY0" fmla="*/ 60960 h 323850"/>
                  <a:gd name="connsiteX1" fmla="*/ 0 w 76200"/>
                  <a:gd name="connsiteY1" fmla="*/ 60960 h 323850"/>
                  <a:gd name="connsiteX2" fmla="*/ 0 w 76200"/>
                  <a:gd name="connsiteY2" fmla="*/ 0 h 323850"/>
                  <a:gd name="connsiteX3" fmla="*/ 77152 w 76200"/>
                  <a:gd name="connsiteY3" fmla="*/ 0 h 323850"/>
                  <a:gd name="connsiteX4" fmla="*/ 77152 w 76200"/>
                  <a:gd name="connsiteY4" fmla="*/ 60960 h 323850"/>
                  <a:gd name="connsiteX5" fmla="*/ 75248 w 76200"/>
                  <a:gd name="connsiteY5" fmla="*/ 331470 h 323850"/>
                  <a:gd name="connsiteX6" fmla="*/ 2857 w 76200"/>
                  <a:gd name="connsiteY6" fmla="*/ 331470 h 323850"/>
                  <a:gd name="connsiteX7" fmla="*/ 2857 w 76200"/>
                  <a:gd name="connsiteY7" fmla="*/ 91440 h 323850"/>
                  <a:gd name="connsiteX8" fmla="*/ 75248 w 76200"/>
                  <a:gd name="connsiteY8" fmla="*/ 91440 h 323850"/>
                  <a:gd name="connsiteX9" fmla="*/ 75248 w 76200"/>
                  <a:gd name="connsiteY9" fmla="*/ 331470 h 3238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76200" h="323850">
                    <a:moveTo>
                      <a:pt x="78105" y="60960"/>
                    </a:moveTo>
                    <a:lnTo>
                      <a:pt x="0" y="60960"/>
                    </a:lnTo>
                    <a:lnTo>
                      <a:pt x="0" y="0"/>
                    </a:lnTo>
                    <a:lnTo>
                      <a:pt x="77152" y="0"/>
                    </a:lnTo>
                    <a:lnTo>
                      <a:pt x="77152" y="60960"/>
                    </a:lnTo>
                    <a:close/>
                    <a:moveTo>
                      <a:pt x="75248" y="331470"/>
                    </a:moveTo>
                    <a:lnTo>
                      <a:pt x="2857" y="331470"/>
                    </a:lnTo>
                    <a:lnTo>
                      <a:pt x="2857" y="91440"/>
                    </a:lnTo>
                    <a:lnTo>
                      <a:pt x="75248" y="91440"/>
                    </a:lnTo>
                    <a:lnTo>
                      <a:pt x="75248" y="331470"/>
                    </a:ln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2400">
                  <a:latin typeface="CiscoSansTT Light" panose="020B0503020201020303" pitchFamily="34" charset="0"/>
                  <a:cs typeface="CiscoSansTT Light" panose="020B0503020201020303" pitchFamily="34" charset="0"/>
                </a:endParaRPr>
              </a:p>
            </p:txBody>
          </p:sp>
          <p:sp>
            <p:nvSpPr>
              <p:cNvPr id="26" name="Freeform: Shape 25">
                <a:extLst>
                  <a:ext uri="{FF2B5EF4-FFF2-40B4-BE49-F238E27FC236}">
                    <a16:creationId xmlns:a16="http://schemas.microsoft.com/office/drawing/2014/main" id="{95A062F9-FA01-4CE8-90EC-8589B31E96CE}"/>
                  </a:ext>
                </a:extLst>
              </p:cNvPr>
              <p:cNvSpPr/>
              <p:nvPr/>
            </p:nvSpPr>
            <p:spPr>
              <a:xfrm>
                <a:off x="7907025" y="3645640"/>
                <a:ext cx="247650" cy="247650"/>
              </a:xfrm>
              <a:custGeom>
                <a:avLst/>
                <a:gdLst>
                  <a:gd name="connsiteX0" fmla="*/ 170497 w 247650"/>
                  <a:gd name="connsiteY0" fmla="*/ 176213 h 247650"/>
                  <a:gd name="connsiteX1" fmla="*/ 243840 w 247650"/>
                  <a:gd name="connsiteY1" fmla="*/ 176213 h 247650"/>
                  <a:gd name="connsiteX2" fmla="*/ 203835 w 247650"/>
                  <a:gd name="connsiteY2" fmla="*/ 234315 h 247650"/>
                  <a:gd name="connsiteX3" fmla="*/ 125730 w 247650"/>
                  <a:gd name="connsiteY3" fmla="*/ 253365 h 247650"/>
                  <a:gd name="connsiteX4" fmla="*/ 30480 w 247650"/>
                  <a:gd name="connsiteY4" fmla="*/ 215265 h 247650"/>
                  <a:gd name="connsiteX5" fmla="*/ 0 w 247650"/>
                  <a:gd name="connsiteY5" fmla="*/ 126682 h 247650"/>
                  <a:gd name="connsiteX6" fmla="*/ 38100 w 247650"/>
                  <a:gd name="connsiteY6" fmla="*/ 28575 h 247650"/>
                  <a:gd name="connsiteX7" fmla="*/ 123825 w 247650"/>
                  <a:gd name="connsiteY7" fmla="*/ 0 h 247650"/>
                  <a:gd name="connsiteX8" fmla="*/ 218122 w 247650"/>
                  <a:gd name="connsiteY8" fmla="*/ 40957 h 247650"/>
                  <a:gd name="connsiteX9" fmla="*/ 247650 w 247650"/>
                  <a:gd name="connsiteY9" fmla="*/ 144780 h 247650"/>
                  <a:gd name="connsiteX10" fmla="*/ 73342 w 247650"/>
                  <a:gd name="connsiteY10" fmla="*/ 144780 h 247650"/>
                  <a:gd name="connsiteX11" fmla="*/ 130492 w 247650"/>
                  <a:gd name="connsiteY11" fmla="*/ 203835 h 247650"/>
                  <a:gd name="connsiteX12" fmla="*/ 158115 w 247650"/>
                  <a:gd name="connsiteY12" fmla="*/ 197168 h 247650"/>
                  <a:gd name="connsiteX13" fmla="*/ 170497 w 247650"/>
                  <a:gd name="connsiteY13" fmla="*/ 176213 h 247650"/>
                  <a:gd name="connsiteX14" fmla="*/ 120967 w 247650"/>
                  <a:gd name="connsiteY14" fmla="*/ 44768 h 247650"/>
                  <a:gd name="connsiteX15" fmla="*/ 71438 w 247650"/>
                  <a:gd name="connsiteY15" fmla="*/ 101918 h 247650"/>
                  <a:gd name="connsiteX16" fmla="*/ 172402 w 247650"/>
                  <a:gd name="connsiteY16" fmla="*/ 101918 h 247650"/>
                  <a:gd name="connsiteX17" fmla="*/ 120967 w 247650"/>
                  <a:gd name="connsiteY17" fmla="*/ 44768 h 2476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247650" h="247650">
                    <a:moveTo>
                      <a:pt x="170497" y="176213"/>
                    </a:moveTo>
                    <a:lnTo>
                      <a:pt x="243840" y="176213"/>
                    </a:lnTo>
                    <a:cubicBezTo>
                      <a:pt x="238125" y="200978"/>
                      <a:pt x="223838" y="220980"/>
                      <a:pt x="203835" y="234315"/>
                    </a:cubicBezTo>
                    <a:cubicBezTo>
                      <a:pt x="183832" y="246697"/>
                      <a:pt x="157163" y="253365"/>
                      <a:pt x="125730" y="253365"/>
                    </a:cubicBezTo>
                    <a:cubicBezTo>
                      <a:pt x="84772" y="253365"/>
                      <a:pt x="53340" y="240983"/>
                      <a:pt x="30480" y="215265"/>
                    </a:cubicBezTo>
                    <a:cubicBezTo>
                      <a:pt x="9525" y="192405"/>
                      <a:pt x="0" y="162878"/>
                      <a:pt x="0" y="126682"/>
                    </a:cubicBezTo>
                    <a:cubicBezTo>
                      <a:pt x="0" y="83820"/>
                      <a:pt x="12382" y="50482"/>
                      <a:pt x="38100" y="28575"/>
                    </a:cubicBezTo>
                    <a:cubicBezTo>
                      <a:pt x="60007" y="9525"/>
                      <a:pt x="88582" y="0"/>
                      <a:pt x="123825" y="0"/>
                    </a:cubicBezTo>
                    <a:cubicBezTo>
                      <a:pt x="165735" y="0"/>
                      <a:pt x="197167" y="13335"/>
                      <a:pt x="218122" y="40957"/>
                    </a:cubicBezTo>
                    <a:cubicBezTo>
                      <a:pt x="237172" y="65722"/>
                      <a:pt x="247650" y="100013"/>
                      <a:pt x="247650" y="144780"/>
                    </a:cubicBezTo>
                    <a:lnTo>
                      <a:pt x="73342" y="144780"/>
                    </a:lnTo>
                    <a:cubicBezTo>
                      <a:pt x="78105" y="183833"/>
                      <a:pt x="97155" y="203835"/>
                      <a:pt x="130492" y="203835"/>
                    </a:cubicBezTo>
                    <a:cubicBezTo>
                      <a:pt x="140970" y="203835"/>
                      <a:pt x="150495" y="201930"/>
                      <a:pt x="158115" y="197168"/>
                    </a:cubicBezTo>
                    <a:cubicBezTo>
                      <a:pt x="165735" y="192405"/>
                      <a:pt x="167640" y="184785"/>
                      <a:pt x="170497" y="176213"/>
                    </a:cubicBezTo>
                    <a:close/>
                    <a:moveTo>
                      <a:pt x="120967" y="44768"/>
                    </a:moveTo>
                    <a:cubicBezTo>
                      <a:pt x="91440" y="44768"/>
                      <a:pt x="75247" y="63818"/>
                      <a:pt x="71438" y="101918"/>
                    </a:cubicBezTo>
                    <a:lnTo>
                      <a:pt x="172402" y="101918"/>
                    </a:lnTo>
                    <a:cubicBezTo>
                      <a:pt x="170497" y="63818"/>
                      <a:pt x="153352" y="44768"/>
                      <a:pt x="120967" y="44768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2400">
                  <a:latin typeface="CiscoSansTT Light" panose="020B0503020201020303" pitchFamily="34" charset="0"/>
                  <a:cs typeface="CiscoSansTT Light" panose="020B0503020201020303" pitchFamily="34" charset="0"/>
                </a:endParaRPr>
              </a:p>
            </p:txBody>
          </p:sp>
          <p:sp>
            <p:nvSpPr>
              <p:cNvPr id="27" name="Freeform: Shape 26">
                <a:extLst>
                  <a:ext uri="{FF2B5EF4-FFF2-40B4-BE49-F238E27FC236}">
                    <a16:creationId xmlns:a16="http://schemas.microsoft.com/office/drawing/2014/main" id="{657CA19F-91C2-4AD4-A596-6465D36C1560}"/>
                  </a:ext>
                </a:extLst>
              </p:cNvPr>
              <p:cNvSpPr/>
              <p:nvPr/>
            </p:nvSpPr>
            <p:spPr>
              <a:xfrm>
                <a:off x="8188965" y="3644688"/>
                <a:ext cx="228600" cy="238125"/>
              </a:xfrm>
              <a:custGeom>
                <a:avLst/>
                <a:gdLst>
                  <a:gd name="connsiteX0" fmla="*/ 72390 w 228600"/>
                  <a:gd name="connsiteY0" fmla="*/ 246697 h 238125"/>
                  <a:gd name="connsiteX1" fmla="*/ 0 w 228600"/>
                  <a:gd name="connsiteY1" fmla="*/ 246697 h 238125"/>
                  <a:gd name="connsiteX2" fmla="*/ 0 w 228600"/>
                  <a:gd name="connsiteY2" fmla="*/ 6668 h 238125"/>
                  <a:gd name="connsiteX3" fmla="*/ 59055 w 228600"/>
                  <a:gd name="connsiteY3" fmla="*/ 6668 h 238125"/>
                  <a:gd name="connsiteX4" fmla="*/ 65723 w 228600"/>
                  <a:gd name="connsiteY4" fmla="*/ 33338 h 238125"/>
                  <a:gd name="connsiteX5" fmla="*/ 139065 w 228600"/>
                  <a:gd name="connsiteY5" fmla="*/ 0 h 238125"/>
                  <a:gd name="connsiteX6" fmla="*/ 207645 w 228600"/>
                  <a:gd name="connsiteY6" fmla="*/ 27622 h 238125"/>
                  <a:gd name="connsiteX7" fmla="*/ 228600 w 228600"/>
                  <a:gd name="connsiteY7" fmla="*/ 92393 h 238125"/>
                  <a:gd name="connsiteX8" fmla="*/ 228600 w 228600"/>
                  <a:gd name="connsiteY8" fmla="*/ 247650 h 238125"/>
                  <a:gd name="connsiteX9" fmla="*/ 157163 w 228600"/>
                  <a:gd name="connsiteY9" fmla="*/ 247650 h 238125"/>
                  <a:gd name="connsiteX10" fmla="*/ 157163 w 228600"/>
                  <a:gd name="connsiteY10" fmla="*/ 95250 h 238125"/>
                  <a:gd name="connsiteX11" fmla="*/ 120015 w 228600"/>
                  <a:gd name="connsiteY11" fmla="*/ 51435 h 238125"/>
                  <a:gd name="connsiteX12" fmla="*/ 83820 w 228600"/>
                  <a:gd name="connsiteY12" fmla="*/ 67628 h 238125"/>
                  <a:gd name="connsiteX13" fmla="*/ 71438 w 228600"/>
                  <a:gd name="connsiteY13" fmla="*/ 104775 h 238125"/>
                  <a:gd name="connsiteX14" fmla="*/ 71438 w 228600"/>
                  <a:gd name="connsiteY14" fmla="*/ 246697 h 2381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228600" h="238125">
                    <a:moveTo>
                      <a:pt x="72390" y="246697"/>
                    </a:moveTo>
                    <a:lnTo>
                      <a:pt x="0" y="246697"/>
                    </a:lnTo>
                    <a:lnTo>
                      <a:pt x="0" y="6668"/>
                    </a:lnTo>
                    <a:lnTo>
                      <a:pt x="59055" y="6668"/>
                    </a:lnTo>
                    <a:lnTo>
                      <a:pt x="65723" y="33338"/>
                    </a:lnTo>
                    <a:cubicBezTo>
                      <a:pt x="82868" y="11430"/>
                      <a:pt x="107632" y="0"/>
                      <a:pt x="139065" y="0"/>
                    </a:cubicBezTo>
                    <a:cubicBezTo>
                      <a:pt x="168593" y="0"/>
                      <a:pt x="191452" y="9525"/>
                      <a:pt x="207645" y="27622"/>
                    </a:cubicBezTo>
                    <a:cubicBezTo>
                      <a:pt x="221932" y="43815"/>
                      <a:pt x="228600" y="64770"/>
                      <a:pt x="228600" y="92393"/>
                    </a:cubicBezTo>
                    <a:lnTo>
                      <a:pt x="228600" y="247650"/>
                    </a:lnTo>
                    <a:lnTo>
                      <a:pt x="157163" y="247650"/>
                    </a:lnTo>
                    <a:lnTo>
                      <a:pt x="157163" y="95250"/>
                    </a:lnTo>
                    <a:cubicBezTo>
                      <a:pt x="157163" y="65722"/>
                      <a:pt x="144780" y="51435"/>
                      <a:pt x="120015" y="51435"/>
                    </a:cubicBezTo>
                    <a:cubicBezTo>
                      <a:pt x="104775" y="51435"/>
                      <a:pt x="93345" y="57150"/>
                      <a:pt x="83820" y="67628"/>
                    </a:cubicBezTo>
                    <a:cubicBezTo>
                      <a:pt x="76200" y="77153"/>
                      <a:pt x="71438" y="89535"/>
                      <a:pt x="71438" y="104775"/>
                    </a:cubicBezTo>
                    <a:lnTo>
                      <a:pt x="71438" y="246697"/>
                    </a:ln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2400">
                  <a:latin typeface="CiscoSansTT Light" panose="020B0503020201020303" pitchFamily="34" charset="0"/>
                  <a:cs typeface="CiscoSansTT Light" panose="020B0503020201020303" pitchFamily="34" charset="0"/>
                </a:endParaRPr>
              </a:p>
            </p:txBody>
          </p:sp>
          <p:sp>
            <p:nvSpPr>
              <p:cNvPr id="28" name="Freeform: Shape 27">
                <a:extLst>
                  <a:ext uri="{FF2B5EF4-FFF2-40B4-BE49-F238E27FC236}">
                    <a16:creationId xmlns:a16="http://schemas.microsoft.com/office/drawing/2014/main" id="{1DB4FF96-DDBB-4849-B539-FD06C513DCCD}"/>
                  </a:ext>
                </a:extLst>
              </p:cNvPr>
              <p:cNvSpPr/>
              <p:nvPr/>
            </p:nvSpPr>
            <p:spPr>
              <a:xfrm>
                <a:off x="8453759" y="3644688"/>
                <a:ext cx="238125" cy="247650"/>
              </a:xfrm>
              <a:custGeom>
                <a:avLst/>
                <a:gdLst>
                  <a:gd name="connsiteX0" fmla="*/ 166688 w 238125"/>
                  <a:gd name="connsiteY0" fmla="*/ 166687 h 247650"/>
                  <a:gd name="connsiteX1" fmla="*/ 241935 w 238125"/>
                  <a:gd name="connsiteY1" fmla="*/ 166687 h 247650"/>
                  <a:gd name="connsiteX2" fmla="*/ 200025 w 238125"/>
                  <a:gd name="connsiteY2" fmla="*/ 231458 h 247650"/>
                  <a:gd name="connsiteX3" fmla="*/ 121920 w 238125"/>
                  <a:gd name="connsiteY3" fmla="*/ 253365 h 247650"/>
                  <a:gd name="connsiteX4" fmla="*/ 27623 w 238125"/>
                  <a:gd name="connsiteY4" fmla="*/ 216218 h 247650"/>
                  <a:gd name="connsiteX5" fmla="*/ 0 w 238125"/>
                  <a:gd name="connsiteY5" fmla="*/ 128587 h 247650"/>
                  <a:gd name="connsiteX6" fmla="*/ 38100 w 238125"/>
                  <a:gd name="connsiteY6" fmla="*/ 29527 h 247650"/>
                  <a:gd name="connsiteX7" fmla="*/ 123825 w 238125"/>
                  <a:gd name="connsiteY7" fmla="*/ 0 h 247650"/>
                  <a:gd name="connsiteX8" fmla="*/ 207645 w 238125"/>
                  <a:gd name="connsiteY8" fmla="*/ 25718 h 247650"/>
                  <a:gd name="connsiteX9" fmla="*/ 242888 w 238125"/>
                  <a:gd name="connsiteY9" fmla="*/ 80962 h 247650"/>
                  <a:gd name="connsiteX10" fmla="*/ 167640 w 238125"/>
                  <a:gd name="connsiteY10" fmla="*/ 80962 h 247650"/>
                  <a:gd name="connsiteX11" fmla="*/ 152400 w 238125"/>
                  <a:gd name="connsiteY11" fmla="*/ 58103 h 247650"/>
                  <a:gd name="connsiteX12" fmla="*/ 126682 w 238125"/>
                  <a:gd name="connsiteY12" fmla="*/ 49530 h 247650"/>
                  <a:gd name="connsiteX13" fmla="*/ 76200 w 238125"/>
                  <a:gd name="connsiteY13" fmla="*/ 131445 h 247650"/>
                  <a:gd name="connsiteX14" fmla="*/ 91440 w 238125"/>
                  <a:gd name="connsiteY14" fmla="*/ 190500 h 247650"/>
                  <a:gd name="connsiteX15" fmla="*/ 123825 w 238125"/>
                  <a:gd name="connsiteY15" fmla="*/ 205740 h 247650"/>
                  <a:gd name="connsiteX16" fmla="*/ 166688 w 238125"/>
                  <a:gd name="connsiteY16" fmla="*/ 166687 h 2476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238125" h="247650">
                    <a:moveTo>
                      <a:pt x="166688" y="166687"/>
                    </a:moveTo>
                    <a:lnTo>
                      <a:pt x="241935" y="166687"/>
                    </a:lnTo>
                    <a:cubicBezTo>
                      <a:pt x="235268" y="195262"/>
                      <a:pt x="221932" y="216218"/>
                      <a:pt x="200025" y="231458"/>
                    </a:cubicBezTo>
                    <a:cubicBezTo>
                      <a:pt x="180023" y="245745"/>
                      <a:pt x="153353" y="253365"/>
                      <a:pt x="121920" y="253365"/>
                    </a:cubicBezTo>
                    <a:cubicBezTo>
                      <a:pt x="80010" y="253365"/>
                      <a:pt x="48578" y="240983"/>
                      <a:pt x="27623" y="216218"/>
                    </a:cubicBezTo>
                    <a:cubicBezTo>
                      <a:pt x="9525" y="195262"/>
                      <a:pt x="0" y="165735"/>
                      <a:pt x="0" y="128587"/>
                    </a:cubicBezTo>
                    <a:cubicBezTo>
                      <a:pt x="0" y="85725"/>
                      <a:pt x="12382" y="52387"/>
                      <a:pt x="38100" y="29527"/>
                    </a:cubicBezTo>
                    <a:cubicBezTo>
                      <a:pt x="60007" y="9525"/>
                      <a:pt x="87630" y="0"/>
                      <a:pt x="123825" y="0"/>
                    </a:cubicBezTo>
                    <a:cubicBezTo>
                      <a:pt x="157163" y="0"/>
                      <a:pt x="184785" y="8572"/>
                      <a:pt x="207645" y="25718"/>
                    </a:cubicBezTo>
                    <a:cubicBezTo>
                      <a:pt x="226695" y="40005"/>
                      <a:pt x="238125" y="59055"/>
                      <a:pt x="242888" y="80962"/>
                    </a:cubicBezTo>
                    <a:lnTo>
                      <a:pt x="167640" y="80962"/>
                    </a:lnTo>
                    <a:cubicBezTo>
                      <a:pt x="164782" y="71437"/>
                      <a:pt x="160020" y="63818"/>
                      <a:pt x="152400" y="58103"/>
                    </a:cubicBezTo>
                    <a:cubicBezTo>
                      <a:pt x="144780" y="52387"/>
                      <a:pt x="136207" y="49530"/>
                      <a:pt x="126682" y="49530"/>
                    </a:cubicBezTo>
                    <a:cubicBezTo>
                      <a:pt x="92393" y="49530"/>
                      <a:pt x="76200" y="77153"/>
                      <a:pt x="76200" y="131445"/>
                    </a:cubicBezTo>
                    <a:cubicBezTo>
                      <a:pt x="76200" y="157162"/>
                      <a:pt x="80963" y="177165"/>
                      <a:pt x="91440" y="190500"/>
                    </a:cubicBezTo>
                    <a:cubicBezTo>
                      <a:pt x="100013" y="200978"/>
                      <a:pt x="110490" y="205740"/>
                      <a:pt x="123825" y="205740"/>
                    </a:cubicBezTo>
                    <a:cubicBezTo>
                      <a:pt x="144780" y="204787"/>
                      <a:pt x="159068" y="192405"/>
                      <a:pt x="166688" y="166687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2400">
                  <a:latin typeface="CiscoSansTT Light" panose="020B0503020201020303" pitchFamily="34" charset="0"/>
                  <a:cs typeface="CiscoSansTT Light" panose="020B0503020201020303" pitchFamily="34" charset="0"/>
                </a:endParaRPr>
              </a:p>
            </p:txBody>
          </p:sp>
          <p:sp>
            <p:nvSpPr>
              <p:cNvPr id="29" name="Freeform: Shape 28">
                <a:extLst>
                  <a:ext uri="{FF2B5EF4-FFF2-40B4-BE49-F238E27FC236}">
                    <a16:creationId xmlns:a16="http://schemas.microsoft.com/office/drawing/2014/main" id="{8B1EC5E7-7FFA-4DF0-BD79-7A18F4EC7C8A}"/>
                  </a:ext>
                </a:extLst>
              </p:cNvPr>
              <p:cNvSpPr/>
              <p:nvPr/>
            </p:nvSpPr>
            <p:spPr>
              <a:xfrm>
                <a:off x="8721412" y="3645640"/>
                <a:ext cx="238125" cy="247650"/>
              </a:xfrm>
              <a:custGeom>
                <a:avLst/>
                <a:gdLst>
                  <a:gd name="connsiteX0" fmla="*/ 170497 w 238125"/>
                  <a:gd name="connsiteY0" fmla="*/ 176213 h 247650"/>
                  <a:gd name="connsiteX1" fmla="*/ 243840 w 238125"/>
                  <a:gd name="connsiteY1" fmla="*/ 176213 h 247650"/>
                  <a:gd name="connsiteX2" fmla="*/ 203835 w 238125"/>
                  <a:gd name="connsiteY2" fmla="*/ 234315 h 247650"/>
                  <a:gd name="connsiteX3" fmla="*/ 125730 w 238125"/>
                  <a:gd name="connsiteY3" fmla="*/ 253365 h 247650"/>
                  <a:gd name="connsiteX4" fmla="*/ 30480 w 238125"/>
                  <a:gd name="connsiteY4" fmla="*/ 215265 h 247650"/>
                  <a:gd name="connsiteX5" fmla="*/ 0 w 238125"/>
                  <a:gd name="connsiteY5" fmla="*/ 126682 h 247650"/>
                  <a:gd name="connsiteX6" fmla="*/ 38100 w 238125"/>
                  <a:gd name="connsiteY6" fmla="*/ 28575 h 247650"/>
                  <a:gd name="connsiteX7" fmla="*/ 123825 w 238125"/>
                  <a:gd name="connsiteY7" fmla="*/ 0 h 247650"/>
                  <a:gd name="connsiteX8" fmla="*/ 218122 w 238125"/>
                  <a:gd name="connsiteY8" fmla="*/ 40957 h 247650"/>
                  <a:gd name="connsiteX9" fmla="*/ 246697 w 238125"/>
                  <a:gd name="connsiteY9" fmla="*/ 144780 h 247650"/>
                  <a:gd name="connsiteX10" fmla="*/ 72390 w 238125"/>
                  <a:gd name="connsiteY10" fmla="*/ 144780 h 247650"/>
                  <a:gd name="connsiteX11" fmla="*/ 129540 w 238125"/>
                  <a:gd name="connsiteY11" fmla="*/ 203835 h 247650"/>
                  <a:gd name="connsiteX12" fmla="*/ 157163 w 238125"/>
                  <a:gd name="connsiteY12" fmla="*/ 197168 h 247650"/>
                  <a:gd name="connsiteX13" fmla="*/ 170497 w 238125"/>
                  <a:gd name="connsiteY13" fmla="*/ 176213 h 247650"/>
                  <a:gd name="connsiteX14" fmla="*/ 121920 w 238125"/>
                  <a:gd name="connsiteY14" fmla="*/ 44768 h 247650"/>
                  <a:gd name="connsiteX15" fmla="*/ 72390 w 238125"/>
                  <a:gd name="connsiteY15" fmla="*/ 101918 h 247650"/>
                  <a:gd name="connsiteX16" fmla="*/ 173355 w 238125"/>
                  <a:gd name="connsiteY16" fmla="*/ 101918 h 247650"/>
                  <a:gd name="connsiteX17" fmla="*/ 121920 w 238125"/>
                  <a:gd name="connsiteY17" fmla="*/ 44768 h 2476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238125" h="247650">
                    <a:moveTo>
                      <a:pt x="170497" y="176213"/>
                    </a:moveTo>
                    <a:lnTo>
                      <a:pt x="243840" y="176213"/>
                    </a:lnTo>
                    <a:cubicBezTo>
                      <a:pt x="238125" y="200978"/>
                      <a:pt x="223838" y="220980"/>
                      <a:pt x="203835" y="234315"/>
                    </a:cubicBezTo>
                    <a:cubicBezTo>
                      <a:pt x="183832" y="246697"/>
                      <a:pt x="157163" y="253365"/>
                      <a:pt x="125730" y="253365"/>
                    </a:cubicBezTo>
                    <a:cubicBezTo>
                      <a:pt x="84772" y="253365"/>
                      <a:pt x="53340" y="240983"/>
                      <a:pt x="30480" y="215265"/>
                    </a:cubicBezTo>
                    <a:cubicBezTo>
                      <a:pt x="9525" y="192405"/>
                      <a:pt x="0" y="162878"/>
                      <a:pt x="0" y="126682"/>
                    </a:cubicBezTo>
                    <a:cubicBezTo>
                      <a:pt x="0" y="83820"/>
                      <a:pt x="12382" y="50482"/>
                      <a:pt x="38100" y="28575"/>
                    </a:cubicBezTo>
                    <a:cubicBezTo>
                      <a:pt x="60007" y="9525"/>
                      <a:pt x="88582" y="0"/>
                      <a:pt x="123825" y="0"/>
                    </a:cubicBezTo>
                    <a:cubicBezTo>
                      <a:pt x="165735" y="0"/>
                      <a:pt x="197167" y="13335"/>
                      <a:pt x="218122" y="40957"/>
                    </a:cubicBezTo>
                    <a:cubicBezTo>
                      <a:pt x="237172" y="65722"/>
                      <a:pt x="246697" y="100013"/>
                      <a:pt x="246697" y="144780"/>
                    </a:cubicBezTo>
                    <a:lnTo>
                      <a:pt x="72390" y="144780"/>
                    </a:lnTo>
                    <a:cubicBezTo>
                      <a:pt x="77152" y="183833"/>
                      <a:pt x="96202" y="203835"/>
                      <a:pt x="129540" y="203835"/>
                    </a:cubicBezTo>
                    <a:cubicBezTo>
                      <a:pt x="140017" y="203835"/>
                      <a:pt x="149542" y="201930"/>
                      <a:pt x="157163" y="197168"/>
                    </a:cubicBezTo>
                    <a:cubicBezTo>
                      <a:pt x="163830" y="191453"/>
                      <a:pt x="168592" y="184785"/>
                      <a:pt x="170497" y="176213"/>
                    </a:cubicBezTo>
                    <a:close/>
                    <a:moveTo>
                      <a:pt x="121920" y="44768"/>
                    </a:moveTo>
                    <a:cubicBezTo>
                      <a:pt x="92392" y="44768"/>
                      <a:pt x="76200" y="63818"/>
                      <a:pt x="72390" y="101918"/>
                    </a:cubicBezTo>
                    <a:lnTo>
                      <a:pt x="173355" y="101918"/>
                    </a:lnTo>
                    <a:cubicBezTo>
                      <a:pt x="171450" y="63818"/>
                      <a:pt x="154305" y="44768"/>
                      <a:pt x="121920" y="44768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2400">
                  <a:latin typeface="CiscoSansTT Light" panose="020B0503020201020303" pitchFamily="34" charset="0"/>
                  <a:cs typeface="CiscoSansTT Light" panose="020B0503020201020303" pitchFamily="34" charset="0"/>
                </a:endParaRPr>
              </a:p>
            </p:txBody>
          </p:sp>
        </p:grpSp>
        <p:pic>
          <p:nvPicPr>
            <p:cNvPr id="6" name="Picture 5">
              <a:extLst>
                <a:ext uri="{FF2B5EF4-FFF2-40B4-BE49-F238E27FC236}">
                  <a16:creationId xmlns:a16="http://schemas.microsoft.com/office/drawing/2014/main" id="{3D48E1E3-5340-4D4A-B34B-F197FEF4CBC0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/>
            <a:stretch>
              <a:fillRect/>
            </a:stretch>
          </p:blipFill>
          <p:spPr>
            <a:xfrm>
              <a:off x="2641883" y="2331434"/>
              <a:ext cx="742128" cy="426578"/>
            </a:xfrm>
            <a:custGeom>
              <a:avLst/>
              <a:gdLst>
                <a:gd name="connsiteX0" fmla="*/ 0 w 1209675"/>
                <a:gd name="connsiteY0" fmla="*/ 0 h 695325"/>
                <a:gd name="connsiteX1" fmla="*/ 1213866 w 1209675"/>
                <a:gd name="connsiteY1" fmla="*/ 0 h 695325"/>
                <a:gd name="connsiteX2" fmla="*/ 1213866 w 1209675"/>
                <a:gd name="connsiteY2" fmla="*/ 699516 h 695325"/>
                <a:gd name="connsiteX3" fmla="*/ 0 w 1209675"/>
                <a:gd name="connsiteY3" fmla="*/ 699516 h 6953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09675" h="695325">
                  <a:moveTo>
                    <a:pt x="0" y="0"/>
                  </a:moveTo>
                  <a:lnTo>
                    <a:pt x="1213866" y="0"/>
                  </a:lnTo>
                  <a:lnTo>
                    <a:pt x="1213866" y="699516"/>
                  </a:lnTo>
                  <a:lnTo>
                    <a:pt x="0" y="699516"/>
                  </a:lnTo>
                  <a:close/>
                </a:path>
              </a:pathLst>
            </a:custGeom>
            <a:ln/>
          </p:spPr>
        </p:pic>
      </p:grpSp>
    </p:spTree>
    <p:extLst>
      <p:ext uri="{BB962C8B-B14F-4D97-AF65-F5344CB8AC3E}">
        <p14:creationId xmlns:p14="http://schemas.microsoft.com/office/powerpoint/2010/main" val="296515474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int 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Picture Placeholder 20">
            <a:extLst>
              <a:ext uri="{FF2B5EF4-FFF2-40B4-BE49-F238E27FC236}">
                <a16:creationId xmlns:a16="http://schemas.microsoft.com/office/drawing/2014/main" id="{1D26312F-CA6A-45D5-9C6C-0228BE4FD2ED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393167" y="893967"/>
            <a:ext cx="1322400" cy="5964032"/>
          </a:xfrm>
          <a:custGeom>
            <a:avLst/>
            <a:gdLst>
              <a:gd name="connsiteX0" fmla="*/ 486101 w 991800"/>
              <a:gd name="connsiteY0" fmla="*/ 0 h 4473024"/>
              <a:gd name="connsiteX1" fmla="*/ 505699 w 991800"/>
              <a:gd name="connsiteY1" fmla="*/ 0 h 4473024"/>
              <a:gd name="connsiteX2" fmla="*/ 991800 w 991800"/>
              <a:gd name="connsiteY2" fmla="*/ 486101 h 4473024"/>
              <a:gd name="connsiteX3" fmla="*/ 991800 w 991800"/>
              <a:gd name="connsiteY3" fmla="*/ 4473024 h 4473024"/>
              <a:gd name="connsiteX4" fmla="*/ 0 w 991800"/>
              <a:gd name="connsiteY4" fmla="*/ 4473024 h 4473024"/>
              <a:gd name="connsiteX5" fmla="*/ 0 w 991800"/>
              <a:gd name="connsiteY5" fmla="*/ 486101 h 4473024"/>
              <a:gd name="connsiteX6" fmla="*/ 486101 w 991800"/>
              <a:gd name="connsiteY6" fmla="*/ 0 h 4473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991800" h="4473024">
                <a:moveTo>
                  <a:pt x="486101" y="0"/>
                </a:moveTo>
                <a:lnTo>
                  <a:pt x="505699" y="0"/>
                </a:lnTo>
                <a:cubicBezTo>
                  <a:pt x="774165" y="0"/>
                  <a:pt x="991800" y="217635"/>
                  <a:pt x="991800" y="486101"/>
                </a:cubicBezTo>
                <a:lnTo>
                  <a:pt x="991800" y="4473024"/>
                </a:lnTo>
                <a:lnTo>
                  <a:pt x="0" y="4473024"/>
                </a:lnTo>
                <a:lnTo>
                  <a:pt x="0" y="486101"/>
                </a:lnTo>
                <a:cubicBezTo>
                  <a:pt x="0" y="217635"/>
                  <a:pt x="217635" y="0"/>
                  <a:pt x="486101" y="0"/>
                </a:cubicBezTo>
                <a:close/>
              </a:path>
            </a:pathLst>
          </a:custGeom>
          <a:solidFill>
            <a:srgbClr val="EDF1F6"/>
          </a:solidFill>
        </p:spPr>
        <p:txBody>
          <a:bodyPr wrap="square">
            <a:noAutofit/>
          </a:bodyPr>
          <a:lstStyle>
            <a:lvl1pPr>
              <a:defRPr>
                <a:noFill/>
              </a:defRPr>
            </a:lvl1pPr>
          </a:lstStyle>
          <a:p>
            <a:endParaRPr lang="en-US"/>
          </a:p>
        </p:txBody>
      </p:sp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BCD01C55-168C-4557-8869-5CE381C20B48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711203" y="1"/>
            <a:ext cx="2421199" cy="3809900"/>
          </a:xfrm>
          <a:custGeom>
            <a:avLst/>
            <a:gdLst>
              <a:gd name="connsiteX0" fmla="*/ 0 w 1815899"/>
              <a:gd name="connsiteY0" fmla="*/ 0 h 2857425"/>
              <a:gd name="connsiteX1" fmla="*/ 1815899 w 1815899"/>
              <a:gd name="connsiteY1" fmla="*/ 0 h 2857425"/>
              <a:gd name="connsiteX2" fmla="*/ 1815899 w 1815899"/>
              <a:gd name="connsiteY2" fmla="*/ 1949475 h 2857425"/>
              <a:gd name="connsiteX3" fmla="*/ 907949 w 1815899"/>
              <a:gd name="connsiteY3" fmla="*/ 2857425 h 2857425"/>
              <a:gd name="connsiteX4" fmla="*/ 4687 w 1815899"/>
              <a:gd name="connsiteY4" fmla="*/ 2042308 h 2857425"/>
              <a:gd name="connsiteX5" fmla="*/ 0 w 1815899"/>
              <a:gd name="connsiteY5" fmla="*/ 1949495 h 28574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815899" h="2857425">
                <a:moveTo>
                  <a:pt x="0" y="0"/>
                </a:moveTo>
                <a:lnTo>
                  <a:pt x="1815899" y="0"/>
                </a:lnTo>
                <a:lnTo>
                  <a:pt x="1815899" y="1949475"/>
                </a:lnTo>
                <a:cubicBezTo>
                  <a:pt x="1815899" y="2450922"/>
                  <a:pt x="1409396" y="2857425"/>
                  <a:pt x="907949" y="2857425"/>
                </a:cubicBezTo>
                <a:cubicBezTo>
                  <a:pt x="437842" y="2857425"/>
                  <a:pt x="51183" y="2500147"/>
                  <a:pt x="4687" y="2042308"/>
                </a:cubicBezTo>
                <a:lnTo>
                  <a:pt x="0" y="1949495"/>
                </a:lnTo>
                <a:close/>
              </a:path>
            </a:pathLst>
          </a:custGeom>
          <a:solidFill>
            <a:srgbClr val="EDF1F6"/>
          </a:solidFill>
        </p:spPr>
        <p:txBody>
          <a:bodyPr wrap="square">
            <a:noAutofit/>
          </a:bodyPr>
          <a:lstStyle/>
          <a:p>
            <a:endParaRPr lang="en-US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C197C6C4-1E88-FF4D-A6EB-4648CAAEB1C7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833841" y="1509357"/>
            <a:ext cx="2766483" cy="861483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 marL="0" marR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defRPr>
            </a:lvl1pPr>
            <a:lvl2pPr>
              <a:defRPr sz="1867"/>
            </a:lvl2pPr>
            <a:lvl3pPr>
              <a:defRPr sz="1867"/>
            </a:lvl3pPr>
            <a:lvl4pPr>
              <a:defRPr sz="1867"/>
            </a:lvl4pPr>
            <a:lvl5pPr>
              <a:defRPr sz="1867"/>
            </a:lvl5pPr>
          </a:lstStyle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lang="en-US" u="none" strike="noStrike" cap="none">
              <a:solidFill>
                <a:schemeClr val="tx1"/>
              </a:solidFill>
              <a:latin typeface="CiscoSansTT ExtraLight" panose="020B0303020201020303" pitchFamily="34" charset="0"/>
              <a:ea typeface="Helvetica Neue Light"/>
              <a:cs typeface="CiscoSansTT ExtraLight" panose="020B0303020201020303" pitchFamily="34" charset="0"/>
              <a:sym typeface="Helvetica Neue Light"/>
            </a:endParaRPr>
          </a:p>
        </p:txBody>
      </p:sp>
      <p:sp>
        <p:nvSpPr>
          <p:cNvPr id="14" name="Text Placeholder 12">
            <a:extLst>
              <a:ext uri="{FF2B5EF4-FFF2-40B4-BE49-F238E27FC236}">
                <a16:creationId xmlns:a16="http://schemas.microsoft.com/office/drawing/2014/main" id="{F8E33F91-D3E3-5348-9046-E8E44A70114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33841" y="2998259"/>
            <a:ext cx="2766483" cy="861483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 marL="0" marR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defRPr>
            </a:lvl1pPr>
            <a:lvl2pPr>
              <a:defRPr sz="1867"/>
            </a:lvl2pPr>
            <a:lvl3pPr>
              <a:defRPr sz="1867"/>
            </a:lvl3pPr>
            <a:lvl4pPr>
              <a:defRPr sz="1867"/>
            </a:lvl4pPr>
            <a:lvl5pPr>
              <a:defRPr sz="1867"/>
            </a:lvl5pPr>
          </a:lstStyle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lang="en-US" u="none" strike="noStrike" cap="none">
              <a:solidFill>
                <a:schemeClr val="tx1"/>
              </a:solidFill>
              <a:latin typeface="CiscoSansTT ExtraLight" panose="020B0303020201020303" pitchFamily="34" charset="0"/>
              <a:ea typeface="Helvetica Neue Light"/>
              <a:cs typeface="CiscoSansTT ExtraLight" panose="020B0303020201020303" pitchFamily="34" charset="0"/>
              <a:sym typeface="Helvetica Neue Light"/>
            </a:endParaRPr>
          </a:p>
        </p:txBody>
      </p:sp>
      <p:sp>
        <p:nvSpPr>
          <p:cNvPr id="15" name="Text Placeholder 12">
            <a:extLst>
              <a:ext uri="{FF2B5EF4-FFF2-40B4-BE49-F238E27FC236}">
                <a16:creationId xmlns:a16="http://schemas.microsoft.com/office/drawing/2014/main" id="{1F3FE1AB-0D7D-E34F-B442-EB54DC668994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7833841" y="4515277"/>
            <a:ext cx="2766483" cy="861483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 marL="0" marR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0" i="0">
                <a:solidFill>
                  <a:schemeClr val="tx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defRPr>
            </a:lvl1pPr>
            <a:lvl2pPr>
              <a:defRPr sz="1867"/>
            </a:lvl2pPr>
            <a:lvl3pPr>
              <a:defRPr sz="1867"/>
            </a:lvl3pPr>
            <a:lvl4pPr>
              <a:defRPr sz="1867"/>
            </a:lvl4pPr>
            <a:lvl5pPr>
              <a:defRPr sz="1867"/>
            </a:lvl5pPr>
          </a:lstStyle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lang="en-US" u="none" strike="noStrike" cap="none">
              <a:solidFill>
                <a:schemeClr val="tx1"/>
              </a:solidFill>
              <a:latin typeface="CiscoSansTT ExtraLight" panose="020B0303020201020303" pitchFamily="34" charset="0"/>
              <a:ea typeface="Helvetica Neue Light"/>
              <a:cs typeface="CiscoSansTT ExtraLight" panose="020B0303020201020303" pitchFamily="34" charset="0"/>
              <a:sym typeface="Helvetica Neue Light"/>
            </a:endParaRPr>
          </a:p>
        </p:txBody>
      </p:sp>
      <p:sp>
        <p:nvSpPr>
          <p:cNvPr id="18" name="Picture Placeholder 17">
            <a:extLst>
              <a:ext uri="{FF2B5EF4-FFF2-40B4-BE49-F238E27FC236}">
                <a16:creationId xmlns:a16="http://schemas.microsoft.com/office/drawing/2014/main" id="{84D09F35-CDD7-40E9-B917-41C86FE1F940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704633" y="1595780"/>
            <a:ext cx="699467" cy="688637"/>
          </a:xfrm>
          <a:prstGeom prst="ellipse">
            <a:avLst/>
          </a:prstGeom>
          <a:solidFill>
            <a:schemeClr val="bg1"/>
          </a:solidFill>
          <a:ln w="101600">
            <a:solidFill>
              <a:schemeClr val="bg1"/>
            </a:solidFill>
          </a:ln>
        </p:spPr>
        <p:txBody>
          <a:bodyPr>
            <a:noAutofit/>
          </a:bodyPr>
          <a:lstStyle>
            <a:lvl1pPr>
              <a:defRPr>
                <a:noFill/>
              </a:defRPr>
            </a:lvl1pPr>
          </a:lstStyle>
          <a:p>
            <a:endParaRPr lang="en-US"/>
          </a:p>
        </p:txBody>
      </p:sp>
      <p:sp>
        <p:nvSpPr>
          <p:cNvPr id="19" name="Picture Placeholder 17">
            <a:extLst>
              <a:ext uri="{FF2B5EF4-FFF2-40B4-BE49-F238E27FC236}">
                <a16:creationId xmlns:a16="http://schemas.microsoft.com/office/drawing/2014/main" id="{EAC09DE8-D1C7-404C-AAB0-4968B9C8377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704633" y="3098740"/>
            <a:ext cx="699467" cy="688637"/>
          </a:xfrm>
          <a:prstGeom prst="ellipse">
            <a:avLst/>
          </a:prstGeom>
          <a:solidFill>
            <a:schemeClr val="bg1"/>
          </a:solidFill>
          <a:ln w="101600">
            <a:solidFill>
              <a:schemeClr val="bg1"/>
            </a:solidFill>
          </a:ln>
        </p:spPr>
        <p:txBody>
          <a:bodyPr>
            <a:noAutofit/>
          </a:bodyPr>
          <a:lstStyle>
            <a:lvl1pPr>
              <a:defRPr>
                <a:noFill/>
              </a:defRPr>
            </a:lvl1pPr>
          </a:lstStyle>
          <a:p>
            <a:endParaRPr lang="en-US"/>
          </a:p>
        </p:txBody>
      </p:sp>
      <p:sp>
        <p:nvSpPr>
          <p:cNvPr id="20" name="Picture Placeholder 17">
            <a:extLst>
              <a:ext uri="{FF2B5EF4-FFF2-40B4-BE49-F238E27FC236}">
                <a16:creationId xmlns:a16="http://schemas.microsoft.com/office/drawing/2014/main" id="{B5066F44-6BA8-4DF5-A2BD-5E2192D7EC56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6704633" y="4601700"/>
            <a:ext cx="699467" cy="688637"/>
          </a:xfrm>
          <a:prstGeom prst="ellipse">
            <a:avLst/>
          </a:prstGeom>
          <a:solidFill>
            <a:schemeClr val="bg1"/>
          </a:solidFill>
          <a:ln w="101600">
            <a:solidFill>
              <a:schemeClr val="bg1"/>
            </a:solidFill>
          </a:ln>
        </p:spPr>
        <p:txBody>
          <a:bodyPr>
            <a:noAutofit/>
          </a:bodyPr>
          <a:lstStyle>
            <a:lvl1pPr>
              <a:defRPr>
                <a:noFill/>
              </a:defRPr>
            </a:lvl1pPr>
          </a:lstStyle>
          <a:p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35F4FBF-1C16-4019-96AE-593F2EB4B81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668" y="4322233"/>
            <a:ext cx="4529667" cy="1799167"/>
          </a:xfrm>
        </p:spPr>
        <p:txBody>
          <a:bodyPr>
            <a:noAutofit/>
          </a:bodyPr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563094082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Closing Slide" preserve="1">
  <p:cSld name="1_Closing Slide">
    <p:bg>
      <p:bgRef idx="1001">
        <a:schemeClr val="bg2"/>
      </p:bgRef>
    </p:bg>
    <p:spTree>
      <p:nvGrpSpPr>
        <p:cNvPr id="1" name="Shape 17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6BF3AF67-12D7-4D88-BCCE-10648527FAC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185334" y="2912022"/>
            <a:ext cx="1821333" cy="1046908"/>
          </a:xfrm>
          <a:custGeom>
            <a:avLst/>
            <a:gdLst>
              <a:gd name="connsiteX0" fmla="*/ 0 w 1366000"/>
              <a:gd name="connsiteY0" fmla="*/ 0 h 785181"/>
              <a:gd name="connsiteX1" fmla="*/ 1370733 w 1366000"/>
              <a:gd name="connsiteY1" fmla="*/ 0 h 785181"/>
              <a:gd name="connsiteX2" fmla="*/ 1370733 w 1366000"/>
              <a:gd name="connsiteY2" fmla="*/ 789914 h 785181"/>
              <a:gd name="connsiteX3" fmla="*/ 0 w 1366000"/>
              <a:gd name="connsiteY3" fmla="*/ 789914 h 7851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366000" h="785181">
                <a:moveTo>
                  <a:pt x="0" y="0"/>
                </a:moveTo>
                <a:lnTo>
                  <a:pt x="1370733" y="0"/>
                </a:lnTo>
                <a:lnTo>
                  <a:pt x="1370733" y="789914"/>
                </a:lnTo>
                <a:lnTo>
                  <a:pt x="0" y="789914"/>
                </a:lnTo>
                <a:close/>
              </a:path>
            </a:pathLst>
          </a:custGeom>
          <a:ln/>
        </p:spPr>
      </p:pic>
    </p:spTree>
    <p:extLst>
      <p:ext uri="{BB962C8B-B14F-4D97-AF65-F5344CB8AC3E}">
        <p14:creationId xmlns:p14="http://schemas.microsoft.com/office/powerpoint/2010/main" val="279559795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itle Slide" preserve="1" userDrawn="1">
  <p:cSld name="Title Slide">
    <p:bg>
      <p:bgPr>
        <a:solidFill>
          <a:schemeClr val="lt2"/>
        </a:solidFill>
        <a:effectLst/>
      </p:bgPr>
    </p:bg>
    <p:spTree>
      <p:nvGrpSpPr>
        <p:cNvPr id="1" name="Shape 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BD151278-EFE9-BA45-A974-3B6CA72F990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83169" y="3914797"/>
            <a:ext cx="4545763" cy="477137"/>
          </a:xfrm>
          <a:prstGeom prst="rect">
            <a:avLst/>
          </a:prstGeom>
        </p:spPr>
        <p:txBody>
          <a:bodyPr/>
          <a:lstStyle>
            <a:lvl1pPr>
              <a:defRPr sz="2400" b="0" i="0">
                <a:solidFill>
                  <a:schemeClr val="tx1"/>
                </a:solidFill>
                <a:latin typeface="+mj-lt"/>
                <a:cs typeface="CiscoSansTT ExtraLight" panose="020B0303020201020303" pitchFamily="34" charset="0"/>
              </a:defRPr>
            </a:lvl1pPr>
            <a:lvl2pPr>
              <a:defRPr sz="2133" b="0" i="0">
                <a:solidFill>
                  <a:schemeClr val="tx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defRPr>
            </a:lvl2pPr>
            <a:lvl3pPr>
              <a:defRPr sz="2133" b="0" i="0">
                <a:solidFill>
                  <a:schemeClr val="tx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defRPr>
            </a:lvl3pPr>
            <a:lvl4pPr>
              <a:defRPr sz="2133" b="0" i="0">
                <a:solidFill>
                  <a:schemeClr val="tx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defRPr>
            </a:lvl4pPr>
            <a:lvl5pPr>
              <a:defRPr sz="2133" b="0" i="0">
                <a:solidFill>
                  <a:schemeClr val="tx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defRPr>
            </a:lvl5pPr>
          </a:lstStyle>
          <a:p>
            <a:pPr lvl="0"/>
            <a:r>
              <a:rPr lang="en-GB"/>
              <a:t>Lorem ipsum</a:t>
            </a:r>
            <a:endParaRPr lang="en-US"/>
          </a:p>
        </p:txBody>
      </p:sp>
      <p:pic>
        <p:nvPicPr>
          <p:cNvPr id="2" name="Picture 1" descr="A close up of a sign&#10;&#10;Description automatically generated">
            <a:extLst>
              <a:ext uri="{FF2B5EF4-FFF2-40B4-BE49-F238E27FC236}">
                <a16:creationId xmlns:a16="http://schemas.microsoft.com/office/drawing/2014/main" id="{C7C290BF-922A-8D40-A281-C883E1525E9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29963" y="2310512"/>
            <a:ext cx="7680768" cy="5504549"/>
          </a:xfrm>
          <a:prstGeom prst="rect">
            <a:avLst/>
          </a:prstGeom>
        </p:spPr>
      </p:pic>
      <p:sp>
        <p:nvSpPr>
          <p:cNvPr id="3" name="Google Shape;735;p181">
            <a:extLst>
              <a:ext uri="{FF2B5EF4-FFF2-40B4-BE49-F238E27FC236}">
                <a16:creationId xmlns:a16="http://schemas.microsoft.com/office/drawing/2014/main" id="{8A995F9F-CBE8-6D4F-A6C6-07F1D1840F96}"/>
              </a:ext>
            </a:extLst>
          </p:cNvPr>
          <p:cNvSpPr/>
          <p:nvPr userDrawn="1"/>
        </p:nvSpPr>
        <p:spPr>
          <a:xfrm>
            <a:off x="713230" y="661026"/>
            <a:ext cx="826145" cy="438900"/>
          </a:xfrm>
          <a:custGeom>
            <a:avLst/>
            <a:gdLst/>
            <a:ahLst/>
            <a:cxnLst/>
            <a:rect l="l" t="t" r="r" b="b"/>
            <a:pathLst>
              <a:path w="3456" h="1834" extrusionOk="0">
                <a:moveTo>
                  <a:pt x="2828" y="1362"/>
                </a:moveTo>
                <a:lnTo>
                  <a:pt x="2798" y="1364"/>
                </a:lnTo>
                <a:lnTo>
                  <a:pt x="2771" y="1371"/>
                </a:lnTo>
                <a:lnTo>
                  <a:pt x="2747" y="1384"/>
                </a:lnTo>
                <a:lnTo>
                  <a:pt x="2725" y="1400"/>
                </a:lnTo>
                <a:lnTo>
                  <a:pt x="2706" y="1419"/>
                </a:lnTo>
                <a:lnTo>
                  <a:pt x="2691" y="1441"/>
                </a:lnTo>
                <a:lnTo>
                  <a:pt x="2680" y="1465"/>
                </a:lnTo>
                <a:lnTo>
                  <a:pt x="2674" y="1492"/>
                </a:lnTo>
                <a:lnTo>
                  <a:pt x="2671" y="1521"/>
                </a:lnTo>
                <a:lnTo>
                  <a:pt x="2674" y="1549"/>
                </a:lnTo>
                <a:lnTo>
                  <a:pt x="2680" y="1577"/>
                </a:lnTo>
                <a:lnTo>
                  <a:pt x="2691" y="1601"/>
                </a:lnTo>
                <a:lnTo>
                  <a:pt x="2706" y="1623"/>
                </a:lnTo>
                <a:lnTo>
                  <a:pt x="2725" y="1642"/>
                </a:lnTo>
                <a:lnTo>
                  <a:pt x="2747" y="1658"/>
                </a:lnTo>
                <a:lnTo>
                  <a:pt x="2771" y="1669"/>
                </a:lnTo>
                <a:lnTo>
                  <a:pt x="2798" y="1677"/>
                </a:lnTo>
                <a:lnTo>
                  <a:pt x="2828" y="1680"/>
                </a:lnTo>
                <a:lnTo>
                  <a:pt x="2857" y="1677"/>
                </a:lnTo>
                <a:lnTo>
                  <a:pt x="2883" y="1669"/>
                </a:lnTo>
                <a:lnTo>
                  <a:pt x="2908" y="1658"/>
                </a:lnTo>
                <a:lnTo>
                  <a:pt x="2930" y="1642"/>
                </a:lnTo>
                <a:lnTo>
                  <a:pt x="2948" y="1623"/>
                </a:lnTo>
                <a:lnTo>
                  <a:pt x="2964" y="1601"/>
                </a:lnTo>
                <a:lnTo>
                  <a:pt x="2975" y="1577"/>
                </a:lnTo>
                <a:lnTo>
                  <a:pt x="2982" y="1549"/>
                </a:lnTo>
                <a:lnTo>
                  <a:pt x="2985" y="1521"/>
                </a:lnTo>
                <a:lnTo>
                  <a:pt x="2982" y="1492"/>
                </a:lnTo>
                <a:lnTo>
                  <a:pt x="2975" y="1465"/>
                </a:lnTo>
                <a:lnTo>
                  <a:pt x="2964" y="1441"/>
                </a:lnTo>
                <a:lnTo>
                  <a:pt x="2948" y="1419"/>
                </a:lnTo>
                <a:lnTo>
                  <a:pt x="2930" y="1400"/>
                </a:lnTo>
                <a:lnTo>
                  <a:pt x="2908" y="1384"/>
                </a:lnTo>
                <a:lnTo>
                  <a:pt x="2883" y="1371"/>
                </a:lnTo>
                <a:lnTo>
                  <a:pt x="2857" y="1364"/>
                </a:lnTo>
                <a:lnTo>
                  <a:pt x="2828" y="1362"/>
                </a:lnTo>
                <a:close/>
                <a:moveTo>
                  <a:pt x="977" y="1218"/>
                </a:moveTo>
                <a:lnTo>
                  <a:pt x="1129" y="1218"/>
                </a:lnTo>
                <a:lnTo>
                  <a:pt x="1129" y="1823"/>
                </a:lnTo>
                <a:lnTo>
                  <a:pt x="977" y="1823"/>
                </a:lnTo>
                <a:lnTo>
                  <a:pt x="977" y="1218"/>
                </a:lnTo>
                <a:close/>
                <a:moveTo>
                  <a:pt x="2828" y="1208"/>
                </a:moveTo>
                <a:lnTo>
                  <a:pt x="2873" y="1211"/>
                </a:lnTo>
                <a:lnTo>
                  <a:pt x="2916" y="1219"/>
                </a:lnTo>
                <a:lnTo>
                  <a:pt x="2955" y="1232"/>
                </a:lnTo>
                <a:lnTo>
                  <a:pt x="2992" y="1251"/>
                </a:lnTo>
                <a:lnTo>
                  <a:pt x="3026" y="1273"/>
                </a:lnTo>
                <a:lnTo>
                  <a:pt x="3056" y="1299"/>
                </a:lnTo>
                <a:lnTo>
                  <a:pt x="3082" y="1330"/>
                </a:lnTo>
                <a:lnTo>
                  <a:pt x="3104" y="1363"/>
                </a:lnTo>
                <a:lnTo>
                  <a:pt x="3121" y="1398"/>
                </a:lnTo>
                <a:lnTo>
                  <a:pt x="3134" y="1437"/>
                </a:lnTo>
                <a:lnTo>
                  <a:pt x="3142" y="1479"/>
                </a:lnTo>
                <a:lnTo>
                  <a:pt x="3145" y="1521"/>
                </a:lnTo>
                <a:lnTo>
                  <a:pt x="3142" y="1563"/>
                </a:lnTo>
                <a:lnTo>
                  <a:pt x="3134" y="1604"/>
                </a:lnTo>
                <a:lnTo>
                  <a:pt x="3121" y="1642"/>
                </a:lnTo>
                <a:lnTo>
                  <a:pt x="3104" y="1679"/>
                </a:lnTo>
                <a:lnTo>
                  <a:pt x="3082" y="1712"/>
                </a:lnTo>
                <a:lnTo>
                  <a:pt x="3056" y="1742"/>
                </a:lnTo>
                <a:lnTo>
                  <a:pt x="3026" y="1769"/>
                </a:lnTo>
                <a:lnTo>
                  <a:pt x="2992" y="1791"/>
                </a:lnTo>
                <a:lnTo>
                  <a:pt x="2955" y="1809"/>
                </a:lnTo>
                <a:lnTo>
                  <a:pt x="2916" y="1822"/>
                </a:lnTo>
                <a:lnTo>
                  <a:pt x="2873" y="1831"/>
                </a:lnTo>
                <a:lnTo>
                  <a:pt x="2828" y="1834"/>
                </a:lnTo>
                <a:lnTo>
                  <a:pt x="2783" y="1831"/>
                </a:lnTo>
                <a:lnTo>
                  <a:pt x="2740" y="1822"/>
                </a:lnTo>
                <a:lnTo>
                  <a:pt x="2700" y="1809"/>
                </a:lnTo>
                <a:lnTo>
                  <a:pt x="2663" y="1791"/>
                </a:lnTo>
                <a:lnTo>
                  <a:pt x="2630" y="1769"/>
                </a:lnTo>
                <a:lnTo>
                  <a:pt x="2599" y="1742"/>
                </a:lnTo>
                <a:lnTo>
                  <a:pt x="2573" y="1712"/>
                </a:lnTo>
                <a:lnTo>
                  <a:pt x="2551" y="1679"/>
                </a:lnTo>
                <a:lnTo>
                  <a:pt x="2534" y="1642"/>
                </a:lnTo>
                <a:lnTo>
                  <a:pt x="2521" y="1604"/>
                </a:lnTo>
                <a:lnTo>
                  <a:pt x="2513" y="1563"/>
                </a:lnTo>
                <a:lnTo>
                  <a:pt x="2510" y="1521"/>
                </a:lnTo>
                <a:lnTo>
                  <a:pt x="2513" y="1479"/>
                </a:lnTo>
                <a:lnTo>
                  <a:pt x="2521" y="1437"/>
                </a:lnTo>
                <a:lnTo>
                  <a:pt x="2534" y="1398"/>
                </a:lnTo>
                <a:lnTo>
                  <a:pt x="2551" y="1363"/>
                </a:lnTo>
                <a:lnTo>
                  <a:pt x="2573" y="1330"/>
                </a:lnTo>
                <a:lnTo>
                  <a:pt x="2599" y="1299"/>
                </a:lnTo>
                <a:lnTo>
                  <a:pt x="2630" y="1273"/>
                </a:lnTo>
                <a:lnTo>
                  <a:pt x="2663" y="1251"/>
                </a:lnTo>
                <a:lnTo>
                  <a:pt x="2700" y="1232"/>
                </a:lnTo>
                <a:lnTo>
                  <a:pt x="2740" y="1219"/>
                </a:lnTo>
                <a:lnTo>
                  <a:pt x="2783" y="1211"/>
                </a:lnTo>
                <a:lnTo>
                  <a:pt x="2828" y="1208"/>
                </a:lnTo>
                <a:close/>
                <a:moveTo>
                  <a:pt x="2213" y="1208"/>
                </a:moveTo>
                <a:lnTo>
                  <a:pt x="2242" y="1209"/>
                </a:lnTo>
                <a:lnTo>
                  <a:pt x="2268" y="1211"/>
                </a:lnTo>
                <a:lnTo>
                  <a:pt x="2292" y="1215"/>
                </a:lnTo>
                <a:lnTo>
                  <a:pt x="2312" y="1219"/>
                </a:lnTo>
                <a:lnTo>
                  <a:pt x="2329" y="1223"/>
                </a:lnTo>
                <a:lnTo>
                  <a:pt x="2343" y="1227"/>
                </a:lnTo>
                <a:lnTo>
                  <a:pt x="2351" y="1230"/>
                </a:lnTo>
                <a:lnTo>
                  <a:pt x="2351" y="1392"/>
                </a:lnTo>
                <a:lnTo>
                  <a:pt x="2346" y="1389"/>
                </a:lnTo>
                <a:lnTo>
                  <a:pt x="2335" y="1384"/>
                </a:lnTo>
                <a:lnTo>
                  <a:pt x="2321" y="1377"/>
                </a:lnTo>
                <a:lnTo>
                  <a:pt x="2302" y="1371"/>
                </a:lnTo>
                <a:lnTo>
                  <a:pt x="2279" y="1365"/>
                </a:lnTo>
                <a:lnTo>
                  <a:pt x="2253" y="1360"/>
                </a:lnTo>
                <a:lnTo>
                  <a:pt x="2223" y="1359"/>
                </a:lnTo>
                <a:lnTo>
                  <a:pt x="2192" y="1362"/>
                </a:lnTo>
                <a:lnTo>
                  <a:pt x="2163" y="1369"/>
                </a:lnTo>
                <a:lnTo>
                  <a:pt x="2136" y="1381"/>
                </a:lnTo>
                <a:lnTo>
                  <a:pt x="2113" y="1396"/>
                </a:lnTo>
                <a:lnTo>
                  <a:pt x="2095" y="1415"/>
                </a:lnTo>
                <a:lnTo>
                  <a:pt x="2079" y="1437"/>
                </a:lnTo>
                <a:lnTo>
                  <a:pt x="2067" y="1463"/>
                </a:lnTo>
                <a:lnTo>
                  <a:pt x="2060" y="1490"/>
                </a:lnTo>
                <a:lnTo>
                  <a:pt x="2058" y="1521"/>
                </a:lnTo>
                <a:lnTo>
                  <a:pt x="2060" y="1550"/>
                </a:lnTo>
                <a:lnTo>
                  <a:pt x="2066" y="1578"/>
                </a:lnTo>
                <a:lnTo>
                  <a:pt x="2078" y="1602"/>
                </a:lnTo>
                <a:lnTo>
                  <a:pt x="2093" y="1625"/>
                </a:lnTo>
                <a:lnTo>
                  <a:pt x="2112" y="1644"/>
                </a:lnTo>
                <a:lnTo>
                  <a:pt x="2135" y="1660"/>
                </a:lnTo>
                <a:lnTo>
                  <a:pt x="2162" y="1672"/>
                </a:lnTo>
                <a:lnTo>
                  <a:pt x="2191" y="1679"/>
                </a:lnTo>
                <a:lnTo>
                  <a:pt x="2223" y="1682"/>
                </a:lnTo>
                <a:lnTo>
                  <a:pt x="2253" y="1680"/>
                </a:lnTo>
                <a:lnTo>
                  <a:pt x="2279" y="1676"/>
                </a:lnTo>
                <a:lnTo>
                  <a:pt x="2301" y="1671"/>
                </a:lnTo>
                <a:lnTo>
                  <a:pt x="2321" y="1664"/>
                </a:lnTo>
                <a:lnTo>
                  <a:pt x="2335" y="1658"/>
                </a:lnTo>
                <a:lnTo>
                  <a:pt x="2346" y="1653"/>
                </a:lnTo>
                <a:lnTo>
                  <a:pt x="2351" y="1649"/>
                </a:lnTo>
                <a:lnTo>
                  <a:pt x="2351" y="1812"/>
                </a:lnTo>
                <a:lnTo>
                  <a:pt x="2339" y="1816"/>
                </a:lnTo>
                <a:lnTo>
                  <a:pt x="2322" y="1820"/>
                </a:lnTo>
                <a:lnTo>
                  <a:pt x="2300" y="1826"/>
                </a:lnTo>
                <a:lnTo>
                  <a:pt x="2275" y="1830"/>
                </a:lnTo>
                <a:lnTo>
                  <a:pt x="2245" y="1833"/>
                </a:lnTo>
                <a:lnTo>
                  <a:pt x="2213" y="1834"/>
                </a:lnTo>
                <a:lnTo>
                  <a:pt x="2174" y="1832"/>
                </a:lnTo>
                <a:lnTo>
                  <a:pt x="2136" y="1826"/>
                </a:lnTo>
                <a:lnTo>
                  <a:pt x="2100" y="1815"/>
                </a:lnTo>
                <a:lnTo>
                  <a:pt x="2065" y="1801"/>
                </a:lnTo>
                <a:lnTo>
                  <a:pt x="2033" y="1783"/>
                </a:lnTo>
                <a:lnTo>
                  <a:pt x="2002" y="1762"/>
                </a:lnTo>
                <a:lnTo>
                  <a:pt x="1975" y="1737"/>
                </a:lnTo>
                <a:lnTo>
                  <a:pt x="1952" y="1710"/>
                </a:lnTo>
                <a:lnTo>
                  <a:pt x="1931" y="1678"/>
                </a:lnTo>
                <a:lnTo>
                  <a:pt x="1915" y="1643"/>
                </a:lnTo>
                <a:lnTo>
                  <a:pt x="1903" y="1605"/>
                </a:lnTo>
                <a:lnTo>
                  <a:pt x="1896" y="1564"/>
                </a:lnTo>
                <a:lnTo>
                  <a:pt x="1892" y="1521"/>
                </a:lnTo>
                <a:lnTo>
                  <a:pt x="1896" y="1477"/>
                </a:lnTo>
                <a:lnTo>
                  <a:pt x="1904" y="1434"/>
                </a:lnTo>
                <a:lnTo>
                  <a:pt x="1917" y="1395"/>
                </a:lnTo>
                <a:lnTo>
                  <a:pt x="1934" y="1359"/>
                </a:lnTo>
                <a:lnTo>
                  <a:pt x="1957" y="1326"/>
                </a:lnTo>
                <a:lnTo>
                  <a:pt x="1984" y="1296"/>
                </a:lnTo>
                <a:lnTo>
                  <a:pt x="2014" y="1271"/>
                </a:lnTo>
                <a:lnTo>
                  <a:pt x="2047" y="1249"/>
                </a:lnTo>
                <a:lnTo>
                  <a:pt x="2085" y="1231"/>
                </a:lnTo>
                <a:lnTo>
                  <a:pt x="2125" y="1218"/>
                </a:lnTo>
                <a:lnTo>
                  <a:pt x="2168" y="1211"/>
                </a:lnTo>
                <a:lnTo>
                  <a:pt x="2213" y="1208"/>
                </a:lnTo>
                <a:close/>
                <a:moveTo>
                  <a:pt x="630" y="1208"/>
                </a:moveTo>
                <a:lnTo>
                  <a:pt x="660" y="1209"/>
                </a:lnTo>
                <a:lnTo>
                  <a:pt x="687" y="1211"/>
                </a:lnTo>
                <a:lnTo>
                  <a:pt x="711" y="1215"/>
                </a:lnTo>
                <a:lnTo>
                  <a:pt x="731" y="1219"/>
                </a:lnTo>
                <a:lnTo>
                  <a:pt x="748" y="1223"/>
                </a:lnTo>
                <a:lnTo>
                  <a:pt x="760" y="1227"/>
                </a:lnTo>
                <a:lnTo>
                  <a:pt x="769" y="1230"/>
                </a:lnTo>
                <a:lnTo>
                  <a:pt x="769" y="1392"/>
                </a:lnTo>
                <a:lnTo>
                  <a:pt x="763" y="1389"/>
                </a:lnTo>
                <a:lnTo>
                  <a:pt x="754" y="1384"/>
                </a:lnTo>
                <a:lnTo>
                  <a:pt x="739" y="1377"/>
                </a:lnTo>
                <a:lnTo>
                  <a:pt x="721" y="1371"/>
                </a:lnTo>
                <a:lnTo>
                  <a:pt x="697" y="1365"/>
                </a:lnTo>
                <a:lnTo>
                  <a:pt x="671" y="1360"/>
                </a:lnTo>
                <a:lnTo>
                  <a:pt x="642" y="1359"/>
                </a:lnTo>
                <a:lnTo>
                  <a:pt x="611" y="1362"/>
                </a:lnTo>
                <a:lnTo>
                  <a:pt x="581" y="1369"/>
                </a:lnTo>
                <a:lnTo>
                  <a:pt x="555" y="1381"/>
                </a:lnTo>
                <a:lnTo>
                  <a:pt x="532" y="1396"/>
                </a:lnTo>
                <a:lnTo>
                  <a:pt x="513" y="1415"/>
                </a:lnTo>
                <a:lnTo>
                  <a:pt x="497" y="1437"/>
                </a:lnTo>
                <a:lnTo>
                  <a:pt x="485" y="1463"/>
                </a:lnTo>
                <a:lnTo>
                  <a:pt x="479" y="1490"/>
                </a:lnTo>
                <a:lnTo>
                  <a:pt x="475" y="1521"/>
                </a:lnTo>
                <a:lnTo>
                  <a:pt x="479" y="1550"/>
                </a:lnTo>
                <a:lnTo>
                  <a:pt x="485" y="1578"/>
                </a:lnTo>
                <a:lnTo>
                  <a:pt x="496" y="1602"/>
                </a:lnTo>
                <a:lnTo>
                  <a:pt x="512" y="1625"/>
                </a:lnTo>
                <a:lnTo>
                  <a:pt x="531" y="1644"/>
                </a:lnTo>
                <a:lnTo>
                  <a:pt x="554" y="1660"/>
                </a:lnTo>
                <a:lnTo>
                  <a:pt x="580" y="1672"/>
                </a:lnTo>
                <a:lnTo>
                  <a:pt x="610" y="1679"/>
                </a:lnTo>
                <a:lnTo>
                  <a:pt x="642" y="1682"/>
                </a:lnTo>
                <a:lnTo>
                  <a:pt x="671" y="1680"/>
                </a:lnTo>
                <a:lnTo>
                  <a:pt x="697" y="1676"/>
                </a:lnTo>
                <a:lnTo>
                  <a:pt x="719" y="1671"/>
                </a:lnTo>
                <a:lnTo>
                  <a:pt x="738" y="1664"/>
                </a:lnTo>
                <a:lnTo>
                  <a:pt x="753" y="1658"/>
                </a:lnTo>
                <a:lnTo>
                  <a:pt x="763" y="1653"/>
                </a:lnTo>
                <a:lnTo>
                  <a:pt x="769" y="1649"/>
                </a:lnTo>
                <a:lnTo>
                  <a:pt x="769" y="1812"/>
                </a:lnTo>
                <a:lnTo>
                  <a:pt x="757" y="1816"/>
                </a:lnTo>
                <a:lnTo>
                  <a:pt x="740" y="1820"/>
                </a:lnTo>
                <a:lnTo>
                  <a:pt x="718" y="1826"/>
                </a:lnTo>
                <a:lnTo>
                  <a:pt x="692" y="1830"/>
                </a:lnTo>
                <a:lnTo>
                  <a:pt x="663" y="1833"/>
                </a:lnTo>
                <a:lnTo>
                  <a:pt x="630" y="1834"/>
                </a:lnTo>
                <a:lnTo>
                  <a:pt x="592" y="1832"/>
                </a:lnTo>
                <a:lnTo>
                  <a:pt x="554" y="1826"/>
                </a:lnTo>
                <a:lnTo>
                  <a:pt x="518" y="1815"/>
                </a:lnTo>
                <a:lnTo>
                  <a:pt x="484" y="1801"/>
                </a:lnTo>
                <a:lnTo>
                  <a:pt x="451" y="1783"/>
                </a:lnTo>
                <a:lnTo>
                  <a:pt x="421" y="1762"/>
                </a:lnTo>
                <a:lnTo>
                  <a:pt x="394" y="1737"/>
                </a:lnTo>
                <a:lnTo>
                  <a:pt x="370" y="1710"/>
                </a:lnTo>
                <a:lnTo>
                  <a:pt x="350" y="1678"/>
                </a:lnTo>
                <a:lnTo>
                  <a:pt x="333" y="1643"/>
                </a:lnTo>
                <a:lnTo>
                  <a:pt x="322" y="1605"/>
                </a:lnTo>
                <a:lnTo>
                  <a:pt x="314" y="1564"/>
                </a:lnTo>
                <a:lnTo>
                  <a:pt x="311" y="1521"/>
                </a:lnTo>
                <a:lnTo>
                  <a:pt x="314" y="1477"/>
                </a:lnTo>
                <a:lnTo>
                  <a:pt x="323" y="1434"/>
                </a:lnTo>
                <a:lnTo>
                  <a:pt x="335" y="1395"/>
                </a:lnTo>
                <a:lnTo>
                  <a:pt x="353" y="1359"/>
                </a:lnTo>
                <a:lnTo>
                  <a:pt x="375" y="1326"/>
                </a:lnTo>
                <a:lnTo>
                  <a:pt x="402" y="1296"/>
                </a:lnTo>
                <a:lnTo>
                  <a:pt x="433" y="1271"/>
                </a:lnTo>
                <a:lnTo>
                  <a:pt x="466" y="1249"/>
                </a:lnTo>
                <a:lnTo>
                  <a:pt x="503" y="1231"/>
                </a:lnTo>
                <a:lnTo>
                  <a:pt x="544" y="1218"/>
                </a:lnTo>
                <a:lnTo>
                  <a:pt x="585" y="1211"/>
                </a:lnTo>
                <a:lnTo>
                  <a:pt x="630" y="1208"/>
                </a:lnTo>
                <a:close/>
                <a:moveTo>
                  <a:pt x="1556" y="1208"/>
                </a:moveTo>
                <a:lnTo>
                  <a:pt x="1583" y="1209"/>
                </a:lnTo>
                <a:lnTo>
                  <a:pt x="1610" y="1211"/>
                </a:lnTo>
                <a:lnTo>
                  <a:pt x="1634" y="1213"/>
                </a:lnTo>
                <a:lnTo>
                  <a:pt x="1656" y="1217"/>
                </a:lnTo>
                <a:lnTo>
                  <a:pt x="1675" y="1220"/>
                </a:lnTo>
                <a:lnTo>
                  <a:pt x="1689" y="1223"/>
                </a:lnTo>
                <a:lnTo>
                  <a:pt x="1699" y="1226"/>
                </a:lnTo>
                <a:lnTo>
                  <a:pt x="1704" y="1227"/>
                </a:lnTo>
                <a:lnTo>
                  <a:pt x="1704" y="1356"/>
                </a:lnTo>
                <a:lnTo>
                  <a:pt x="1700" y="1355"/>
                </a:lnTo>
                <a:lnTo>
                  <a:pt x="1691" y="1353"/>
                </a:lnTo>
                <a:lnTo>
                  <a:pt x="1679" y="1350"/>
                </a:lnTo>
                <a:lnTo>
                  <a:pt x="1663" y="1347"/>
                </a:lnTo>
                <a:lnTo>
                  <a:pt x="1645" y="1343"/>
                </a:lnTo>
                <a:lnTo>
                  <a:pt x="1625" y="1340"/>
                </a:lnTo>
                <a:lnTo>
                  <a:pt x="1605" y="1338"/>
                </a:lnTo>
                <a:lnTo>
                  <a:pt x="1586" y="1337"/>
                </a:lnTo>
                <a:lnTo>
                  <a:pt x="1557" y="1339"/>
                </a:lnTo>
                <a:lnTo>
                  <a:pt x="1534" y="1344"/>
                </a:lnTo>
                <a:lnTo>
                  <a:pt x="1515" y="1351"/>
                </a:lnTo>
                <a:lnTo>
                  <a:pt x="1502" y="1362"/>
                </a:lnTo>
                <a:lnTo>
                  <a:pt x="1494" y="1373"/>
                </a:lnTo>
                <a:lnTo>
                  <a:pt x="1491" y="1387"/>
                </a:lnTo>
                <a:lnTo>
                  <a:pt x="1494" y="1402"/>
                </a:lnTo>
                <a:lnTo>
                  <a:pt x="1501" y="1413"/>
                </a:lnTo>
                <a:lnTo>
                  <a:pt x="1511" y="1423"/>
                </a:lnTo>
                <a:lnTo>
                  <a:pt x="1523" y="1430"/>
                </a:lnTo>
                <a:lnTo>
                  <a:pt x="1536" y="1436"/>
                </a:lnTo>
                <a:lnTo>
                  <a:pt x="1549" y="1441"/>
                </a:lnTo>
                <a:lnTo>
                  <a:pt x="1560" y="1445"/>
                </a:lnTo>
                <a:lnTo>
                  <a:pt x="1602" y="1458"/>
                </a:lnTo>
                <a:lnTo>
                  <a:pt x="1634" y="1470"/>
                </a:lnTo>
                <a:lnTo>
                  <a:pt x="1661" y="1484"/>
                </a:lnTo>
                <a:lnTo>
                  <a:pt x="1684" y="1501"/>
                </a:lnTo>
                <a:lnTo>
                  <a:pt x="1703" y="1519"/>
                </a:lnTo>
                <a:lnTo>
                  <a:pt x="1719" y="1539"/>
                </a:lnTo>
                <a:lnTo>
                  <a:pt x="1731" y="1560"/>
                </a:lnTo>
                <a:lnTo>
                  <a:pt x="1740" y="1583"/>
                </a:lnTo>
                <a:lnTo>
                  <a:pt x="1745" y="1606"/>
                </a:lnTo>
                <a:lnTo>
                  <a:pt x="1746" y="1630"/>
                </a:lnTo>
                <a:lnTo>
                  <a:pt x="1744" y="1664"/>
                </a:lnTo>
                <a:lnTo>
                  <a:pt x="1737" y="1694"/>
                </a:lnTo>
                <a:lnTo>
                  <a:pt x="1727" y="1720"/>
                </a:lnTo>
                <a:lnTo>
                  <a:pt x="1712" y="1744"/>
                </a:lnTo>
                <a:lnTo>
                  <a:pt x="1696" y="1764"/>
                </a:lnTo>
                <a:lnTo>
                  <a:pt x="1676" y="1781"/>
                </a:lnTo>
                <a:lnTo>
                  <a:pt x="1654" y="1796"/>
                </a:lnTo>
                <a:lnTo>
                  <a:pt x="1630" y="1809"/>
                </a:lnTo>
                <a:lnTo>
                  <a:pt x="1604" y="1818"/>
                </a:lnTo>
                <a:lnTo>
                  <a:pt x="1578" y="1826"/>
                </a:lnTo>
                <a:lnTo>
                  <a:pt x="1551" y="1830"/>
                </a:lnTo>
                <a:lnTo>
                  <a:pt x="1524" y="1833"/>
                </a:lnTo>
                <a:lnTo>
                  <a:pt x="1498" y="1834"/>
                </a:lnTo>
                <a:lnTo>
                  <a:pt x="1467" y="1833"/>
                </a:lnTo>
                <a:lnTo>
                  <a:pt x="1439" y="1832"/>
                </a:lnTo>
                <a:lnTo>
                  <a:pt x="1412" y="1829"/>
                </a:lnTo>
                <a:lnTo>
                  <a:pt x="1388" y="1827"/>
                </a:lnTo>
                <a:lnTo>
                  <a:pt x="1368" y="1823"/>
                </a:lnTo>
                <a:lnTo>
                  <a:pt x="1351" y="1820"/>
                </a:lnTo>
                <a:lnTo>
                  <a:pt x="1339" y="1818"/>
                </a:lnTo>
                <a:lnTo>
                  <a:pt x="1334" y="1817"/>
                </a:lnTo>
                <a:lnTo>
                  <a:pt x="1334" y="1678"/>
                </a:lnTo>
                <a:lnTo>
                  <a:pt x="1343" y="1680"/>
                </a:lnTo>
                <a:lnTo>
                  <a:pt x="1356" y="1684"/>
                </a:lnTo>
                <a:lnTo>
                  <a:pt x="1375" y="1688"/>
                </a:lnTo>
                <a:lnTo>
                  <a:pt x="1397" y="1693"/>
                </a:lnTo>
                <a:lnTo>
                  <a:pt x="1422" y="1697"/>
                </a:lnTo>
                <a:lnTo>
                  <a:pt x="1448" y="1700"/>
                </a:lnTo>
                <a:lnTo>
                  <a:pt x="1477" y="1701"/>
                </a:lnTo>
                <a:lnTo>
                  <a:pt x="1507" y="1699"/>
                </a:lnTo>
                <a:lnTo>
                  <a:pt x="1531" y="1696"/>
                </a:lnTo>
                <a:lnTo>
                  <a:pt x="1552" y="1690"/>
                </a:lnTo>
                <a:lnTo>
                  <a:pt x="1568" y="1681"/>
                </a:lnTo>
                <a:lnTo>
                  <a:pt x="1578" y="1671"/>
                </a:lnTo>
                <a:lnTo>
                  <a:pt x="1585" y="1658"/>
                </a:lnTo>
                <a:lnTo>
                  <a:pt x="1587" y="1644"/>
                </a:lnTo>
                <a:lnTo>
                  <a:pt x="1585" y="1629"/>
                </a:lnTo>
                <a:lnTo>
                  <a:pt x="1578" y="1618"/>
                </a:lnTo>
                <a:lnTo>
                  <a:pt x="1567" y="1607"/>
                </a:lnTo>
                <a:lnTo>
                  <a:pt x="1553" y="1598"/>
                </a:lnTo>
                <a:lnTo>
                  <a:pt x="1537" y="1590"/>
                </a:lnTo>
                <a:lnTo>
                  <a:pt x="1520" y="1584"/>
                </a:lnTo>
                <a:lnTo>
                  <a:pt x="1509" y="1581"/>
                </a:lnTo>
                <a:lnTo>
                  <a:pt x="1498" y="1577"/>
                </a:lnTo>
                <a:lnTo>
                  <a:pt x="1487" y="1574"/>
                </a:lnTo>
                <a:lnTo>
                  <a:pt x="1462" y="1565"/>
                </a:lnTo>
                <a:lnTo>
                  <a:pt x="1439" y="1555"/>
                </a:lnTo>
                <a:lnTo>
                  <a:pt x="1416" y="1542"/>
                </a:lnTo>
                <a:lnTo>
                  <a:pt x="1396" y="1528"/>
                </a:lnTo>
                <a:lnTo>
                  <a:pt x="1378" y="1512"/>
                </a:lnTo>
                <a:lnTo>
                  <a:pt x="1363" y="1494"/>
                </a:lnTo>
                <a:lnTo>
                  <a:pt x="1350" y="1473"/>
                </a:lnTo>
                <a:lnTo>
                  <a:pt x="1341" y="1451"/>
                </a:lnTo>
                <a:lnTo>
                  <a:pt x="1334" y="1425"/>
                </a:lnTo>
                <a:lnTo>
                  <a:pt x="1332" y="1396"/>
                </a:lnTo>
                <a:lnTo>
                  <a:pt x="1334" y="1364"/>
                </a:lnTo>
                <a:lnTo>
                  <a:pt x="1342" y="1333"/>
                </a:lnTo>
                <a:lnTo>
                  <a:pt x="1354" y="1306"/>
                </a:lnTo>
                <a:lnTo>
                  <a:pt x="1371" y="1281"/>
                </a:lnTo>
                <a:lnTo>
                  <a:pt x="1392" y="1259"/>
                </a:lnTo>
                <a:lnTo>
                  <a:pt x="1417" y="1241"/>
                </a:lnTo>
                <a:lnTo>
                  <a:pt x="1446" y="1227"/>
                </a:lnTo>
                <a:lnTo>
                  <a:pt x="1479" y="1216"/>
                </a:lnTo>
                <a:lnTo>
                  <a:pt x="1515" y="1210"/>
                </a:lnTo>
                <a:lnTo>
                  <a:pt x="1556" y="1208"/>
                </a:lnTo>
                <a:close/>
                <a:moveTo>
                  <a:pt x="3381" y="493"/>
                </a:moveTo>
                <a:lnTo>
                  <a:pt x="3400" y="496"/>
                </a:lnTo>
                <a:lnTo>
                  <a:pt x="3418" y="503"/>
                </a:lnTo>
                <a:lnTo>
                  <a:pt x="3434" y="515"/>
                </a:lnTo>
                <a:lnTo>
                  <a:pt x="3446" y="531"/>
                </a:lnTo>
                <a:lnTo>
                  <a:pt x="3453" y="548"/>
                </a:lnTo>
                <a:lnTo>
                  <a:pt x="3456" y="569"/>
                </a:lnTo>
                <a:lnTo>
                  <a:pt x="3456" y="727"/>
                </a:lnTo>
                <a:lnTo>
                  <a:pt x="3453" y="748"/>
                </a:lnTo>
                <a:lnTo>
                  <a:pt x="3446" y="766"/>
                </a:lnTo>
                <a:lnTo>
                  <a:pt x="3434" y="780"/>
                </a:lnTo>
                <a:lnTo>
                  <a:pt x="3418" y="793"/>
                </a:lnTo>
                <a:lnTo>
                  <a:pt x="3400" y="801"/>
                </a:lnTo>
                <a:lnTo>
                  <a:pt x="3381" y="803"/>
                </a:lnTo>
                <a:lnTo>
                  <a:pt x="3361" y="801"/>
                </a:lnTo>
                <a:lnTo>
                  <a:pt x="3343" y="793"/>
                </a:lnTo>
                <a:lnTo>
                  <a:pt x="3328" y="780"/>
                </a:lnTo>
                <a:lnTo>
                  <a:pt x="3316" y="766"/>
                </a:lnTo>
                <a:lnTo>
                  <a:pt x="3308" y="748"/>
                </a:lnTo>
                <a:lnTo>
                  <a:pt x="3306" y="727"/>
                </a:lnTo>
                <a:lnTo>
                  <a:pt x="3306" y="569"/>
                </a:lnTo>
                <a:lnTo>
                  <a:pt x="3308" y="548"/>
                </a:lnTo>
                <a:lnTo>
                  <a:pt x="3316" y="531"/>
                </a:lnTo>
                <a:lnTo>
                  <a:pt x="3328" y="515"/>
                </a:lnTo>
                <a:lnTo>
                  <a:pt x="3343" y="503"/>
                </a:lnTo>
                <a:lnTo>
                  <a:pt x="3361" y="496"/>
                </a:lnTo>
                <a:lnTo>
                  <a:pt x="3381" y="493"/>
                </a:lnTo>
                <a:close/>
                <a:moveTo>
                  <a:pt x="1728" y="493"/>
                </a:moveTo>
                <a:lnTo>
                  <a:pt x="1748" y="496"/>
                </a:lnTo>
                <a:lnTo>
                  <a:pt x="1766" y="503"/>
                </a:lnTo>
                <a:lnTo>
                  <a:pt x="1781" y="515"/>
                </a:lnTo>
                <a:lnTo>
                  <a:pt x="1793" y="531"/>
                </a:lnTo>
                <a:lnTo>
                  <a:pt x="1800" y="548"/>
                </a:lnTo>
                <a:lnTo>
                  <a:pt x="1803" y="569"/>
                </a:lnTo>
                <a:lnTo>
                  <a:pt x="1803" y="727"/>
                </a:lnTo>
                <a:lnTo>
                  <a:pt x="1800" y="748"/>
                </a:lnTo>
                <a:lnTo>
                  <a:pt x="1793" y="766"/>
                </a:lnTo>
                <a:lnTo>
                  <a:pt x="1781" y="780"/>
                </a:lnTo>
                <a:lnTo>
                  <a:pt x="1766" y="793"/>
                </a:lnTo>
                <a:lnTo>
                  <a:pt x="1748" y="801"/>
                </a:lnTo>
                <a:lnTo>
                  <a:pt x="1728" y="803"/>
                </a:lnTo>
                <a:lnTo>
                  <a:pt x="1708" y="801"/>
                </a:lnTo>
                <a:lnTo>
                  <a:pt x="1690" y="793"/>
                </a:lnTo>
                <a:lnTo>
                  <a:pt x="1675" y="780"/>
                </a:lnTo>
                <a:lnTo>
                  <a:pt x="1663" y="766"/>
                </a:lnTo>
                <a:lnTo>
                  <a:pt x="1656" y="748"/>
                </a:lnTo>
                <a:lnTo>
                  <a:pt x="1653" y="727"/>
                </a:lnTo>
                <a:lnTo>
                  <a:pt x="1653" y="569"/>
                </a:lnTo>
                <a:lnTo>
                  <a:pt x="1656" y="548"/>
                </a:lnTo>
                <a:lnTo>
                  <a:pt x="1663" y="531"/>
                </a:lnTo>
                <a:lnTo>
                  <a:pt x="1675" y="515"/>
                </a:lnTo>
                <a:lnTo>
                  <a:pt x="1690" y="503"/>
                </a:lnTo>
                <a:lnTo>
                  <a:pt x="1708" y="496"/>
                </a:lnTo>
                <a:lnTo>
                  <a:pt x="1728" y="493"/>
                </a:lnTo>
                <a:close/>
                <a:moveTo>
                  <a:pt x="75" y="493"/>
                </a:moveTo>
                <a:lnTo>
                  <a:pt x="95" y="496"/>
                </a:lnTo>
                <a:lnTo>
                  <a:pt x="113" y="503"/>
                </a:lnTo>
                <a:lnTo>
                  <a:pt x="129" y="515"/>
                </a:lnTo>
                <a:lnTo>
                  <a:pt x="140" y="531"/>
                </a:lnTo>
                <a:lnTo>
                  <a:pt x="148" y="548"/>
                </a:lnTo>
                <a:lnTo>
                  <a:pt x="151" y="569"/>
                </a:lnTo>
                <a:lnTo>
                  <a:pt x="151" y="727"/>
                </a:lnTo>
                <a:lnTo>
                  <a:pt x="148" y="748"/>
                </a:lnTo>
                <a:lnTo>
                  <a:pt x="140" y="766"/>
                </a:lnTo>
                <a:lnTo>
                  <a:pt x="129" y="780"/>
                </a:lnTo>
                <a:lnTo>
                  <a:pt x="113" y="793"/>
                </a:lnTo>
                <a:lnTo>
                  <a:pt x="95" y="801"/>
                </a:lnTo>
                <a:lnTo>
                  <a:pt x="75" y="803"/>
                </a:lnTo>
                <a:lnTo>
                  <a:pt x="56" y="801"/>
                </a:lnTo>
                <a:lnTo>
                  <a:pt x="38" y="793"/>
                </a:lnTo>
                <a:lnTo>
                  <a:pt x="22" y="780"/>
                </a:lnTo>
                <a:lnTo>
                  <a:pt x="10" y="766"/>
                </a:lnTo>
                <a:lnTo>
                  <a:pt x="3" y="748"/>
                </a:lnTo>
                <a:lnTo>
                  <a:pt x="0" y="727"/>
                </a:lnTo>
                <a:lnTo>
                  <a:pt x="0" y="569"/>
                </a:lnTo>
                <a:lnTo>
                  <a:pt x="3" y="548"/>
                </a:lnTo>
                <a:lnTo>
                  <a:pt x="10" y="531"/>
                </a:lnTo>
                <a:lnTo>
                  <a:pt x="22" y="515"/>
                </a:lnTo>
                <a:lnTo>
                  <a:pt x="38" y="503"/>
                </a:lnTo>
                <a:lnTo>
                  <a:pt x="56" y="496"/>
                </a:lnTo>
                <a:lnTo>
                  <a:pt x="75" y="493"/>
                </a:lnTo>
                <a:close/>
                <a:moveTo>
                  <a:pt x="2968" y="285"/>
                </a:moveTo>
                <a:lnTo>
                  <a:pt x="2988" y="287"/>
                </a:lnTo>
                <a:lnTo>
                  <a:pt x="3006" y="295"/>
                </a:lnTo>
                <a:lnTo>
                  <a:pt x="3021" y="307"/>
                </a:lnTo>
                <a:lnTo>
                  <a:pt x="3033" y="322"/>
                </a:lnTo>
                <a:lnTo>
                  <a:pt x="3040" y="340"/>
                </a:lnTo>
                <a:lnTo>
                  <a:pt x="3043" y="360"/>
                </a:lnTo>
                <a:lnTo>
                  <a:pt x="3043" y="727"/>
                </a:lnTo>
                <a:lnTo>
                  <a:pt x="3040" y="748"/>
                </a:lnTo>
                <a:lnTo>
                  <a:pt x="3033" y="766"/>
                </a:lnTo>
                <a:lnTo>
                  <a:pt x="3021" y="780"/>
                </a:lnTo>
                <a:lnTo>
                  <a:pt x="3006" y="793"/>
                </a:lnTo>
                <a:lnTo>
                  <a:pt x="2988" y="801"/>
                </a:lnTo>
                <a:lnTo>
                  <a:pt x="2968" y="803"/>
                </a:lnTo>
                <a:lnTo>
                  <a:pt x="2947" y="801"/>
                </a:lnTo>
                <a:lnTo>
                  <a:pt x="2929" y="793"/>
                </a:lnTo>
                <a:lnTo>
                  <a:pt x="2915" y="780"/>
                </a:lnTo>
                <a:lnTo>
                  <a:pt x="2903" y="766"/>
                </a:lnTo>
                <a:lnTo>
                  <a:pt x="2895" y="748"/>
                </a:lnTo>
                <a:lnTo>
                  <a:pt x="2893" y="727"/>
                </a:lnTo>
                <a:lnTo>
                  <a:pt x="2893" y="360"/>
                </a:lnTo>
                <a:lnTo>
                  <a:pt x="2895" y="340"/>
                </a:lnTo>
                <a:lnTo>
                  <a:pt x="2903" y="322"/>
                </a:lnTo>
                <a:lnTo>
                  <a:pt x="2915" y="307"/>
                </a:lnTo>
                <a:lnTo>
                  <a:pt x="2929" y="295"/>
                </a:lnTo>
                <a:lnTo>
                  <a:pt x="2947" y="287"/>
                </a:lnTo>
                <a:lnTo>
                  <a:pt x="2968" y="285"/>
                </a:lnTo>
                <a:close/>
                <a:moveTo>
                  <a:pt x="2142" y="285"/>
                </a:moveTo>
                <a:lnTo>
                  <a:pt x="2162" y="287"/>
                </a:lnTo>
                <a:lnTo>
                  <a:pt x="2179" y="295"/>
                </a:lnTo>
                <a:lnTo>
                  <a:pt x="2194" y="307"/>
                </a:lnTo>
                <a:lnTo>
                  <a:pt x="2207" y="322"/>
                </a:lnTo>
                <a:lnTo>
                  <a:pt x="2214" y="340"/>
                </a:lnTo>
                <a:lnTo>
                  <a:pt x="2216" y="360"/>
                </a:lnTo>
                <a:lnTo>
                  <a:pt x="2216" y="727"/>
                </a:lnTo>
                <a:lnTo>
                  <a:pt x="2214" y="748"/>
                </a:lnTo>
                <a:lnTo>
                  <a:pt x="2207" y="766"/>
                </a:lnTo>
                <a:lnTo>
                  <a:pt x="2194" y="780"/>
                </a:lnTo>
                <a:lnTo>
                  <a:pt x="2179" y="793"/>
                </a:lnTo>
                <a:lnTo>
                  <a:pt x="2162" y="801"/>
                </a:lnTo>
                <a:lnTo>
                  <a:pt x="2142" y="803"/>
                </a:lnTo>
                <a:lnTo>
                  <a:pt x="2122" y="801"/>
                </a:lnTo>
                <a:lnTo>
                  <a:pt x="2104" y="793"/>
                </a:lnTo>
                <a:lnTo>
                  <a:pt x="2088" y="780"/>
                </a:lnTo>
                <a:lnTo>
                  <a:pt x="2077" y="766"/>
                </a:lnTo>
                <a:lnTo>
                  <a:pt x="2069" y="748"/>
                </a:lnTo>
                <a:lnTo>
                  <a:pt x="2066" y="727"/>
                </a:lnTo>
                <a:lnTo>
                  <a:pt x="2066" y="360"/>
                </a:lnTo>
                <a:lnTo>
                  <a:pt x="2069" y="340"/>
                </a:lnTo>
                <a:lnTo>
                  <a:pt x="2077" y="322"/>
                </a:lnTo>
                <a:lnTo>
                  <a:pt x="2088" y="307"/>
                </a:lnTo>
                <a:lnTo>
                  <a:pt x="2104" y="295"/>
                </a:lnTo>
                <a:lnTo>
                  <a:pt x="2122" y="287"/>
                </a:lnTo>
                <a:lnTo>
                  <a:pt x="2142" y="285"/>
                </a:lnTo>
                <a:close/>
                <a:moveTo>
                  <a:pt x="1315" y="285"/>
                </a:moveTo>
                <a:lnTo>
                  <a:pt x="1335" y="287"/>
                </a:lnTo>
                <a:lnTo>
                  <a:pt x="1353" y="295"/>
                </a:lnTo>
                <a:lnTo>
                  <a:pt x="1368" y="307"/>
                </a:lnTo>
                <a:lnTo>
                  <a:pt x="1380" y="322"/>
                </a:lnTo>
                <a:lnTo>
                  <a:pt x="1388" y="340"/>
                </a:lnTo>
                <a:lnTo>
                  <a:pt x="1390" y="360"/>
                </a:lnTo>
                <a:lnTo>
                  <a:pt x="1390" y="727"/>
                </a:lnTo>
                <a:lnTo>
                  <a:pt x="1388" y="748"/>
                </a:lnTo>
                <a:lnTo>
                  <a:pt x="1380" y="766"/>
                </a:lnTo>
                <a:lnTo>
                  <a:pt x="1368" y="780"/>
                </a:lnTo>
                <a:lnTo>
                  <a:pt x="1353" y="793"/>
                </a:lnTo>
                <a:lnTo>
                  <a:pt x="1335" y="801"/>
                </a:lnTo>
                <a:lnTo>
                  <a:pt x="1315" y="803"/>
                </a:lnTo>
                <a:lnTo>
                  <a:pt x="1295" y="801"/>
                </a:lnTo>
                <a:lnTo>
                  <a:pt x="1277" y="793"/>
                </a:lnTo>
                <a:lnTo>
                  <a:pt x="1262" y="780"/>
                </a:lnTo>
                <a:lnTo>
                  <a:pt x="1250" y="766"/>
                </a:lnTo>
                <a:lnTo>
                  <a:pt x="1242" y="748"/>
                </a:lnTo>
                <a:lnTo>
                  <a:pt x="1240" y="727"/>
                </a:lnTo>
                <a:lnTo>
                  <a:pt x="1240" y="360"/>
                </a:lnTo>
                <a:lnTo>
                  <a:pt x="1242" y="340"/>
                </a:lnTo>
                <a:lnTo>
                  <a:pt x="1250" y="322"/>
                </a:lnTo>
                <a:lnTo>
                  <a:pt x="1262" y="307"/>
                </a:lnTo>
                <a:lnTo>
                  <a:pt x="1277" y="295"/>
                </a:lnTo>
                <a:lnTo>
                  <a:pt x="1295" y="287"/>
                </a:lnTo>
                <a:lnTo>
                  <a:pt x="1315" y="285"/>
                </a:lnTo>
                <a:close/>
                <a:moveTo>
                  <a:pt x="488" y="285"/>
                </a:moveTo>
                <a:lnTo>
                  <a:pt x="508" y="287"/>
                </a:lnTo>
                <a:lnTo>
                  <a:pt x="527" y="295"/>
                </a:lnTo>
                <a:lnTo>
                  <a:pt x="541" y="307"/>
                </a:lnTo>
                <a:lnTo>
                  <a:pt x="553" y="322"/>
                </a:lnTo>
                <a:lnTo>
                  <a:pt x="561" y="340"/>
                </a:lnTo>
                <a:lnTo>
                  <a:pt x="563" y="360"/>
                </a:lnTo>
                <a:lnTo>
                  <a:pt x="563" y="727"/>
                </a:lnTo>
                <a:lnTo>
                  <a:pt x="561" y="748"/>
                </a:lnTo>
                <a:lnTo>
                  <a:pt x="553" y="766"/>
                </a:lnTo>
                <a:lnTo>
                  <a:pt x="541" y="780"/>
                </a:lnTo>
                <a:lnTo>
                  <a:pt x="527" y="793"/>
                </a:lnTo>
                <a:lnTo>
                  <a:pt x="508" y="801"/>
                </a:lnTo>
                <a:lnTo>
                  <a:pt x="488" y="803"/>
                </a:lnTo>
                <a:lnTo>
                  <a:pt x="468" y="801"/>
                </a:lnTo>
                <a:lnTo>
                  <a:pt x="450" y="793"/>
                </a:lnTo>
                <a:lnTo>
                  <a:pt x="436" y="780"/>
                </a:lnTo>
                <a:lnTo>
                  <a:pt x="423" y="766"/>
                </a:lnTo>
                <a:lnTo>
                  <a:pt x="416" y="748"/>
                </a:lnTo>
                <a:lnTo>
                  <a:pt x="414" y="727"/>
                </a:lnTo>
                <a:lnTo>
                  <a:pt x="414" y="360"/>
                </a:lnTo>
                <a:lnTo>
                  <a:pt x="416" y="340"/>
                </a:lnTo>
                <a:lnTo>
                  <a:pt x="423" y="322"/>
                </a:lnTo>
                <a:lnTo>
                  <a:pt x="436" y="307"/>
                </a:lnTo>
                <a:lnTo>
                  <a:pt x="450" y="295"/>
                </a:lnTo>
                <a:lnTo>
                  <a:pt x="468" y="287"/>
                </a:lnTo>
                <a:lnTo>
                  <a:pt x="488" y="285"/>
                </a:lnTo>
                <a:close/>
                <a:moveTo>
                  <a:pt x="2555" y="0"/>
                </a:moveTo>
                <a:lnTo>
                  <a:pt x="2575" y="2"/>
                </a:lnTo>
                <a:lnTo>
                  <a:pt x="2593" y="10"/>
                </a:lnTo>
                <a:lnTo>
                  <a:pt x="2608" y="22"/>
                </a:lnTo>
                <a:lnTo>
                  <a:pt x="2619" y="37"/>
                </a:lnTo>
                <a:lnTo>
                  <a:pt x="2628" y="55"/>
                </a:lnTo>
                <a:lnTo>
                  <a:pt x="2630" y="75"/>
                </a:lnTo>
                <a:lnTo>
                  <a:pt x="2630" y="879"/>
                </a:lnTo>
                <a:lnTo>
                  <a:pt x="2628" y="899"/>
                </a:lnTo>
                <a:lnTo>
                  <a:pt x="2619" y="917"/>
                </a:lnTo>
                <a:lnTo>
                  <a:pt x="2608" y="931"/>
                </a:lnTo>
                <a:lnTo>
                  <a:pt x="2593" y="944"/>
                </a:lnTo>
                <a:lnTo>
                  <a:pt x="2575" y="951"/>
                </a:lnTo>
                <a:lnTo>
                  <a:pt x="2555" y="953"/>
                </a:lnTo>
                <a:lnTo>
                  <a:pt x="2535" y="951"/>
                </a:lnTo>
                <a:lnTo>
                  <a:pt x="2517" y="944"/>
                </a:lnTo>
                <a:lnTo>
                  <a:pt x="2502" y="931"/>
                </a:lnTo>
                <a:lnTo>
                  <a:pt x="2490" y="917"/>
                </a:lnTo>
                <a:lnTo>
                  <a:pt x="2483" y="899"/>
                </a:lnTo>
                <a:lnTo>
                  <a:pt x="2480" y="879"/>
                </a:lnTo>
                <a:lnTo>
                  <a:pt x="2480" y="75"/>
                </a:lnTo>
                <a:lnTo>
                  <a:pt x="2483" y="55"/>
                </a:lnTo>
                <a:lnTo>
                  <a:pt x="2490" y="37"/>
                </a:lnTo>
                <a:lnTo>
                  <a:pt x="2502" y="22"/>
                </a:lnTo>
                <a:lnTo>
                  <a:pt x="2517" y="10"/>
                </a:lnTo>
                <a:lnTo>
                  <a:pt x="2535" y="2"/>
                </a:lnTo>
                <a:lnTo>
                  <a:pt x="2555" y="0"/>
                </a:lnTo>
                <a:close/>
                <a:moveTo>
                  <a:pt x="902" y="0"/>
                </a:moveTo>
                <a:lnTo>
                  <a:pt x="922" y="2"/>
                </a:lnTo>
                <a:lnTo>
                  <a:pt x="939" y="10"/>
                </a:lnTo>
                <a:lnTo>
                  <a:pt x="955" y="22"/>
                </a:lnTo>
                <a:lnTo>
                  <a:pt x="967" y="37"/>
                </a:lnTo>
                <a:lnTo>
                  <a:pt x="974" y="55"/>
                </a:lnTo>
                <a:lnTo>
                  <a:pt x="977" y="75"/>
                </a:lnTo>
                <a:lnTo>
                  <a:pt x="977" y="879"/>
                </a:lnTo>
                <a:lnTo>
                  <a:pt x="974" y="899"/>
                </a:lnTo>
                <a:lnTo>
                  <a:pt x="967" y="917"/>
                </a:lnTo>
                <a:lnTo>
                  <a:pt x="955" y="931"/>
                </a:lnTo>
                <a:lnTo>
                  <a:pt x="939" y="944"/>
                </a:lnTo>
                <a:lnTo>
                  <a:pt x="922" y="951"/>
                </a:lnTo>
                <a:lnTo>
                  <a:pt x="902" y="953"/>
                </a:lnTo>
                <a:lnTo>
                  <a:pt x="882" y="951"/>
                </a:lnTo>
                <a:lnTo>
                  <a:pt x="864" y="944"/>
                </a:lnTo>
                <a:lnTo>
                  <a:pt x="848" y="931"/>
                </a:lnTo>
                <a:lnTo>
                  <a:pt x="837" y="917"/>
                </a:lnTo>
                <a:lnTo>
                  <a:pt x="829" y="899"/>
                </a:lnTo>
                <a:lnTo>
                  <a:pt x="826" y="879"/>
                </a:lnTo>
                <a:lnTo>
                  <a:pt x="826" y="75"/>
                </a:lnTo>
                <a:lnTo>
                  <a:pt x="829" y="55"/>
                </a:lnTo>
                <a:lnTo>
                  <a:pt x="837" y="37"/>
                </a:lnTo>
                <a:lnTo>
                  <a:pt x="848" y="22"/>
                </a:lnTo>
                <a:lnTo>
                  <a:pt x="864" y="10"/>
                </a:lnTo>
                <a:lnTo>
                  <a:pt x="882" y="2"/>
                </a:lnTo>
                <a:lnTo>
                  <a:pt x="902" y="0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spcFirstLastPara="1" wrap="square" lIns="121900" tIns="60933" rIns="121900" bIns="60933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2400" b="0" i="0" u="none" strike="noStrike" cap="none">
              <a:solidFill>
                <a:schemeClr val="tx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776DA0AD-DA96-FC43-A82B-1CA9FEE1660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83169" y="2101667"/>
            <a:ext cx="4545763" cy="1407584"/>
          </a:xfrm>
          <a:prstGeom prst="rect">
            <a:avLst/>
          </a:prstGeom>
        </p:spPr>
        <p:txBody>
          <a:bodyPr/>
          <a:lstStyle>
            <a:lvl1pPr>
              <a:defRPr sz="4800" b="0" i="0">
                <a:solidFill>
                  <a:schemeClr val="tx1"/>
                </a:solidFill>
                <a:latin typeface="+mj-lt"/>
                <a:cs typeface="CiscoSansTT ExtraLight" panose="020B0303020201020303" pitchFamily="34" charset="0"/>
              </a:defRPr>
            </a:lvl1pPr>
          </a:lstStyle>
          <a:p>
            <a:pPr lvl="0"/>
            <a:r>
              <a:rPr lang="en-GB"/>
              <a:t>Lorem ipsum </a:t>
            </a:r>
            <a:r>
              <a:rPr lang="en-GB" err="1"/>
              <a:t>dolor</a:t>
            </a:r>
            <a:r>
              <a:rPr lang="en-GB"/>
              <a:t> sit </a:t>
            </a:r>
            <a:r>
              <a:rPr lang="en-GB" err="1"/>
              <a:t>amet</a:t>
            </a:r>
            <a:endParaRPr lang="en-US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05C6B6DF-973F-4049-9F07-BA7E9C33DE6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83169" y="4391932"/>
            <a:ext cx="4545761" cy="304800"/>
          </a:xfrm>
          <a:prstGeom prst="rect">
            <a:avLst/>
          </a:prstGeom>
        </p:spPr>
        <p:txBody>
          <a:bodyPr/>
          <a:lstStyle>
            <a:lvl1pPr marR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600"/>
              <a:buFont typeface="Arial"/>
              <a:defRPr lang="en-GB" sz="1467" b="0" i="0" u="none" strike="noStrike" cap="none" dirty="0" smtClean="0">
                <a:solidFill>
                  <a:schemeClr val="tx1"/>
                </a:solidFill>
                <a:latin typeface="CiscoSansTT ExtraLight" panose="020B0303020201020303" pitchFamily="34" charset="0"/>
                <a:ea typeface="Arial"/>
                <a:cs typeface="CiscoSansTT ExtraLight" panose="020B0303020201020303" pitchFamily="34" charset="0"/>
                <a:sym typeface="Arial"/>
              </a:defRPr>
            </a:lvl1pPr>
            <a:lvl2pPr marR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600"/>
              <a:buFont typeface="Arial"/>
              <a:defRPr lang="en-GB" sz="1467" b="0" i="0" u="none" strike="noStrike" cap="none" dirty="0" smtClean="0">
                <a:solidFill>
                  <a:schemeClr val="tx1"/>
                </a:solidFill>
                <a:latin typeface="CiscoSansTT ExtraLight" panose="020B0303020201020303" pitchFamily="34" charset="0"/>
                <a:ea typeface="Arial"/>
                <a:cs typeface="CiscoSansTT ExtraLight" panose="020B0303020201020303" pitchFamily="34" charset="0"/>
                <a:sym typeface="Arial"/>
              </a:defRPr>
            </a:lvl2pPr>
            <a:lvl3pPr marR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600"/>
              <a:buFont typeface="Arial"/>
              <a:defRPr lang="en-GB" sz="1467" b="0" i="0" u="none" strike="noStrike" cap="none" dirty="0" smtClean="0">
                <a:solidFill>
                  <a:schemeClr val="tx1"/>
                </a:solidFill>
                <a:latin typeface="CiscoSansTT ExtraLight" panose="020B0303020201020303" pitchFamily="34" charset="0"/>
                <a:ea typeface="Arial"/>
                <a:cs typeface="CiscoSansTT ExtraLight" panose="020B0303020201020303" pitchFamily="34" charset="0"/>
                <a:sym typeface="Arial"/>
              </a:defRPr>
            </a:lvl3pPr>
            <a:lvl4pPr marR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600"/>
              <a:buFont typeface="Arial"/>
              <a:defRPr lang="en-GB" sz="1467" b="0" i="0" u="none" strike="noStrike" cap="none" dirty="0" smtClean="0">
                <a:solidFill>
                  <a:schemeClr val="tx1"/>
                </a:solidFill>
                <a:latin typeface="CiscoSansTT ExtraLight" panose="020B0303020201020303" pitchFamily="34" charset="0"/>
                <a:ea typeface="Arial"/>
                <a:cs typeface="CiscoSansTT ExtraLight" panose="020B0303020201020303" pitchFamily="34" charset="0"/>
                <a:sym typeface="Arial"/>
              </a:defRPr>
            </a:lvl4pPr>
            <a:lvl5pPr marR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600"/>
              <a:buFont typeface="Arial"/>
              <a:defRPr lang="en-US" sz="1467" b="0" i="0" u="none" strike="noStrike" cap="none" dirty="0">
                <a:solidFill>
                  <a:schemeClr val="tx1"/>
                </a:solidFill>
                <a:latin typeface="CiscoSansTT ExtraLight" panose="020B0303020201020303" pitchFamily="34" charset="0"/>
                <a:ea typeface="Arial"/>
                <a:cs typeface="CiscoSansTT ExtraLight" panose="020B0303020201020303" pitchFamily="34" charset="0"/>
                <a:sym typeface="Arial"/>
              </a:defRPr>
            </a:lvl5pPr>
          </a:lstStyle>
          <a:p>
            <a:pPr lvl="0"/>
            <a:r>
              <a:rPr lang="en-GB"/>
              <a:t>Insert dat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20464432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450FCF8D-71D2-A04E-8294-27F85E6FFA3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77429" y="2204126"/>
            <a:ext cx="3977216" cy="410633"/>
          </a:xfrm>
          <a:prstGeom prst="rect">
            <a:avLst/>
          </a:prstGeom>
        </p:spPr>
        <p:txBody>
          <a:bodyPr/>
          <a:lstStyle>
            <a:lvl1pPr>
              <a:defRPr sz="1600" b="0" i="0">
                <a:solidFill>
                  <a:schemeClr val="tx1"/>
                </a:solidFill>
                <a:latin typeface="+mj-lt"/>
                <a:cs typeface="CiscoSansTT ExtraLight" panose="020B0303020201020303" pitchFamily="34" charset="0"/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>
              <a:buClr>
                <a:schemeClr val="lt1"/>
              </a:buClr>
              <a:buSzPts val="2200"/>
              <a:buFont typeface="Helvetica Neue"/>
              <a:buNone/>
            </a:pPr>
            <a:endParaRPr lang="en-US" sz="1600" b="0" i="0">
              <a:solidFill>
                <a:schemeClr val="tx1"/>
              </a:solidFill>
              <a:latin typeface="CiscoSansTT ExtraLight" panose="020B0303020201020303" pitchFamily="34" charset="0"/>
              <a:cs typeface="CiscoSansTT ExtraLight" panose="020B0303020201020303" pitchFamily="34" charset="0"/>
            </a:endParaRPr>
          </a:p>
        </p:txBody>
      </p:sp>
      <p:sp>
        <p:nvSpPr>
          <p:cNvPr id="5" name="Google Shape;1031;p200">
            <a:extLst>
              <a:ext uri="{FF2B5EF4-FFF2-40B4-BE49-F238E27FC236}">
                <a16:creationId xmlns:a16="http://schemas.microsoft.com/office/drawing/2014/main" id="{96B0ADCC-6F49-014B-A2A7-CF9C7DA7E5BE}"/>
              </a:ext>
            </a:extLst>
          </p:cNvPr>
          <p:cNvSpPr/>
          <p:nvPr userDrawn="1"/>
        </p:nvSpPr>
        <p:spPr>
          <a:xfrm>
            <a:off x="6835200" y="5085833"/>
            <a:ext cx="1540800" cy="154080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pic>
        <p:nvPicPr>
          <p:cNvPr id="6" name="Picture 5" descr="A person sitting at a desk in front of a computer&#10;&#10;Description automatically generated">
            <a:extLst>
              <a:ext uri="{FF2B5EF4-FFF2-40B4-BE49-F238E27FC236}">
                <a16:creationId xmlns:a16="http://schemas.microsoft.com/office/drawing/2014/main" id="{3060F699-4D59-244D-A174-247F315A3C7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6430537" y="0"/>
            <a:ext cx="10283787" cy="6858000"/>
          </a:xfrm>
          <a:prstGeom prst="roundRect">
            <a:avLst>
              <a:gd name="adj" fmla="val 50000"/>
            </a:avLst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77218BF3-52A6-9345-92A3-879E039166BF}"/>
              </a:ext>
            </a:extLst>
          </p:cNvPr>
          <p:cNvSpPr/>
          <p:nvPr userDrawn="1"/>
        </p:nvSpPr>
        <p:spPr>
          <a:xfrm>
            <a:off x="696768" y="6348761"/>
            <a:ext cx="3392013" cy="148683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8" name="Text Placeholder 9">
            <a:extLst>
              <a:ext uri="{FF2B5EF4-FFF2-40B4-BE49-F238E27FC236}">
                <a16:creationId xmlns:a16="http://schemas.microsoft.com/office/drawing/2014/main" id="{9A95AC2F-9EAD-CC4E-865A-376F9679AA5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77429" y="2614757"/>
            <a:ext cx="4799243" cy="1407584"/>
          </a:xfrm>
          <a:prstGeom prst="rect">
            <a:avLst/>
          </a:prstGeom>
        </p:spPr>
        <p:txBody>
          <a:bodyPr/>
          <a:lstStyle>
            <a:lvl1pPr>
              <a:defRPr sz="4800" b="0" i="0">
                <a:solidFill>
                  <a:schemeClr val="tx1"/>
                </a:solidFill>
                <a:latin typeface="+mj-lt"/>
                <a:cs typeface="CiscoSansTT ExtraLight" panose="020B0303020201020303" pitchFamily="34" charset="0"/>
              </a:defRPr>
            </a:lvl1pPr>
          </a:lstStyle>
          <a:p>
            <a:pPr lvl="0"/>
            <a:r>
              <a:rPr lang="en-GB"/>
              <a:t>Click to add tit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038393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769;p184">
            <a:extLst>
              <a:ext uri="{FF2B5EF4-FFF2-40B4-BE49-F238E27FC236}">
                <a16:creationId xmlns:a16="http://schemas.microsoft.com/office/drawing/2014/main" id="{BD158146-A831-3249-BE9A-CFF6AC341850}"/>
              </a:ext>
            </a:extLst>
          </p:cNvPr>
          <p:cNvSpPr/>
          <p:nvPr userDrawn="1"/>
        </p:nvSpPr>
        <p:spPr>
          <a:xfrm>
            <a:off x="10925420" y="-518868"/>
            <a:ext cx="1573600" cy="1573600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grpSp>
        <p:nvGrpSpPr>
          <p:cNvPr id="4" name="Google Shape;771;p184">
            <a:extLst>
              <a:ext uri="{FF2B5EF4-FFF2-40B4-BE49-F238E27FC236}">
                <a16:creationId xmlns:a16="http://schemas.microsoft.com/office/drawing/2014/main" id="{FD7B65A8-F16C-A045-AE90-8237F0693E8E}"/>
              </a:ext>
            </a:extLst>
          </p:cNvPr>
          <p:cNvGrpSpPr/>
          <p:nvPr userDrawn="1"/>
        </p:nvGrpSpPr>
        <p:grpSpPr>
          <a:xfrm>
            <a:off x="5430649" y="3974552"/>
            <a:ext cx="410000" cy="409600"/>
            <a:chOff x="3968745" y="2582034"/>
            <a:chExt cx="307500" cy="307200"/>
          </a:xfrm>
        </p:grpSpPr>
        <p:sp>
          <p:nvSpPr>
            <p:cNvPr id="5" name="Google Shape;772;p184">
              <a:extLst>
                <a:ext uri="{FF2B5EF4-FFF2-40B4-BE49-F238E27FC236}">
                  <a16:creationId xmlns:a16="http://schemas.microsoft.com/office/drawing/2014/main" id="{2CFA6DAF-6ABA-7543-8F70-603EBEE329C2}"/>
                </a:ext>
              </a:extLst>
            </p:cNvPr>
            <p:cNvSpPr/>
            <p:nvPr/>
          </p:nvSpPr>
          <p:spPr>
            <a:xfrm>
              <a:off x="3968745" y="2582034"/>
              <a:ext cx="307500" cy="307200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txBody>
            <a:bodyPr spcFirstLastPara="1" wrap="square" lIns="68575" tIns="68575" rIns="68575" bIns="68575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100"/>
                <a:buFont typeface="Arial"/>
                <a:buNone/>
              </a:pPr>
              <a:endParaRPr sz="14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6" name="Google Shape;773;p184">
              <a:extLst>
                <a:ext uri="{FF2B5EF4-FFF2-40B4-BE49-F238E27FC236}">
                  <a16:creationId xmlns:a16="http://schemas.microsoft.com/office/drawing/2014/main" id="{C4F4433B-1C5D-A44B-A150-11BA540D7541}"/>
                </a:ext>
              </a:extLst>
            </p:cNvPr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4074320" y="2665837"/>
              <a:ext cx="94651" cy="140498"/>
            </a:xfrm>
            <a:prstGeom prst="rect">
              <a:avLst/>
            </a:prstGeom>
            <a:noFill/>
            <a:ln>
              <a:noFill/>
            </a:ln>
          </p:spPr>
        </p:pic>
      </p:grpSp>
      <p:grpSp>
        <p:nvGrpSpPr>
          <p:cNvPr id="8" name="Google Shape;776;p184">
            <a:extLst>
              <a:ext uri="{FF2B5EF4-FFF2-40B4-BE49-F238E27FC236}">
                <a16:creationId xmlns:a16="http://schemas.microsoft.com/office/drawing/2014/main" id="{E7F66C74-64D4-A843-B2EC-8DCF99254D49}"/>
              </a:ext>
            </a:extLst>
          </p:cNvPr>
          <p:cNvGrpSpPr/>
          <p:nvPr userDrawn="1"/>
        </p:nvGrpSpPr>
        <p:grpSpPr>
          <a:xfrm>
            <a:off x="5420649" y="2411540"/>
            <a:ext cx="430000" cy="429600"/>
            <a:chOff x="3961000" y="1271150"/>
            <a:chExt cx="322500" cy="322200"/>
          </a:xfrm>
        </p:grpSpPr>
        <p:sp>
          <p:nvSpPr>
            <p:cNvPr id="9" name="Google Shape;777;p184">
              <a:extLst>
                <a:ext uri="{FF2B5EF4-FFF2-40B4-BE49-F238E27FC236}">
                  <a16:creationId xmlns:a16="http://schemas.microsoft.com/office/drawing/2014/main" id="{8B199DCE-6B3C-9343-975E-76D5971F8A5D}"/>
                </a:ext>
              </a:extLst>
            </p:cNvPr>
            <p:cNvSpPr/>
            <p:nvPr/>
          </p:nvSpPr>
          <p:spPr>
            <a:xfrm>
              <a:off x="3961000" y="1271150"/>
              <a:ext cx="322500" cy="322200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10" name="Google Shape;778;p184">
              <a:extLst>
                <a:ext uri="{FF2B5EF4-FFF2-40B4-BE49-F238E27FC236}">
                  <a16:creationId xmlns:a16="http://schemas.microsoft.com/office/drawing/2014/main" id="{AC9F1BE8-A9E8-384F-82EB-682AEC378A6C}"/>
                </a:ext>
              </a:extLst>
            </p:cNvPr>
            <p:cNvPicPr preferRelativeResize="0"/>
            <p:nvPr/>
          </p:nvPicPr>
          <p:blipFill rotWithShape="1">
            <a:blip r:embed="rId3" cstate="email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4083610" y="1360213"/>
              <a:ext cx="81380" cy="135642"/>
            </a:xfrm>
            <a:prstGeom prst="rect">
              <a:avLst/>
            </a:prstGeom>
            <a:noFill/>
            <a:ln>
              <a:noFill/>
            </a:ln>
          </p:spPr>
        </p:pic>
      </p:grpSp>
      <p:grpSp>
        <p:nvGrpSpPr>
          <p:cNvPr id="11" name="Google Shape;780;p184">
            <a:extLst>
              <a:ext uri="{FF2B5EF4-FFF2-40B4-BE49-F238E27FC236}">
                <a16:creationId xmlns:a16="http://schemas.microsoft.com/office/drawing/2014/main" id="{6877B2FF-DDD8-984A-BF2A-860E46AD2A7A}"/>
              </a:ext>
            </a:extLst>
          </p:cNvPr>
          <p:cNvGrpSpPr/>
          <p:nvPr userDrawn="1"/>
        </p:nvGrpSpPr>
        <p:grpSpPr>
          <a:xfrm>
            <a:off x="5424849" y="3191080"/>
            <a:ext cx="421600" cy="421200"/>
            <a:chOff x="3964274" y="1994430"/>
            <a:chExt cx="316200" cy="315900"/>
          </a:xfrm>
        </p:grpSpPr>
        <p:sp>
          <p:nvSpPr>
            <p:cNvPr id="12" name="Google Shape;781;p184">
              <a:extLst>
                <a:ext uri="{FF2B5EF4-FFF2-40B4-BE49-F238E27FC236}">
                  <a16:creationId xmlns:a16="http://schemas.microsoft.com/office/drawing/2014/main" id="{DE37B9F6-3622-3749-A2A5-69EDEE95CEFC}"/>
                </a:ext>
              </a:extLst>
            </p:cNvPr>
            <p:cNvSpPr/>
            <p:nvPr/>
          </p:nvSpPr>
          <p:spPr>
            <a:xfrm>
              <a:off x="3964274" y="1994430"/>
              <a:ext cx="316200" cy="315900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13" name="Google Shape;782;p184">
              <a:extLst>
                <a:ext uri="{FF2B5EF4-FFF2-40B4-BE49-F238E27FC236}">
                  <a16:creationId xmlns:a16="http://schemas.microsoft.com/office/drawing/2014/main" id="{35DDBAE9-ACBC-1746-8383-F1A2F51F1463}"/>
                </a:ext>
              </a:extLst>
            </p:cNvPr>
            <p:cNvPicPr preferRelativeResize="0"/>
            <p:nvPr/>
          </p:nvPicPr>
          <p:blipFill rotWithShape="1">
            <a:blip r:embed="rId4" cstate="email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4080413" y="2093157"/>
              <a:ext cx="79802" cy="125688"/>
            </a:xfrm>
            <a:prstGeom prst="rect">
              <a:avLst/>
            </a:prstGeom>
            <a:noFill/>
            <a:ln>
              <a:noFill/>
            </a:ln>
          </p:spPr>
        </p:pic>
      </p:grpSp>
      <p:grpSp>
        <p:nvGrpSpPr>
          <p:cNvPr id="14" name="Google Shape;785;p184">
            <a:extLst>
              <a:ext uri="{FF2B5EF4-FFF2-40B4-BE49-F238E27FC236}">
                <a16:creationId xmlns:a16="http://schemas.microsoft.com/office/drawing/2014/main" id="{21103997-A9D4-FB48-8C19-60BEC56605D9}"/>
              </a:ext>
            </a:extLst>
          </p:cNvPr>
          <p:cNvGrpSpPr/>
          <p:nvPr userDrawn="1"/>
        </p:nvGrpSpPr>
        <p:grpSpPr>
          <a:xfrm>
            <a:off x="5432049" y="4746660"/>
            <a:ext cx="407200" cy="406800"/>
            <a:chOff x="3970041" y="3161115"/>
            <a:chExt cx="305400" cy="305100"/>
          </a:xfrm>
        </p:grpSpPr>
        <p:sp>
          <p:nvSpPr>
            <p:cNvPr id="15" name="Google Shape;786;p184">
              <a:extLst>
                <a:ext uri="{FF2B5EF4-FFF2-40B4-BE49-F238E27FC236}">
                  <a16:creationId xmlns:a16="http://schemas.microsoft.com/office/drawing/2014/main" id="{4336F039-A6FA-CE4E-9201-8611711A4561}"/>
                </a:ext>
              </a:extLst>
            </p:cNvPr>
            <p:cNvSpPr/>
            <p:nvPr/>
          </p:nvSpPr>
          <p:spPr>
            <a:xfrm>
              <a:off x="3970041" y="3161115"/>
              <a:ext cx="305400" cy="305100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16" name="Google Shape;787;p184">
              <a:extLst>
                <a:ext uri="{FF2B5EF4-FFF2-40B4-BE49-F238E27FC236}">
                  <a16:creationId xmlns:a16="http://schemas.microsoft.com/office/drawing/2014/main" id="{477FE869-74E3-C648-9F72-ECD88145870A}"/>
                </a:ext>
              </a:extLst>
            </p:cNvPr>
            <p:cNvPicPr preferRelativeResize="0"/>
            <p:nvPr/>
          </p:nvPicPr>
          <p:blipFill rotWithShape="1">
            <a:blip r:embed="rId5" cstate="email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4073120" y="3249384"/>
              <a:ext cx="99041" cy="128424"/>
            </a:xfrm>
            <a:prstGeom prst="rect">
              <a:avLst/>
            </a:prstGeom>
            <a:noFill/>
            <a:ln>
              <a:noFill/>
            </a:ln>
          </p:spPr>
        </p:pic>
      </p:grpSp>
      <p:grpSp>
        <p:nvGrpSpPr>
          <p:cNvPr id="17" name="Google Shape;789;p184">
            <a:extLst>
              <a:ext uri="{FF2B5EF4-FFF2-40B4-BE49-F238E27FC236}">
                <a16:creationId xmlns:a16="http://schemas.microsoft.com/office/drawing/2014/main" id="{50FDB43E-E152-414A-86AE-CC0A16C3117B}"/>
              </a:ext>
            </a:extLst>
          </p:cNvPr>
          <p:cNvGrpSpPr/>
          <p:nvPr userDrawn="1"/>
        </p:nvGrpSpPr>
        <p:grpSpPr>
          <a:xfrm>
            <a:off x="5424849" y="5515480"/>
            <a:ext cx="421600" cy="421200"/>
            <a:chOff x="3964569" y="3737730"/>
            <a:chExt cx="316200" cy="315900"/>
          </a:xfrm>
        </p:grpSpPr>
        <p:sp>
          <p:nvSpPr>
            <p:cNvPr id="18" name="Google Shape;790;p184">
              <a:extLst>
                <a:ext uri="{FF2B5EF4-FFF2-40B4-BE49-F238E27FC236}">
                  <a16:creationId xmlns:a16="http://schemas.microsoft.com/office/drawing/2014/main" id="{1A0A8618-C045-1346-94F3-B2405DA4D4E9}"/>
                </a:ext>
              </a:extLst>
            </p:cNvPr>
            <p:cNvSpPr/>
            <p:nvPr/>
          </p:nvSpPr>
          <p:spPr>
            <a:xfrm>
              <a:off x="3964569" y="3737730"/>
              <a:ext cx="316200" cy="315900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pic>
          <p:nvPicPr>
            <p:cNvPr id="19" name="Google Shape;791;p184">
              <a:extLst>
                <a:ext uri="{FF2B5EF4-FFF2-40B4-BE49-F238E27FC236}">
                  <a16:creationId xmlns:a16="http://schemas.microsoft.com/office/drawing/2014/main" id="{442F5ABF-8F93-B240-AC9C-CC80093C4B67}"/>
                </a:ext>
              </a:extLst>
            </p:cNvPr>
            <p:cNvPicPr preferRelativeResize="0"/>
            <p:nvPr/>
          </p:nvPicPr>
          <p:blipFill rotWithShape="1">
            <a:blip r:embed="rId6" cstate="email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4078799" y="3829673"/>
              <a:ext cx="91953" cy="13303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20" name="Google Shape;775;p184">
            <a:extLst>
              <a:ext uri="{FF2B5EF4-FFF2-40B4-BE49-F238E27FC236}">
                <a16:creationId xmlns:a16="http://schemas.microsoft.com/office/drawing/2014/main" id="{1F96B0EF-5BA5-BC40-B6CA-0097F15501B5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186316" y="2437540"/>
            <a:ext cx="3864400" cy="37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>
              <a:defRPr sz="2133" b="0" i="0">
                <a:solidFill>
                  <a:schemeClr val="tx1"/>
                </a:solidFill>
                <a:latin typeface="+mn-lt"/>
                <a:cs typeface="CiscoSansTT ExtraLight" panose="020B0303020201020303" pitchFamily="34" charset="0"/>
              </a:defRPr>
            </a:lvl1pPr>
          </a:lstStyle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800"/>
              <a:buNone/>
            </a:pPr>
            <a:endParaRPr sz="2133">
              <a:solidFill>
                <a:schemeClr val="tx1"/>
              </a:solidFill>
              <a:latin typeface="CiscoSansTT ExtraLight" panose="020B0303020201020303" pitchFamily="34" charset="0"/>
              <a:ea typeface="Helvetica Neue Light"/>
              <a:cs typeface="CiscoSansTT ExtraLight" panose="020B0303020201020303" pitchFamily="34" charset="0"/>
              <a:sym typeface="Helvetica Neue Light"/>
            </a:endParaRPr>
          </a:p>
        </p:txBody>
      </p:sp>
      <p:sp>
        <p:nvSpPr>
          <p:cNvPr id="21" name="Google Shape;779;p184">
            <a:extLst>
              <a:ext uri="{FF2B5EF4-FFF2-40B4-BE49-F238E27FC236}">
                <a16:creationId xmlns:a16="http://schemas.microsoft.com/office/drawing/2014/main" id="{2FAC391D-7651-9E42-AD70-5EC4CC6B6045}"/>
              </a:ext>
            </a:extLst>
          </p:cNvPr>
          <p:cNvSpPr txBox="1">
            <a:spLocks noGrp="1"/>
          </p:cNvSpPr>
          <p:nvPr>
            <p:ph type="body" idx="2"/>
          </p:nvPr>
        </p:nvSpPr>
        <p:spPr>
          <a:xfrm>
            <a:off x="6186316" y="3212879"/>
            <a:ext cx="3864400" cy="37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>
              <a:defRPr sz="2133" b="0" i="0">
                <a:solidFill>
                  <a:schemeClr val="tx1"/>
                </a:solidFill>
                <a:latin typeface="+mn-lt"/>
                <a:cs typeface="CiscoSansTT ExtraLight" panose="020B0303020201020303" pitchFamily="34" charset="0"/>
              </a:defRPr>
            </a:lvl1pPr>
          </a:lstStyle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800"/>
              <a:buNone/>
            </a:pPr>
            <a:endParaRPr sz="2133">
              <a:solidFill>
                <a:schemeClr val="tx1"/>
              </a:solidFill>
              <a:latin typeface="CiscoSansTT ExtraLight" panose="020B0303020201020303" pitchFamily="34" charset="0"/>
              <a:ea typeface="Helvetica Neue Light"/>
              <a:cs typeface="CiscoSansTT ExtraLight" panose="020B0303020201020303" pitchFamily="34" charset="0"/>
              <a:sym typeface="Helvetica Neue Light"/>
            </a:endParaRPr>
          </a:p>
        </p:txBody>
      </p:sp>
      <p:sp>
        <p:nvSpPr>
          <p:cNvPr id="22" name="Google Shape;783;p184">
            <a:extLst>
              <a:ext uri="{FF2B5EF4-FFF2-40B4-BE49-F238E27FC236}">
                <a16:creationId xmlns:a16="http://schemas.microsoft.com/office/drawing/2014/main" id="{CDD9A77B-7D9C-E74D-80C6-8F466DAA4D24}"/>
              </a:ext>
            </a:extLst>
          </p:cNvPr>
          <p:cNvSpPr txBox="1">
            <a:spLocks noGrp="1"/>
          </p:cNvSpPr>
          <p:nvPr>
            <p:ph type="body" idx="3"/>
          </p:nvPr>
        </p:nvSpPr>
        <p:spPr>
          <a:xfrm>
            <a:off x="6186316" y="3990549"/>
            <a:ext cx="3864400" cy="37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>
              <a:defRPr sz="2133" b="0" i="0">
                <a:solidFill>
                  <a:schemeClr val="tx1"/>
                </a:solidFill>
                <a:latin typeface="+mn-lt"/>
                <a:cs typeface="CiscoSansTT ExtraLight" panose="020B0303020201020303" pitchFamily="34" charset="0"/>
              </a:defRPr>
            </a:lvl1pPr>
          </a:lstStyle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800"/>
              <a:buNone/>
            </a:pPr>
            <a:endParaRPr sz="2133">
              <a:solidFill>
                <a:schemeClr val="tx1"/>
              </a:solidFill>
              <a:latin typeface="CiscoSansTT ExtraLight" panose="020B0303020201020303" pitchFamily="34" charset="0"/>
              <a:ea typeface="Helvetica Neue Light"/>
              <a:cs typeface="CiscoSansTT ExtraLight" panose="020B0303020201020303" pitchFamily="34" charset="0"/>
              <a:sym typeface="Helvetica Neue Light"/>
            </a:endParaRPr>
          </a:p>
        </p:txBody>
      </p:sp>
      <p:sp>
        <p:nvSpPr>
          <p:cNvPr id="23" name="Google Shape;784;p184">
            <a:extLst>
              <a:ext uri="{FF2B5EF4-FFF2-40B4-BE49-F238E27FC236}">
                <a16:creationId xmlns:a16="http://schemas.microsoft.com/office/drawing/2014/main" id="{B052B460-E61C-054F-AF5D-07E563AA7526}"/>
              </a:ext>
            </a:extLst>
          </p:cNvPr>
          <p:cNvSpPr txBox="1">
            <a:spLocks noGrp="1"/>
          </p:cNvSpPr>
          <p:nvPr>
            <p:ph type="body" idx="4"/>
          </p:nvPr>
        </p:nvSpPr>
        <p:spPr>
          <a:xfrm>
            <a:off x="6186316" y="4761256"/>
            <a:ext cx="3864400" cy="37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>
              <a:defRPr sz="2133" b="0" i="0">
                <a:solidFill>
                  <a:schemeClr val="tx1"/>
                </a:solidFill>
                <a:latin typeface="+mn-lt"/>
                <a:cs typeface="CiscoSansTT ExtraLight" panose="020B0303020201020303" pitchFamily="34" charset="0"/>
              </a:defRPr>
            </a:lvl1pPr>
          </a:lstStyle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800"/>
              <a:buNone/>
            </a:pPr>
            <a:endParaRPr sz="2133">
              <a:solidFill>
                <a:schemeClr val="tx1"/>
              </a:solidFill>
              <a:latin typeface="CiscoSansTT ExtraLight" panose="020B0303020201020303" pitchFamily="34" charset="0"/>
              <a:ea typeface="Helvetica Neue Light"/>
              <a:cs typeface="CiscoSansTT ExtraLight" panose="020B0303020201020303" pitchFamily="34" charset="0"/>
              <a:sym typeface="Helvetica Neue Light"/>
            </a:endParaRPr>
          </a:p>
        </p:txBody>
      </p:sp>
      <p:sp>
        <p:nvSpPr>
          <p:cNvPr id="26" name="Google Shape;784;p184">
            <a:extLst>
              <a:ext uri="{FF2B5EF4-FFF2-40B4-BE49-F238E27FC236}">
                <a16:creationId xmlns:a16="http://schemas.microsoft.com/office/drawing/2014/main" id="{B4C8CF3B-7A8D-9540-8152-EE4B85686AD8}"/>
              </a:ext>
            </a:extLst>
          </p:cNvPr>
          <p:cNvSpPr txBox="1">
            <a:spLocks noGrp="1"/>
          </p:cNvSpPr>
          <p:nvPr>
            <p:ph type="body" idx="10"/>
          </p:nvPr>
        </p:nvSpPr>
        <p:spPr>
          <a:xfrm>
            <a:off x="6186316" y="5541841"/>
            <a:ext cx="3864400" cy="37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>
              <a:defRPr sz="2133" b="0" i="0">
                <a:solidFill>
                  <a:schemeClr val="tx1"/>
                </a:solidFill>
                <a:latin typeface="+mn-lt"/>
                <a:cs typeface="CiscoSansTT ExtraLight" panose="020B0303020201020303" pitchFamily="34" charset="0"/>
              </a:defRPr>
            </a:lvl1pPr>
          </a:lstStyle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800"/>
              <a:buNone/>
            </a:pPr>
            <a:endParaRPr sz="2133">
              <a:solidFill>
                <a:schemeClr val="tx1"/>
              </a:solidFill>
              <a:latin typeface="CiscoSansTT ExtraLight" panose="020B0303020201020303" pitchFamily="34" charset="0"/>
              <a:ea typeface="Helvetica Neue Light"/>
              <a:cs typeface="CiscoSansTT ExtraLight" panose="020B0303020201020303" pitchFamily="34" charset="0"/>
              <a:sym typeface="Helvetica Neue Light"/>
            </a:endParaRPr>
          </a:p>
        </p:txBody>
      </p:sp>
      <p:sp>
        <p:nvSpPr>
          <p:cNvPr id="25" name="Text Placeholder 9">
            <a:extLst>
              <a:ext uri="{FF2B5EF4-FFF2-40B4-BE49-F238E27FC236}">
                <a16:creationId xmlns:a16="http://schemas.microsoft.com/office/drawing/2014/main" id="{DC2B1723-EA06-A14F-B25F-22730EA192F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17053" y="1408529"/>
            <a:ext cx="4015907" cy="1407584"/>
          </a:xfrm>
          <a:prstGeom prst="rect">
            <a:avLst/>
          </a:prstGeom>
        </p:spPr>
        <p:txBody>
          <a:bodyPr/>
          <a:lstStyle>
            <a:lvl1pPr>
              <a:defRPr sz="4800" b="0" i="0">
                <a:solidFill>
                  <a:schemeClr val="tx1"/>
                </a:solidFill>
                <a:latin typeface="+mj-lt"/>
                <a:cs typeface="CiscoSansTT ExtraLight" panose="020B0303020201020303" pitchFamily="34" charset="0"/>
              </a:defRPr>
            </a:lvl1pPr>
          </a:lstStyle>
          <a:p>
            <a:pPr lvl="0"/>
            <a:r>
              <a:rPr lang="en-GB"/>
              <a:t>Click to add tit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33801922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itle Slide 2 1" preserve="1" userDrawn="1">
  <p:cSld name="Title Slide 2 1">
    <p:bg>
      <p:bgPr>
        <a:solidFill>
          <a:schemeClr val="lt2"/>
        </a:solidFill>
        <a:effectLst/>
      </p:bgPr>
    </p:bg>
    <p:spTree>
      <p:nvGrpSpPr>
        <p:cNvPr id="1" name="Shape 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CC3EC0A9-F590-1A47-A0CB-4F91B56F11C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84200" y="4391934"/>
            <a:ext cx="5691717" cy="305975"/>
          </a:xfrm>
          <a:prstGeom prst="rect">
            <a:avLst/>
          </a:prstGeom>
        </p:spPr>
        <p:txBody>
          <a:bodyPr/>
          <a:lstStyle>
            <a:lvl1pPr>
              <a:defRPr sz="1467" b="0" i="0">
                <a:solidFill>
                  <a:schemeClr val="tx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defRPr>
            </a:lvl1pPr>
            <a:lvl2pPr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>
              <a:buClr>
                <a:schemeClr val="dk2"/>
              </a:buClr>
              <a:buSzPts val="3600"/>
            </a:pPr>
            <a:endParaRPr lang="en-US" sz="1467">
              <a:solidFill>
                <a:schemeClr val="tx1"/>
              </a:solidFill>
              <a:latin typeface="CiscoSansTT ExtraLight" panose="020B0303020201020303" pitchFamily="34" charset="0"/>
              <a:cs typeface="CiscoSansTT ExtraLight" panose="020B0303020201020303" pitchFamily="34" charset="0"/>
              <a:sym typeface="Helvetica Neue Light"/>
            </a:endParaRP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428006C4-7B11-394C-A15F-F0495B477457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75733" y="3889632"/>
            <a:ext cx="5700184" cy="524933"/>
          </a:xfrm>
          <a:prstGeom prst="rect">
            <a:avLst/>
          </a:prstGeom>
        </p:spPr>
        <p:txBody>
          <a:bodyPr/>
          <a:lstStyle>
            <a:lvl1pPr>
              <a:defRPr sz="2400" b="0" i="0">
                <a:solidFill>
                  <a:schemeClr val="tx1"/>
                </a:solidFill>
                <a:latin typeface="+mn-lt"/>
                <a:cs typeface="CiscoSansTT ExtraLight" panose="020B0303020201020303" pitchFamily="34" charset="0"/>
              </a:defRPr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>
              <a:buClr>
                <a:schemeClr val="lt1"/>
              </a:buClr>
              <a:buSzPts val="3600"/>
            </a:pPr>
            <a:endParaRPr lang="en-US" sz="2400">
              <a:solidFill>
                <a:schemeClr val="tx1"/>
              </a:solidFill>
              <a:latin typeface="CiscoSansTT ExtraLight" panose="020B0303020201020303" pitchFamily="34" charset="0"/>
              <a:cs typeface="CiscoSansTT ExtraLight" panose="020B0303020201020303" pitchFamily="34" charset="0"/>
            </a:endParaRPr>
          </a:p>
        </p:txBody>
      </p:sp>
      <p:sp>
        <p:nvSpPr>
          <p:cNvPr id="4" name="Google Shape;11;p1">
            <a:extLst>
              <a:ext uri="{FF2B5EF4-FFF2-40B4-BE49-F238E27FC236}">
                <a16:creationId xmlns:a16="http://schemas.microsoft.com/office/drawing/2014/main" id="{29D0BB05-0A66-5347-914B-FD4741B8BA7B}"/>
              </a:ext>
            </a:extLst>
          </p:cNvPr>
          <p:cNvSpPr/>
          <p:nvPr userDrawn="1"/>
        </p:nvSpPr>
        <p:spPr>
          <a:xfrm>
            <a:off x="636907" y="6324615"/>
            <a:ext cx="4534800" cy="20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82100" tIns="41033" rIns="82100" bIns="41033" anchor="b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800" b="0" i="0">
                <a:solidFill>
                  <a:srgbClr val="B9BDC2"/>
                </a:solidFill>
                <a:latin typeface="CiscoSansTT ExtraLight" panose="020B0303020201020303" pitchFamily="34" charset="0"/>
                <a:ea typeface="Helvetica Neue Light"/>
                <a:cs typeface="CiscoSansTT ExtraLight" panose="020B0303020201020303" pitchFamily="34" charset="0"/>
                <a:sym typeface="Helvetica Neue Light"/>
              </a:rPr>
              <a:t>© 2019  Cisco and/or its affiliates. All rights reserved. Cisco Confidential</a:t>
            </a:r>
            <a:endParaRPr sz="800" b="0" i="0">
              <a:solidFill>
                <a:srgbClr val="B9BDC2"/>
              </a:solidFill>
              <a:latin typeface="CiscoSansTT ExtraLight" panose="020B0303020201020303" pitchFamily="34" charset="0"/>
              <a:ea typeface="Helvetica Neue Light"/>
              <a:cs typeface="CiscoSansTT ExtraLight" panose="020B0303020201020303" pitchFamily="34" charset="0"/>
              <a:sym typeface="Helvetica Neue Light"/>
            </a:endParaRPr>
          </a:p>
        </p:txBody>
      </p:sp>
      <p:sp>
        <p:nvSpPr>
          <p:cNvPr id="8" name="Google Shape;748;p182">
            <a:extLst>
              <a:ext uri="{FF2B5EF4-FFF2-40B4-BE49-F238E27FC236}">
                <a16:creationId xmlns:a16="http://schemas.microsoft.com/office/drawing/2014/main" id="{5B9E3036-9E27-5A4C-AC6F-B52CB97BA197}"/>
              </a:ext>
            </a:extLst>
          </p:cNvPr>
          <p:cNvSpPr/>
          <p:nvPr userDrawn="1"/>
        </p:nvSpPr>
        <p:spPr>
          <a:xfrm>
            <a:off x="10076289" y="5386715"/>
            <a:ext cx="1317600" cy="131720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9" name="Google Shape;749;p182">
            <a:extLst>
              <a:ext uri="{FF2B5EF4-FFF2-40B4-BE49-F238E27FC236}">
                <a16:creationId xmlns:a16="http://schemas.microsoft.com/office/drawing/2014/main" id="{594E28E5-0D32-2A41-94F9-94000AAEF8AA}"/>
              </a:ext>
            </a:extLst>
          </p:cNvPr>
          <p:cNvSpPr/>
          <p:nvPr userDrawn="1"/>
        </p:nvSpPr>
        <p:spPr>
          <a:xfrm>
            <a:off x="7139231" y="215779"/>
            <a:ext cx="1369200" cy="1369200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pic>
        <p:nvPicPr>
          <p:cNvPr id="10" name="Google Shape;750;p182">
            <a:extLst>
              <a:ext uri="{FF2B5EF4-FFF2-40B4-BE49-F238E27FC236}">
                <a16:creationId xmlns:a16="http://schemas.microsoft.com/office/drawing/2014/main" id="{0CED36DD-E1D4-4949-BBC2-D80ECB7569C2}"/>
              </a:ext>
            </a:extLst>
          </p:cNvPr>
          <p:cNvPicPr preferRelativeResize="0"/>
          <p:nvPr userDrawn="1"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45390"/>
          <a:stretch/>
        </p:blipFill>
        <p:spPr>
          <a:xfrm>
            <a:off x="6486533" y="215785"/>
            <a:ext cx="10796000" cy="6087600"/>
          </a:xfrm>
          <a:prstGeom prst="roundRect">
            <a:avLst>
              <a:gd name="adj" fmla="val 50000"/>
            </a:avLst>
          </a:prstGeom>
          <a:noFill/>
          <a:ln>
            <a:noFill/>
          </a:ln>
        </p:spPr>
      </p:pic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4CB5E8C5-FE3B-1347-B207-C7D758217DE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84201" y="2101669"/>
            <a:ext cx="4799243" cy="1319423"/>
          </a:xfrm>
          <a:prstGeom prst="rect">
            <a:avLst/>
          </a:prstGeom>
        </p:spPr>
        <p:txBody>
          <a:bodyPr/>
          <a:lstStyle>
            <a:lvl1pPr>
              <a:defRPr sz="4800" b="0" i="0">
                <a:solidFill>
                  <a:schemeClr val="tx1"/>
                </a:solidFill>
                <a:latin typeface="+mj-lt"/>
                <a:cs typeface="CiscoSansTT ExtraLight" panose="020B0303020201020303" pitchFamily="34" charset="0"/>
              </a:defRPr>
            </a:lvl1pPr>
          </a:lstStyle>
          <a:p>
            <a:pPr lvl="0"/>
            <a:r>
              <a:rPr lang="en-GB"/>
              <a:t>Click to add tit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23749975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9475E96C-D3E5-614C-A33B-4639F654495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89032" y="2215990"/>
            <a:ext cx="3977216" cy="395817"/>
          </a:xfrm>
          <a:prstGeom prst="rect">
            <a:avLst/>
          </a:prstGeom>
        </p:spPr>
        <p:txBody>
          <a:bodyPr/>
          <a:lstStyle>
            <a:lvl1pPr>
              <a:defRPr sz="1600" b="0" i="0">
                <a:solidFill>
                  <a:schemeClr val="tx1"/>
                </a:solidFill>
                <a:latin typeface="+mj-lt"/>
                <a:cs typeface="CiscoSansTT ExtraLight" panose="020B0303020201020303" pitchFamily="34" charset="0"/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>
              <a:buClr>
                <a:srgbClr val="005073"/>
              </a:buClr>
              <a:buSzPts val="2200"/>
              <a:buFont typeface="Helvetica Neue"/>
              <a:buNone/>
            </a:pPr>
            <a:endParaRPr lang="en-US" sz="1600">
              <a:solidFill>
                <a:srgbClr val="FFFFFF"/>
              </a:solidFill>
              <a:latin typeface="CiscoSansTT ExtraLight" panose="020B0303020201020303" pitchFamily="34" charset="0"/>
              <a:cs typeface="CiscoSansTT ExtraLight" panose="020B0303020201020303" pitchFamily="34" charset="0"/>
              <a:sym typeface="Helvetica Neue Light"/>
            </a:endParaRPr>
          </a:p>
        </p:txBody>
      </p:sp>
      <p:sp>
        <p:nvSpPr>
          <p:cNvPr id="3" name="Google Shape;903;p191">
            <a:extLst>
              <a:ext uri="{FF2B5EF4-FFF2-40B4-BE49-F238E27FC236}">
                <a16:creationId xmlns:a16="http://schemas.microsoft.com/office/drawing/2014/main" id="{863D4346-86FF-F945-993E-ABBABED1B017}"/>
              </a:ext>
            </a:extLst>
          </p:cNvPr>
          <p:cNvSpPr/>
          <p:nvPr userDrawn="1"/>
        </p:nvSpPr>
        <p:spPr>
          <a:xfrm>
            <a:off x="-499767" y="-660533"/>
            <a:ext cx="1736800" cy="173680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4BBB5314-F22F-8E47-BF2F-342008A5E2D0}"/>
              </a:ext>
            </a:extLst>
          </p:cNvPr>
          <p:cNvSpPr/>
          <p:nvPr userDrawn="1"/>
        </p:nvSpPr>
        <p:spPr>
          <a:xfrm>
            <a:off x="696768" y="6348761"/>
            <a:ext cx="3392013" cy="148683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6" name="Text Placeholder 9">
            <a:extLst>
              <a:ext uri="{FF2B5EF4-FFF2-40B4-BE49-F238E27FC236}">
                <a16:creationId xmlns:a16="http://schemas.microsoft.com/office/drawing/2014/main" id="{9ECE22FA-A92C-FA45-B637-1203617C607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77432" y="2614757"/>
            <a:ext cx="4096137" cy="1407584"/>
          </a:xfrm>
          <a:prstGeom prst="rect">
            <a:avLst/>
          </a:prstGeom>
        </p:spPr>
        <p:txBody>
          <a:bodyPr/>
          <a:lstStyle>
            <a:lvl1pPr>
              <a:defRPr sz="5067" b="0" i="0">
                <a:solidFill>
                  <a:schemeClr val="tx1"/>
                </a:solidFill>
                <a:latin typeface="+mj-lt"/>
                <a:cs typeface="CiscoSansTT ExtraLight" panose="020B0303020201020303" pitchFamily="34" charset="0"/>
              </a:defRPr>
            </a:lvl1pPr>
          </a:lstStyle>
          <a:p>
            <a:pPr lvl="0"/>
            <a:r>
              <a:rPr lang="en-GB"/>
              <a:t>Click to add tit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8877499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and Content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381DB181-CB43-4242-82B5-F42830794DB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460836" y="2295911"/>
            <a:ext cx="3564467" cy="3450685"/>
          </a:xfrm>
          <a:prstGeom prst="rect">
            <a:avLst/>
          </a:prstGeom>
        </p:spPr>
        <p:txBody>
          <a:bodyPr/>
          <a:lstStyle>
            <a:lvl1pPr>
              <a:defRPr sz="1467" b="0" i="0">
                <a:solidFill>
                  <a:schemeClr val="tx1"/>
                </a:solidFill>
                <a:latin typeface="+mn-lt"/>
                <a:cs typeface="CiscoSansTT ExtraLight" panose="020B0303020201020303" pitchFamily="34" charset="0"/>
              </a:defRPr>
            </a:lvl1pPr>
            <a:lvl2pPr>
              <a:defRPr sz="1467" b="0" i="0">
                <a:solidFill>
                  <a:schemeClr val="tx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defRPr>
            </a:lvl2pPr>
            <a:lvl3pPr>
              <a:defRPr sz="1467" b="0" i="0">
                <a:solidFill>
                  <a:schemeClr val="tx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defRPr>
            </a:lvl3pPr>
            <a:lvl4pPr>
              <a:defRPr sz="1467" b="0" i="0">
                <a:solidFill>
                  <a:schemeClr val="tx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defRPr>
            </a:lvl4pPr>
            <a:lvl5pPr>
              <a:defRPr sz="1467" b="0" i="0">
                <a:solidFill>
                  <a:schemeClr val="tx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defRPr>
            </a:lvl5pPr>
          </a:lstStyle>
          <a:p>
            <a:pPr>
              <a:lnSpc>
                <a:spcPct val="115000"/>
              </a:lnSpc>
            </a:pPr>
            <a:endParaRPr lang="en-US" sz="1467">
              <a:solidFill>
                <a:schemeClr val="tx1"/>
              </a:solidFill>
              <a:latin typeface="CiscoSansTT ExtraLight" panose="020B0303020201020303" pitchFamily="34" charset="0"/>
              <a:cs typeface="CiscoSansTT ExtraLight" panose="020B0303020201020303" pitchFamily="34" charset="0"/>
              <a:sym typeface="Helvetica Neue Light"/>
            </a:endParaRPr>
          </a:p>
        </p:txBody>
      </p:sp>
      <p:sp>
        <p:nvSpPr>
          <p:cNvPr id="3" name="Google Shape;914;p192">
            <a:extLst>
              <a:ext uri="{FF2B5EF4-FFF2-40B4-BE49-F238E27FC236}">
                <a16:creationId xmlns:a16="http://schemas.microsoft.com/office/drawing/2014/main" id="{FB74EA04-F827-7D49-8F4D-3444B86EB071}"/>
              </a:ext>
            </a:extLst>
          </p:cNvPr>
          <p:cNvSpPr/>
          <p:nvPr userDrawn="1"/>
        </p:nvSpPr>
        <p:spPr>
          <a:xfrm>
            <a:off x="4695318" y="5402443"/>
            <a:ext cx="1312079" cy="1312079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57D0C00C-FE73-9147-8175-DED688F59D4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54512"/>
          <a:stretch/>
        </p:blipFill>
        <p:spPr>
          <a:xfrm>
            <a:off x="-3726950" y="0"/>
            <a:ext cx="10274156" cy="6858000"/>
          </a:xfrm>
          <a:prstGeom prst="roundRect">
            <a:avLst>
              <a:gd name="adj" fmla="val 50000"/>
            </a:avLst>
          </a:prstGeom>
        </p:spPr>
      </p:pic>
      <p:sp>
        <p:nvSpPr>
          <p:cNvPr id="6" name="Text Placeholder 9">
            <a:extLst>
              <a:ext uri="{FF2B5EF4-FFF2-40B4-BE49-F238E27FC236}">
                <a16:creationId xmlns:a16="http://schemas.microsoft.com/office/drawing/2014/main" id="{76C9813A-99D1-8246-98A5-45CF427C852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460835" y="512064"/>
            <a:ext cx="3564468" cy="1580813"/>
          </a:xfrm>
          <a:prstGeom prst="rect">
            <a:avLst/>
          </a:prstGeom>
        </p:spPr>
        <p:txBody>
          <a:bodyPr/>
          <a:lstStyle>
            <a:lvl1pPr>
              <a:defRPr sz="4000" b="0" i="0">
                <a:solidFill>
                  <a:schemeClr val="tx1"/>
                </a:solidFill>
                <a:latin typeface="+mj-lt"/>
                <a:cs typeface="CiscoSansTT ExtraLight" panose="020B0303020201020303" pitchFamily="34" charset="0"/>
              </a:defRPr>
            </a:lvl1pPr>
          </a:lstStyle>
          <a:p>
            <a:pPr lvl="0"/>
            <a:r>
              <a:rPr lang="en-GB"/>
              <a:t>Click to add tit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5716496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int 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C197C6C4-1E88-FF4D-A6EB-4648CAAEB1C7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075085" y="1264883"/>
            <a:ext cx="2766483" cy="675216"/>
          </a:xfrm>
          <a:prstGeom prst="rect">
            <a:avLst/>
          </a:prstGeom>
        </p:spPr>
        <p:txBody>
          <a:bodyPr/>
          <a:lstStyle>
            <a:lvl1pPr marL="0" marR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67" b="0" i="0">
                <a:solidFill>
                  <a:schemeClr val="tx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defRPr>
            </a:lvl1pPr>
            <a:lvl2pPr>
              <a:defRPr sz="1867"/>
            </a:lvl2pPr>
            <a:lvl3pPr>
              <a:defRPr sz="1867"/>
            </a:lvl3pPr>
            <a:lvl4pPr>
              <a:defRPr sz="1867"/>
            </a:lvl4pPr>
            <a:lvl5pPr>
              <a:defRPr sz="1867"/>
            </a:lvl5pPr>
          </a:lstStyle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lang="en-US" u="none" strike="noStrike" cap="none">
              <a:solidFill>
                <a:schemeClr val="tx1"/>
              </a:solidFill>
              <a:latin typeface="CiscoSansTT ExtraLight" panose="020B0303020201020303" pitchFamily="34" charset="0"/>
              <a:ea typeface="Helvetica Neue Light"/>
              <a:cs typeface="CiscoSansTT ExtraLight" panose="020B0303020201020303" pitchFamily="34" charset="0"/>
              <a:sym typeface="Helvetica Neue Light"/>
            </a:endParaRPr>
          </a:p>
        </p:txBody>
      </p:sp>
      <p:pic>
        <p:nvPicPr>
          <p:cNvPr id="3" name="Google Shape;1110;p206">
            <a:extLst>
              <a:ext uri="{FF2B5EF4-FFF2-40B4-BE49-F238E27FC236}">
                <a16:creationId xmlns:a16="http://schemas.microsoft.com/office/drawing/2014/main" id="{DEA56990-42C5-6249-969A-6D90AF75FF10}"/>
              </a:ext>
            </a:extLst>
          </p:cNvPr>
          <p:cNvPicPr preferRelativeResize="0"/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22169"/>
          <a:stretch/>
        </p:blipFill>
        <p:spPr>
          <a:xfrm>
            <a:off x="711200" y="-1558100"/>
            <a:ext cx="2421200" cy="5368000"/>
          </a:xfrm>
          <a:prstGeom prst="roundRect">
            <a:avLst>
              <a:gd name="adj" fmla="val 50000"/>
            </a:avLst>
          </a:prstGeom>
          <a:noFill/>
          <a:ln>
            <a:noFill/>
          </a:ln>
        </p:spPr>
      </p:pic>
      <p:sp>
        <p:nvSpPr>
          <p:cNvPr id="4" name="Google Shape;1105;p206">
            <a:extLst>
              <a:ext uri="{FF2B5EF4-FFF2-40B4-BE49-F238E27FC236}">
                <a16:creationId xmlns:a16="http://schemas.microsoft.com/office/drawing/2014/main" id="{A306A90D-FB8F-1647-A074-A576A886F114}"/>
              </a:ext>
            </a:extLst>
          </p:cNvPr>
          <p:cNvSpPr/>
          <p:nvPr userDrawn="1"/>
        </p:nvSpPr>
        <p:spPr>
          <a:xfrm>
            <a:off x="6393167" y="893967"/>
            <a:ext cx="1322400" cy="6938400"/>
          </a:xfrm>
          <a:prstGeom prst="roundRect">
            <a:avLst>
              <a:gd name="adj" fmla="val 49012"/>
            </a:avLst>
          </a:prstGeom>
          <a:solidFill>
            <a:srgbClr val="EDF1F6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5" name="Google Shape;1106;p206">
            <a:extLst>
              <a:ext uri="{FF2B5EF4-FFF2-40B4-BE49-F238E27FC236}">
                <a16:creationId xmlns:a16="http://schemas.microsoft.com/office/drawing/2014/main" id="{8F6E79AF-1259-6A42-BE37-DBAE2EE9E373}"/>
              </a:ext>
            </a:extLst>
          </p:cNvPr>
          <p:cNvSpPr/>
          <p:nvPr userDrawn="1"/>
        </p:nvSpPr>
        <p:spPr>
          <a:xfrm>
            <a:off x="6558167" y="2772333"/>
            <a:ext cx="992400" cy="992400"/>
          </a:xfrm>
          <a:prstGeom prst="ellipse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6" name="Google Shape;1107;p206">
            <a:extLst>
              <a:ext uri="{FF2B5EF4-FFF2-40B4-BE49-F238E27FC236}">
                <a16:creationId xmlns:a16="http://schemas.microsoft.com/office/drawing/2014/main" id="{A98CFA87-2D80-054C-963F-F23B22699D15}"/>
              </a:ext>
            </a:extLst>
          </p:cNvPr>
          <p:cNvSpPr/>
          <p:nvPr userDrawn="1"/>
        </p:nvSpPr>
        <p:spPr>
          <a:xfrm>
            <a:off x="6558167" y="4430900"/>
            <a:ext cx="992400" cy="992400"/>
          </a:xfrm>
          <a:prstGeom prst="ellipse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7" name="Google Shape;1108;p206">
            <a:extLst>
              <a:ext uri="{FF2B5EF4-FFF2-40B4-BE49-F238E27FC236}">
                <a16:creationId xmlns:a16="http://schemas.microsoft.com/office/drawing/2014/main" id="{64CBF592-D44A-3446-B161-F70A2641A9F4}"/>
              </a:ext>
            </a:extLst>
          </p:cNvPr>
          <p:cNvSpPr/>
          <p:nvPr userDrawn="1"/>
        </p:nvSpPr>
        <p:spPr>
          <a:xfrm>
            <a:off x="6558167" y="1113767"/>
            <a:ext cx="992400" cy="992400"/>
          </a:xfrm>
          <a:prstGeom prst="ellipse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4" name="Text Placeholder 12">
            <a:extLst>
              <a:ext uri="{FF2B5EF4-FFF2-40B4-BE49-F238E27FC236}">
                <a16:creationId xmlns:a16="http://schemas.microsoft.com/office/drawing/2014/main" id="{F8E33F91-D3E3-5348-9046-E8E44A70114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8075085" y="2936491"/>
            <a:ext cx="2766483" cy="675216"/>
          </a:xfrm>
          <a:prstGeom prst="rect">
            <a:avLst/>
          </a:prstGeom>
        </p:spPr>
        <p:txBody>
          <a:bodyPr/>
          <a:lstStyle>
            <a:lvl1pPr marL="0" marR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67" b="0" i="0">
                <a:solidFill>
                  <a:schemeClr val="tx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defRPr>
            </a:lvl1pPr>
            <a:lvl2pPr>
              <a:defRPr sz="1867"/>
            </a:lvl2pPr>
            <a:lvl3pPr>
              <a:defRPr sz="1867"/>
            </a:lvl3pPr>
            <a:lvl4pPr>
              <a:defRPr sz="1867"/>
            </a:lvl4pPr>
            <a:lvl5pPr>
              <a:defRPr sz="1867"/>
            </a:lvl5pPr>
          </a:lstStyle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lang="en-US" u="none" strike="noStrike" cap="none">
              <a:solidFill>
                <a:schemeClr val="tx1"/>
              </a:solidFill>
              <a:latin typeface="CiscoSansTT ExtraLight" panose="020B0303020201020303" pitchFamily="34" charset="0"/>
              <a:ea typeface="Helvetica Neue Light"/>
              <a:cs typeface="CiscoSansTT ExtraLight" panose="020B0303020201020303" pitchFamily="34" charset="0"/>
              <a:sym typeface="Helvetica Neue Light"/>
            </a:endParaRPr>
          </a:p>
        </p:txBody>
      </p:sp>
      <p:sp>
        <p:nvSpPr>
          <p:cNvPr id="15" name="Text Placeholder 12">
            <a:extLst>
              <a:ext uri="{FF2B5EF4-FFF2-40B4-BE49-F238E27FC236}">
                <a16:creationId xmlns:a16="http://schemas.microsoft.com/office/drawing/2014/main" id="{1F3FE1AB-0D7D-E34F-B442-EB54DC668994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8075085" y="4577427"/>
            <a:ext cx="2766483" cy="675216"/>
          </a:xfrm>
          <a:prstGeom prst="rect">
            <a:avLst/>
          </a:prstGeom>
        </p:spPr>
        <p:txBody>
          <a:bodyPr/>
          <a:lstStyle>
            <a:lvl1pPr marL="0" marR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67" b="0" i="0">
                <a:solidFill>
                  <a:schemeClr val="tx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defRPr>
            </a:lvl1pPr>
            <a:lvl2pPr>
              <a:defRPr sz="1867"/>
            </a:lvl2pPr>
            <a:lvl3pPr>
              <a:defRPr sz="1867"/>
            </a:lvl3pPr>
            <a:lvl4pPr>
              <a:defRPr sz="1867"/>
            </a:lvl4pPr>
            <a:lvl5pPr>
              <a:defRPr sz="1867"/>
            </a:lvl5pPr>
          </a:lstStyle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lang="en-US" u="none" strike="noStrike" cap="none">
              <a:solidFill>
                <a:schemeClr val="tx1"/>
              </a:solidFill>
              <a:latin typeface="CiscoSansTT ExtraLight" panose="020B0303020201020303" pitchFamily="34" charset="0"/>
              <a:ea typeface="Helvetica Neue Light"/>
              <a:cs typeface="CiscoSansTT ExtraLight" panose="020B0303020201020303" pitchFamily="34" charset="0"/>
              <a:sym typeface="Helvetica Neue Light"/>
            </a:endParaRPr>
          </a:p>
        </p:txBody>
      </p:sp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F72B3282-A25F-BB4E-9611-38F6DC20B0A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46199" y="4270804"/>
            <a:ext cx="3564468" cy="1691085"/>
          </a:xfrm>
          <a:prstGeom prst="rect">
            <a:avLst/>
          </a:prstGeom>
        </p:spPr>
        <p:txBody>
          <a:bodyPr/>
          <a:lstStyle>
            <a:lvl1pPr>
              <a:defRPr sz="4000" b="0" i="0">
                <a:solidFill>
                  <a:schemeClr val="tx1"/>
                </a:solidFill>
                <a:latin typeface="+mj-lt"/>
                <a:cs typeface="CiscoSansTT ExtraLight" panose="020B0303020201020303" pitchFamily="34" charset="0"/>
              </a:defRPr>
            </a:lvl1pPr>
          </a:lstStyle>
          <a:p>
            <a:pPr lvl="0"/>
            <a:r>
              <a:rPr lang="en-GB"/>
              <a:t>Click to add tit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3316616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duct Showca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 Placeholder 16">
            <a:extLst>
              <a:ext uri="{FF2B5EF4-FFF2-40B4-BE49-F238E27FC236}">
                <a16:creationId xmlns:a16="http://schemas.microsoft.com/office/drawing/2014/main" id="{61097E46-88D4-B64F-A9B9-477EBA65B218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7484535" y="4299109"/>
            <a:ext cx="3786717" cy="709083"/>
          </a:xfrm>
          <a:prstGeom prst="rect">
            <a:avLst/>
          </a:prstGeom>
        </p:spPr>
        <p:txBody>
          <a:bodyPr/>
          <a:lstStyle>
            <a:lvl1pPr>
              <a:defRPr sz="1467" b="0" i="0">
                <a:solidFill>
                  <a:schemeClr val="tx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defRPr>
            </a:lvl1pPr>
            <a:lvl2pPr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>
              <a:lnSpc>
                <a:spcPct val="115000"/>
              </a:lnSpc>
            </a:pPr>
            <a:endParaRPr lang="en-US" sz="1467">
              <a:solidFill>
                <a:schemeClr val="tx1"/>
              </a:solidFill>
              <a:latin typeface="CiscoSansTT ExtraLight" panose="020B0303020201020303" pitchFamily="34" charset="0"/>
              <a:cs typeface="CiscoSansTT ExtraLight" panose="020B0303020201020303" pitchFamily="34" charset="0"/>
              <a:sym typeface="Helvetica Neue Light"/>
            </a:endParaRPr>
          </a:p>
        </p:txBody>
      </p:sp>
      <p:sp>
        <p:nvSpPr>
          <p:cNvPr id="19" name="Text Placeholder 13">
            <a:extLst>
              <a:ext uri="{FF2B5EF4-FFF2-40B4-BE49-F238E27FC236}">
                <a16:creationId xmlns:a16="http://schemas.microsoft.com/office/drawing/2014/main" id="{E674CEC4-E67F-1248-A499-B15645D72FA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484531" y="3875595"/>
            <a:ext cx="3786717" cy="368300"/>
          </a:xfrm>
          <a:prstGeom prst="rect">
            <a:avLst/>
          </a:prstGeom>
        </p:spPr>
        <p:txBody>
          <a:bodyPr/>
          <a:lstStyle>
            <a:lvl1pPr>
              <a:defRPr sz="1867" b="0" i="0">
                <a:solidFill>
                  <a:schemeClr val="accent1"/>
                </a:solidFill>
                <a:latin typeface="+mj-lt"/>
                <a:cs typeface="CiscoSansTT ExtraLight" panose="020B0303020201020303" pitchFamily="34" charset="0"/>
              </a:defRPr>
            </a:lvl1pPr>
          </a:lstStyle>
          <a:p>
            <a:pPr>
              <a:lnSpc>
                <a:spcPct val="115000"/>
              </a:lnSpc>
            </a:pPr>
            <a:endParaRPr lang="en-US">
              <a:solidFill>
                <a:schemeClr val="accent1"/>
              </a:solidFill>
              <a:latin typeface="CiscoSansTT ExtraLight" panose="020B0303020201020303" pitchFamily="34" charset="0"/>
              <a:cs typeface="CiscoSansTT ExtraLight" panose="020B0303020201020303" pitchFamily="34" charset="0"/>
              <a:sym typeface="Helvetica Neue Light"/>
            </a:endParaRP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7532A9EE-4B65-A846-8B5E-BE2879268B8F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484535" y="2918885"/>
            <a:ext cx="3786717" cy="709083"/>
          </a:xfrm>
          <a:prstGeom prst="rect">
            <a:avLst/>
          </a:prstGeom>
        </p:spPr>
        <p:txBody>
          <a:bodyPr/>
          <a:lstStyle>
            <a:lvl1pPr>
              <a:defRPr sz="1467" b="0" i="0">
                <a:solidFill>
                  <a:schemeClr val="tx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defRPr>
            </a:lvl1pPr>
            <a:lvl2pPr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>
              <a:lnSpc>
                <a:spcPct val="115000"/>
              </a:lnSpc>
            </a:pPr>
            <a:endParaRPr lang="en-US" sz="1467">
              <a:solidFill>
                <a:schemeClr val="tx1"/>
              </a:solidFill>
              <a:latin typeface="CiscoSansTT ExtraLight" panose="020B0303020201020303" pitchFamily="34" charset="0"/>
              <a:cs typeface="CiscoSansTT ExtraLight" panose="020B0303020201020303" pitchFamily="34" charset="0"/>
              <a:sym typeface="Helvetica Neue Light"/>
            </a:endParaRPr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4962D45B-C6EB-254C-834A-83FDBA682DF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484531" y="2495371"/>
            <a:ext cx="3786717" cy="368300"/>
          </a:xfrm>
          <a:prstGeom prst="rect">
            <a:avLst/>
          </a:prstGeom>
        </p:spPr>
        <p:txBody>
          <a:bodyPr/>
          <a:lstStyle>
            <a:lvl1pPr>
              <a:defRPr sz="1867" b="0" i="0">
                <a:solidFill>
                  <a:schemeClr val="accent1"/>
                </a:solidFill>
                <a:latin typeface="+mj-lt"/>
                <a:cs typeface="CiscoSansTT ExtraLight" panose="020B0303020201020303" pitchFamily="34" charset="0"/>
              </a:defRPr>
            </a:lvl1pPr>
          </a:lstStyle>
          <a:p>
            <a:pPr>
              <a:lnSpc>
                <a:spcPct val="115000"/>
              </a:lnSpc>
            </a:pPr>
            <a:endParaRPr lang="en-US">
              <a:solidFill>
                <a:schemeClr val="accent1"/>
              </a:solidFill>
              <a:latin typeface="CiscoSansTT ExtraLight" panose="020B0303020201020303" pitchFamily="34" charset="0"/>
              <a:cs typeface="CiscoSansTT ExtraLight" panose="020B0303020201020303" pitchFamily="34" charset="0"/>
              <a:sym typeface="Helvetica Neue Light"/>
            </a:endParaRPr>
          </a:p>
        </p:txBody>
      </p:sp>
      <p:sp>
        <p:nvSpPr>
          <p:cNvPr id="3" name="Google Shape;1144;p208">
            <a:extLst>
              <a:ext uri="{FF2B5EF4-FFF2-40B4-BE49-F238E27FC236}">
                <a16:creationId xmlns:a16="http://schemas.microsoft.com/office/drawing/2014/main" id="{6CED10B6-3538-6647-A237-DA7A74D0AA91}"/>
              </a:ext>
            </a:extLst>
          </p:cNvPr>
          <p:cNvSpPr/>
          <p:nvPr userDrawn="1"/>
        </p:nvSpPr>
        <p:spPr>
          <a:xfrm>
            <a:off x="-391333" y="466800"/>
            <a:ext cx="1540800" cy="1540800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grpSp>
        <p:nvGrpSpPr>
          <p:cNvPr id="5" name="Google Shape;1146;p208">
            <a:extLst>
              <a:ext uri="{FF2B5EF4-FFF2-40B4-BE49-F238E27FC236}">
                <a16:creationId xmlns:a16="http://schemas.microsoft.com/office/drawing/2014/main" id="{99A0D6D0-7A0E-0E4B-A02B-3A2A1786F78F}"/>
              </a:ext>
            </a:extLst>
          </p:cNvPr>
          <p:cNvGrpSpPr/>
          <p:nvPr userDrawn="1"/>
        </p:nvGrpSpPr>
        <p:grpSpPr>
          <a:xfrm>
            <a:off x="-1386584" y="1328666"/>
            <a:ext cx="8478085" cy="4942479"/>
            <a:chOff x="3653125" y="1153292"/>
            <a:chExt cx="6577598" cy="3834549"/>
          </a:xfrm>
        </p:grpSpPr>
        <p:pic>
          <p:nvPicPr>
            <p:cNvPr id="6" name="Google Shape;1147;p208">
              <a:extLst>
                <a:ext uri="{FF2B5EF4-FFF2-40B4-BE49-F238E27FC236}">
                  <a16:creationId xmlns:a16="http://schemas.microsoft.com/office/drawing/2014/main" id="{FD81E3C2-E027-144B-ACD4-2AAF9A3A73C2}"/>
                </a:ext>
              </a:extLst>
            </p:cNvPr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653125" y="1153292"/>
              <a:ext cx="6577598" cy="3834549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7" name="Google Shape;1148;p208">
              <a:extLst>
                <a:ext uri="{FF2B5EF4-FFF2-40B4-BE49-F238E27FC236}">
                  <a16:creationId xmlns:a16="http://schemas.microsoft.com/office/drawing/2014/main" id="{FDFAC93D-0109-3149-9BD9-EDC6811E3B4B}"/>
                </a:ext>
              </a:extLst>
            </p:cNvPr>
            <p:cNvPicPr preferRelativeResize="0"/>
            <p:nvPr/>
          </p:nvPicPr>
          <p:blipFill rotWithShape="1">
            <a:blip r:embed="rId3" cstate="email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4680303" y="1426650"/>
              <a:ext cx="4462200" cy="2843100"/>
            </a:xfrm>
            <a:prstGeom prst="roundRect">
              <a:avLst>
                <a:gd name="adj" fmla="val 780"/>
              </a:avLst>
            </a:prstGeom>
            <a:noFill/>
            <a:ln>
              <a:noFill/>
            </a:ln>
          </p:spPr>
        </p:pic>
      </p:grpSp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EA76D1E0-B63D-6C4C-997C-DDEBE1B617D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460835" y="512064"/>
            <a:ext cx="3564468" cy="1580813"/>
          </a:xfrm>
          <a:prstGeom prst="rect">
            <a:avLst/>
          </a:prstGeom>
        </p:spPr>
        <p:txBody>
          <a:bodyPr/>
          <a:lstStyle>
            <a:lvl1pPr>
              <a:defRPr sz="4000" b="0" i="0">
                <a:solidFill>
                  <a:schemeClr val="tx1"/>
                </a:solidFill>
                <a:latin typeface="+mj-lt"/>
                <a:cs typeface="CiscoSansTT ExtraLight" panose="020B0303020201020303" pitchFamily="34" charset="0"/>
              </a:defRPr>
            </a:lvl1pPr>
          </a:lstStyle>
          <a:p>
            <a:pPr lvl="0"/>
            <a:r>
              <a:rPr lang="en-GB"/>
              <a:t>Click to add tit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87729891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person standing in front of a window&#10;&#10;Description automatically generated">
            <a:extLst>
              <a:ext uri="{FF2B5EF4-FFF2-40B4-BE49-F238E27FC236}">
                <a16:creationId xmlns:a16="http://schemas.microsoft.com/office/drawing/2014/main" id="{F9B232E6-6E02-A741-AF78-844518F86F8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1989" cy="6858000"/>
          </a:xfrm>
          <a:prstGeom prst="rect">
            <a:avLst/>
          </a:prstGeom>
        </p:spPr>
      </p:pic>
      <p:sp>
        <p:nvSpPr>
          <p:cNvPr id="4" name="Google Shape;969;p196">
            <a:extLst>
              <a:ext uri="{FF2B5EF4-FFF2-40B4-BE49-F238E27FC236}">
                <a16:creationId xmlns:a16="http://schemas.microsoft.com/office/drawing/2014/main" id="{EE1005CF-DAA6-8146-B559-B4322865F8BA}"/>
              </a:ext>
            </a:extLst>
          </p:cNvPr>
          <p:cNvSpPr/>
          <p:nvPr userDrawn="1"/>
        </p:nvSpPr>
        <p:spPr>
          <a:xfrm rot="10800000">
            <a:off x="0" y="-4"/>
            <a:ext cx="12192000" cy="6763112"/>
          </a:xfrm>
          <a:prstGeom prst="rect">
            <a:avLst/>
          </a:prstGeom>
          <a:gradFill>
            <a:gsLst>
              <a:gs pos="0">
                <a:srgbClr val="0D274D">
                  <a:alpha val="0"/>
                </a:srgbClr>
              </a:gs>
              <a:gs pos="100000">
                <a:srgbClr val="0D274D">
                  <a:alpha val="87000"/>
                </a:srgbClr>
              </a:gs>
            </a:gsLst>
            <a:lin ang="5400012" scaled="0"/>
          </a:gra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7BE3E084-1EFF-FE4E-B08D-9D24BFCCAEA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939988" y="4170143"/>
            <a:ext cx="3106227" cy="230717"/>
          </a:xfrm>
          <a:prstGeom prst="rect">
            <a:avLst/>
          </a:prstGeom>
        </p:spPr>
        <p:txBody>
          <a:bodyPr/>
          <a:lstStyle>
            <a:lvl1pPr>
              <a:defRPr sz="1467" b="1" i="0">
                <a:solidFill>
                  <a:schemeClr val="bg1"/>
                </a:solidFill>
                <a:latin typeface="CiscoSansTT" panose="020B0503020201020303" pitchFamily="34" charset="0"/>
                <a:cs typeface="CiscoSansTT" panose="020B0503020201020303" pitchFamily="34" charset="0"/>
              </a:defRPr>
            </a:lvl1pPr>
            <a:lvl2pPr>
              <a:defRPr sz="1467" b="1" i="0">
                <a:latin typeface="CiscoSansTT" panose="020B0503020201020303" pitchFamily="34" charset="0"/>
                <a:cs typeface="CiscoSansTT" panose="020B0503020201020303" pitchFamily="34" charset="0"/>
              </a:defRPr>
            </a:lvl2pPr>
            <a:lvl3pPr>
              <a:defRPr sz="1467" b="1" i="0">
                <a:latin typeface="CiscoSansTT" panose="020B0503020201020303" pitchFamily="34" charset="0"/>
                <a:cs typeface="CiscoSansTT" panose="020B0503020201020303" pitchFamily="34" charset="0"/>
              </a:defRPr>
            </a:lvl3pPr>
            <a:lvl4pPr>
              <a:defRPr sz="1467" b="1" i="0">
                <a:latin typeface="CiscoSansTT" panose="020B0503020201020303" pitchFamily="34" charset="0"/>
                <a:cs typeface="CiscoSansTT" panose="020B0503020201020303" pitchFamily="34" charset="0"/>
              </a:defRPr>
            </a:lvl4pPr>
            <a:lvl5pPr>
              <a:defRPr sz="1467" b="1" i="0">
                <a:latin typeface="CiscoSansTT" panose="020B0503020201020303" pitchFamily="34" charset="0"/>
                <a:cs typeface="CiscoSansTT" panose="020B0503020201020303" pitchFamily="34" charset="0"/>
              </a:defRPr>
            </a:lvl5pPr>
          </a:lstStyle>
          <a:p>
            <a:endParaRPr lang="en-US" sz="1467" b="1">
              <a:solidFill>
                <a:srgbClr val="FFFFFF"/>
              </a:solidFill>
              <a:latin typeface="CiscoSansTT" panose="020B0503020201020303" pitchFamily="34" charset="0"/>
              <a:ea typeface="Helvetica Neue"/>
              <a:cs typeface="CiscoSansTT" panose="020B0503020201020303" pitchFamily="34" charset="0"/>
              <a:sym typeface="Helvetica Neue"/>
            </a:endParaRP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752799F5-3094-F049-BD2C-563AEB1EAB4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927047" y="4427065"/>
            <a:ext cx="3111500" cy="345017"/>
          </a:xfrm>
          <a:prstGeom prst="rect">
            <a:avLst/>
          </a:prstGeom>
        </p:spPr>
        <p:txBody>
          <a:bodyPr/>
          <a:lstStyle>
            <a:lvl1pPr>
              <a:defRPr sz="1200" b="0" i="0">
                <a:solidFill>
                  <a:schemeClr val="bg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endParaRPr lang="en-US" sz="1200">
              <a:solidFill>
                <a:srgbClr val="FFFFFF"/>
              </a:solidFill>
              <a:latin typeface="CiscoSansTT ExtraLight" panose="020B0303020201020303" pitchFamily="34" charset="0"/>
              <a:cs typeface="CiscoSansTT ExtraLight" panose="020B0303020201020303" pitchFamily="34" charset="0"/>
              <a:sym typeface="Helvetica Neue Light"/>
            </a:endParaRPr>
          </a:p>
        </p:txBody>
      </p:sp>
      <p:sp>
        <p:nvSpPr>
          <p:cNvPr id="8" name="Text Placeholder 9">
            <a:extLst>
              <a:ext uri="{FF2B5EF4-FFF2-40B4-BE49-F238E27FC236}">
                <a16:creationId xmlns:a16="http://schemas.microsoft.com/office/drawing/2014/main" id="{7026F21A-7268-2643-AFAB-66A39B9C6E3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927045" y="1413720"/>
            <a:ext cx="5114800" cy="2484945"/>
          </a:xfrm>
          <a:prstGeom prst="rect">
            <a:avLst/>
          </a:prstGeom>
        </p:spPr>
        <p:txBody>
          <a:bodyPr/>
          <a:lstStyle>
            <a:lvl1pPr>
              <a:defRPr sz="2667" b="0" i="0">
                <a:solidFill>
                  <a:schemeClr val="bg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defRPr>
            </a:lvl1pPr>
          </a:lstStyle>
          <a:p>
            <a:pPr lvl="0"/>
            <a:r>
              <a:rPr lang="en-GB"/>
              <a:t>Click to add title</a:t>
            </a:r>
            <a:endParaRPr lang="en-US"/>
          </a:p>
        </p:txBody>
      </p:sp>
      <p:sp>
        <p:nvSpPr>
          <p:cNvPr id="9" name="Google Shape;971;p196">
            <a:extLst>
              <a:ext uri="{FF2B5EF4-FFF2-40B4-BE49-F238E27FC236}">
                <a16:creationId xmlns:a16="http://schemas.microsoft.com/office/drawing/2014/main" id="{5A4937F6-24EE-3246-85DB-15C205923C66}"/>
              </a:ext>
            </a:extLst>
          </p:cNvPr>
          <p:cNvSpPr txBox="1">
            <a:spLocks/>
          </p:cNvSpPr>
          <p:nvPr userDrawn="1"/>
        </p:nvSpPr>
        <p:spPr>
          <a:xfrm>
            <a:off x="1132128" y="918744"/>
            <a:ext cx="1168400" cy="121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n-US" sz="10666" b="1">
                <a:solidFill>
                  <a:srgbClr val="FFFFFF"/>
                </a:solidFill>
                <a:latin typeface="CiscoSansTT" panose="020B0503020201020303" pitchFamily="34" charset="0"/>
                <a:ea typeface="Helvetica Neue"/>
                <a:cs typeface="CiscoSansTT" panose="020B0503020201020303" pitchFamily="34" charset="0"/>
                <a:sym typeface="Helvetica Neue"/>
              </a:rPr>
              <a:t>“</a:t>
            </a:r>
          </a:p>
        </p:txBody>
      </p:sp>
    </p:spTree>
    <p:extLst>
      <p:ext uri="{BB962C8B-B14F-4D97-AF65-F5344CB8AC3E}">
        <p14:creationId xmlns:p14="http://schemas.microsoft.com/office/powerpoint/2010/main" val="183294130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duct Showca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3">
            <a:extLst>
              <a:ext uri="{FF2B5EF4-FFF2-40B4-BE49-F238E27FC236}">
                <a16:creationId xmlns:a16="http://schemas.microsoft.com/office/drawing/2014/main" id="{87D1745F-7441-4EF3-A130-8C453490C22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334251" y="2937934"/>
            <a:ext cx="4138082" cy="833967"/>
          </a:xfr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Text Placeholder 13">
            <a:extLst>
              <a:ext uri="{FF2B5EF4-FFF2-40B4-BE49-F238E27FC236}">
                <a16:creationId xmlns:a16="http://schemas.microsoft.com/office/drawing/2014/main" id="{E674CEC4-E67F-1248-A499-B15645D72FA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334251" y="3856567"/>
            <a:ext cx="4138083" cy="3683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 b="0" i="0">
                <a:solidFill>
                  <a:schemeClr val="accent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defRPr>
            </a:lvl1pPr>
          </a:lstStyle>
          <a:p>
            <a:pPr>
              <a:lnSpc>
                <a:spcPct val="115000"/>
              </a:lnSpc>
            </a:pPr>
            <a:endParaRPr lang="en-US">
              <a:solidFill>
                <a:schemeClr val="accent1"/>
              </a:solidFill>
              <a:latin typeface="CiscoSansTT ExtraLight" panose="020B0303020201020303" pitchFamily="34" charset="0"/>
              <a:cs typeface="CiscoSansTT ExtraLight" panose="020B0303020201020303" pitchFamily="34" charset="0"/>
              <a:sym typeface="Helvetica Neue Light"/>
            </a:endParaRPr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4962D45B-C6EB-254C-834A-83FDBA682DF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334251" y="2518834"/>
            <a:ext cx="4138083" cy="36830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 b="0" i="0">
                <a:solidFill>
                  <a:schemeClr val="accent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defRPr>
            </a:lvl1pPr>
          </a:lstStyle>
          <a:p>
            <a:pPr>
              <a:lnSpc>
                <a:spcPct val="115000"/>
              </a:lnSpc>
            </a:pPr>
            <a:endParaRPr lang="en-US">
              <a:solidFill>
                <a:schemeClr val="accent1"/>
              </a:solidFill>
              <a:latin typeface="CiscoSansTT ExtraLight" panose="020B0303020201020303" pitchFamily="34" charset="0"/>
              <a:cs typeface="CiscoSansTT ExtraLight" panose="020B0303020201020303" pitchFamily="34" charset="0"/>
              <a:sym typeface="Helvetica Neue Light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9A02D8B-89F4-4618-BDD2-D9ABD27D9F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334251" y="709084"/>
            <a:ext cx="4138083" cy="1361016"/>
          </a:xfrm>
        </p:spPr>
        <p:txBody>
          <a:bodyPr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E30E99D0-CB64-46C5-AB05-E49F19D237D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334251" y="4269317"/>
            <a:ext cx="4138082" cy="833967"/>
          </a:xfr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89276850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int Lis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 Placeholder 13">
            <a:extLst>
              <a:ext uri="{FF2B5EF4-FFF2-40B4-BE49-F238E27FC236}">
                <a16:creationId xmlns:a16="http://schemas.microsoft.com/office/drawing/2014/main" id="{283383B7-A0E5-3B4C-B4FC-5AE6D6C06DE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559495" y="4855646"/>
            <a:ext cx="3155949" cy="361951"/>
          </a:xfrm>
          <a:prstGeom prst="rect">
            <a:avLst/>
          </a:prstGeom>
        </p:spPr>
        <p:txBody>
          <a:bodyPr/>
          <a:lstStyle>
            <a:lvl1pPr>
              <a:defRPr sz="2133" b="0" i="0">
                <a:solidFill>
                  <a:schemeClr val="tx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defRPr>
            </a:lvl1pPr>
            <a:lvl2pPr>
              <a:defRPr sz="2133"/>
            </a:lvl2pPr>
            <a:lvl3pPr>
              <a:defRPr sz="2133"/>
            </a:lvl3pPr>
            <a:lvl4pPr>
              <a:defRPr sz="2133"/>
            </a:lvl4pPr>
            <a:lvl5pPr>
              <a:defRPr sz="2133"/>
            </a:lvl5pPr>
          </a:lstStyle>
          <a:p>
            <a:endParaRPr lang="en-US" sz="2133">
              <a:solidFill>
                <a:schemeClr val="tx1"/>
              </a:solidFill>
              <a:latin typeface="CiscoSansTT ExtraLight" panose="020B0303020201020303" pitchFamily="34" charset="0"/>
              <a:cs typeface="CiscoSansTT ExtraLight" panose="020B0303020201020303" pitchFamily="34" charset="0"/>
            </a:endParaRPr>
          </a:p>
        </p:txBody>
      </p:sp>
      <p:sp>
        <p:nvSpPr>
          <p:cNvPr id="15" name="Text Placeholder 13">
            <a:extLst>
              <a:ext uri="{FF2B5EF4-FFF2-40B4-BE49-F238E27FC236}">
                <a16:creationId xmlns:a16="http://schemas.microsoft.com/office/drawing/2014/main" id="{0E1A1A50-E09C-BC41-BEB2-5590491B06A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7559495" y="3191706"/>
            <a:ext cx="3155949" cy="361951"/>
          </a:xfrm>
          <a:prstGeom prst="rect">
            <a:avLst/>
          </a:prstGeom>
        </p:spPr>
        <p:txBody>
          <a:bodyPr/>
          <a:lstStyle>
            <a:lvl1pPr>
              <a:defRPr sz="2133" b="0" i="0">
                <a:solidFill>
                  <a:schemeClr val="tx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defRPr>
            </a:lvl1pPr>
            <a:lvl2pPr>
              <a:defRPr sz="2133"/>
            </a:lvl2pPr>
            <a:lvl3pPr>
              <a:defRPr sz="2133"/>
            </a:lvl3pPr>
            <a:lvl4pPr>
              <a:defRPr sz="2133"/>
            </a:lvl4pPr>
            <a:lvl5pPr>
              <a:defRPr sz="2133"/>
            </a:lvl5pPr>
          </a:lstStyle>
          <a:p>
            <a:endParaRPr lang="en-US" sz="2133">
              <a:solidFill>
                <a:schemeClr val="tx1"/>
              </a:solidFill>
              <a:latin typeface="CiscoSansTT ExtraLight" panose="020B0303020201020303" pitchFamily="34" charset="0"/>
              <a:cs typeface="CiscoSansTT ExtraLight" panose="020B0303020201020303" pitchFamily="34" charset="0"/>
            </a:endParaRPr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719A126E-1EB3-EF42-BC33-C1F2B52F3F8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559495" y="1535434"/>
            <a:ext cx="3155949" cy="361951"/>
          </a:xfrm>
          <a:prstGeom prst="rect">
            <a:avLst/>
          </a:prstGeom>
        </p:spPr>
        <p:txBody>
          <a:bodyPr/>
          <a:lstStyle>
            <a:lvl1pPr>
              <a:defRPr sz="2133" b="0" i="0">
                <a:solidFill>
                  <a:schemeClr val="tx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defRPr>
            </a:lvl1pPr>
            <a:lvl2pPr>
              <a:defRPr sz="2133"/>
            </a:lvl2pPr>
            <a:lvl3pPr>
              <a:defRPr sz="2133"/>
            </a:lvl3pPr>
            <a:lvl4pPr>
              <a:defRPr sz="2133"/>
            </a:lvl4pPr>
            <a:lvl5pPr>
              <a:defRPr sz="2133"/>
            </a:lvl5pPr>
          </a:lstStyle>
          <a:p>
            <a:endParaRPr lang="en-US" sz="2133">
              <a:solidFill>
                <a:schemeClr val="tx1"/>
              </a:solidFill>
              <a:latin typeface="CiscoSansTT ExtraLight" panose="020B0303020201020303" pitchFamily="34" charset="0"/>
              <a:cs typeface="CiscoSansTT ExtraLight" panose="020B0303020201020303" pitchFamily="34" charset="0"/>
            </a:endParaRPr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B42ACD8F-CFFE-CE4A-853F-583D069DE65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39189" y="3836477"/>
            <a:ext cx="3455483" cy="1179600"/>
          </a:xfrm>
          <a:prstGeom prst="rect">
            <a:avLst/>
          </a:prstGeom>
        </p:spPr>
        <p:txBody>
          <a:bodyPr/>
          <a:lstStyle>
            <a:lvl1pPr>
              <a:defRPr sz="1467" b="0" i="0">
                <a:solidFill>
                  <a:schemeClr val="tx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defRPr>
            </a:lvl1pPr>
            <a:lvl2pPr>
              <a:defRPr sz="1467" b="0" i="0">
                <a:solidFill>
                  <a:schemeClr val="tx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defRPr>
            </a:lvl2pPr>
            <a:lvl3pPr>
              <a:defRPr sz="1467" b="0" i="0">
                <a:solidFill>
                  <a:schemeClr val="tx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defRPr>
            </a:lvl3pPr>
            <a:lvl4pPr>
              <a:defRPr sz="1467" b="0" i="0">
                <a:solidFill>
                  <a:schemeClr val="tx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defRPr>
            </a:lvl4pPr>
            <a:lvl5pPr>
              <a:defRPr sz="1467" b="0" i="0">
                <a:solidFill>
                  <a:schemeClr val="tx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defRPr>
            </a:lvl5pPr>
          </a:lstStyle>
          <a:p>
            <a:pPr>
              <a:lnSpc>
                <a:spcPct val="115000"/>
              </a:lnSpc>
            </a:pPr>
            <a:endParaRPr lang="en-US" sz="1467">
              <a:solidFill>
                <a:schemeClr val="tx1"/>
              </a:solidFill>
              <a:latin typeface="CiscoSansTT ExtraLight" panose="020B0303020201020303" pitchFamily="34" charset="0"/>
              <a:cs typeface="CiscoSansTT ExtraLight" panose="020B0303020201020303" pitchFamily="34" charset="0"/>
              <a:sym typeface="Helvetica Neue Light"/>
            </a:endParaRPr>
          </a:p>
        </p:txBody>
      </p:sp>
      <p:sp>
        <p:nvSpPr>
          <p:cNvPr id="3" name="Google Shape;991;p198">
            <a:extLst>
              <a:ext uri="{FF2B5EF4-FFF2-40B4-BE49-F238E27FC236}">
                <a16:creationId xmlns:a16="http://schemas.microsoft.com/office/drawing/2014/main" id="{93B0408F-1A69-ED48-8028-E2E1EBEA6215}"/>
              </a:ext>
            </a:extLst>
          </p:cNvPr>
          <p:cNvSpPr/>
          <p:nvPr userDrawn="1"/>
        </p:nvSpPr>
        <p:spPr>
          <a:xfrm>
            <a:off x="6172033" y="1207433"/>
            <a:ext cx="1109600" cy="1109600"/>
          </a:xfrm>
          <a:prstGeom prst="ellipse">
            <a:avLst/>
          </a:prstGeom>
          <a:solidFill>
            <a:srgbClr val="F3F7FA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6" name="Google Shape;995;p198">
            <a:extLst>
              <a:ext uri="{FF2B5EF4-FFF2-40B4-BE49-F238E27FC236}">
                <a16:creationId xmlns:a16="http://schemas.microsoft.com/office/drawing/2014/main" id="{D7ABA654-3FF4-5648-AD89-5167E4AE5CFF}"/>
              </a:ext>
            </a:extLst>
          </p:cNvPr>
          <p:cNvSpPr/>
          <p:nvPr userDrawn="1"/>
        </p:nvSpPr>
        <p:spPr>
          <a:xfrm>
            <a:off x="-664967" y="-787367"/>
            <a:ext cx="1791600" cy="1791600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8" name="Google Shape;997;p198">
            <a:extLst>
              <a:ext uri="{FF2B5EF4-FFF2-40B4-BE49-F238E27FC236}">
                <a16:creationId xmlns:a16="http://schemas.microsoft.com/office/drawing/2014/main" id="{FC3DE68A-567A-EA44-A9EF-0602F0CDE066}"/>
              </a:ext>
            </a:extLst>
          </p:cNvPr>
          <p:cNvSpPr/>
          <p:nvPr userDrawn="1"/>
        </p:nvSpPr>
        <p:spPr>
          <a:xfrm>
            <a:off x="6172033" y="2856867"/>
            <a:ext cx="1109600" cy="1109600"/>
          </a:xfrm>
          <a:prstGeom prst="ellipse">
            <a:avLst/>
          </a:prstGeom>
          <a:solidFill>
            <a:srgbClr val="F3F7FA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0" name="Google Shape;999;p198">
            <a:extLst>
              <a:ext uri="{FF2B5EF4-FFF2-40B4-BE49-F238E27FC236}">
                <a16:creationId xmlns:a16="http://schemas.microsoft.com/office/drawing/2014/main" id="{DB8AC9AE-1CD1-7D4F-B6C0-DC1AB03BB5F7}"/>
              </a:ext>
            </a:extLst>
          </p:cNvPr>
          <p:cNvSpPr/>
          <p:nvPr userDrawn="1"/>
        </p:nvSpPr>
        <p:spPr>
          <a:xfrm>
            <a:off x="6172033" y="4506300"/>
            <a:ext cx="1109600" cy="1109600"/>
          </a:xfrm>
          <a:prstGeom prst="ellipse">
            <a:avLst/>
          </a:prstGeom>
          <a:solidFill>
            <a:srgbClr val="F3F7FA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FE56F998-1687-4C4C-9CE7-BD0C4B7E758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84695" y="2255664"/>
            <a:ext cx="3564468" cy="1580813"/>
          </a:xfrm>
          <a:prstGeom prst="rect">
            <a:avLst/>
          </a:prstGeom>
        </p:spPr>
        <p:txBody>
          <a:bodyPr/>
          <a:lstStyle>
            <a:lvl1pPr>
              <a:defRPr sz="4000" b="0" i="0">
                <a:solidFill>
                  <a:schemeClr val="tx1"/>
                </a:solidFill>
                <a:latin typeface="+mj-lt"/>
                <a:cs typeface="CiscoSansTT ExtraLight" panose="020B0303020201020303" pitchFamily="34" charset="0"/>
              </a:defRPr>
            </a:lvl1pPr>
          </a:lstStyle>
          <a:p>
            <a:pPr lvl="0"/>
            <a:r>
              <a:rPr lang="en-GB"/>
              <a:t>Click to add tit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82290584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B42ACD8F-CFFE-CE4A-853F-583D069DE65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39189" y="3836477"/>
            <a:ext cx="3455483" cy="1179600"/>
          </a:xfrm>
          <a:prstGeom prst="rect">
            <a:avLst/>
          </a:prstGeom>
        </p:spPr>
        <p:txBody>
          <a:bodyPr/>
          <a:lstStyle>
            <a:lvl1pPr>
              <a:defRPr sz="1467" b="0" i="0">
                <a:solidFill>
                  <a:schemeClr val="tx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defRPr>
            </a:lvl1pPr>
            <a:lvl2pPr>
              <a:defRPr sz="1467" b="0" i="0">
                <a:solidFill>
                  <a:schemeClr val="tx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defRPr>
            </a:lvl2pPr>
            <a:lvl3pPr>
              <a:defRPr sz="1467" b="0" i="0">
                <a:solidFill>
                  <a:schemeClr val="tx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defRPr>
            </a:lvl3pPr>
            <a:lvl4pPr>
              <a:defRPr sz="1467" b="0" i="0">
                <a:solidFill>
                  <a:schemeClr val="tx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defRPr>
            </a:lvl4pPr>
            <a:lvl5pPr>
              <a:defRPr sz="1467" b="0" i="0">
                <a:solidFill>
                  <a:schemeClr val="tx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defRPr>
            </a:lvl5pPr>
          </a:lstStyle>
          <a:p>
            <a:pPr>
              <a:lnSpc>
                <a:spcPct val="115000"/>
              </a:lnSpc>
            </a:pPr>
            <a:endParaRPr lang="en-US" sz="1467">
              <a:solidFill>
                <a:schemeClr val="tx1"/>
              </a:solidFill>
              <a:latin typeface="CiscoSansTT ExtraLight" panose="020B0303020201020303" pitchFamily="34" charset="0"/>
              <a:cs typeface="CiscoSansTT ExtraLight" panose="020B0303020201020303" pitchFamily="34" charset="0"/>
              <a:sym typeface="Helvetica Neue Light"/>
            </a:endParaRPr>
          </a:p>
        </p:txBody>
      </p:sp>
      <p:sp>
        <p:nvSpPr>
          <p:cNvPr id="5" name="Text Placeholder 9">
            <a:extLst>
              <a:ext uri="{FF2B5EF4-FFF2-40B4-BE49-F238E27FC236}">
                <a16:creationId xmlns:a16="http://schemas.microsoft.com/office/drawing/2014/main" id="{46CF2CB9-94B1-6746-B0FC-C5D7CF500A3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84695" y="2255664"/>
            <a:ext cx="3564468" cy="1580813"/>
          </a:xfrm>
          <a:prstGeom prst="rect">
            <a:avLst/>
          </a:prstGeom>
        </p:spPr>
        <p:txBody>
          <a:bodyPr/>
          <a:lstStyle>
            <a:lvl1pPr>
              <a:defRPr sz="4000" b="0" i="0">
                <a:solidFill>
                  <a:schemeClr val="tx1"/>
                </a:solidFill>
                <a:latin typeface="+mj-lt"/>
                <a:cs typeface="CiscoSansTT ExtraLight" panose="020B0303020201020303" pitchFamily="34" charset="0"/>
              </a:defRPr>
            </a:lvl1pPr>
          </a:lstStyle>
          <a:p>
            <a:pPr lvl="0"/>
            <a:r>
              <a:rPr lang="en-GB"/>
              <a:t>Click to add tit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76523177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DD7838D7-04FF-1545-82C9-712D50CBA96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04681" y="2473095"/>
            <a:ext cx="3564467" cy="3037416"/>
          </a:xfrm>
          <a:prstGeom prst="rect">
            <a:avLst/>
          </a:prstGeom>
        </p:spPr>
        <p:txBody>
          <a:bodyPr/>
          <a:lstStyle>
            <a:lvl1pPr>
              <a:defRPr sz="1467" b="0" i="0">
                <a:solidFill>
                  <a:schemeClr val="tx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defRPr>
            </a:lvl1pPr>
            <a:lvl2pPr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>
              <a:lnSpc>
                <a:spcPct val="115000"/>
              </a:lnSpc>
            </a:pPr>
            <a:endParaRPr lang="en-US" sz="1467">
              <a:solidFill>
                <a:schemeClr val="tx1"/>
              </a:solidFill>
              <a:latin typeface="CiscoSansTT ExtraLight" panose="020B0303020201020303" pitchFamily="34" charset="0"/>
              <a:cs typeface="CiscoSansTT ExtraLight" panose="020B0303020201020303" pitchFamily="34" charset="0"/>
              <a:sym typeface="Helvetica Neue Light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313D5B80-02B4-3647-8C09-37337713FA2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31208"/>
          <a:stretch/>
        </p:blipFill>
        <p:spPr>
          <a:xfrm>
            <a:off x="5967664" y="17622"/>
            <a:ext cx="10221363" cy="6822759"/>
          </a:xfrm>
          <a:prstGeom prst="roundRect">
            <a:avLst>
              <a:gd name="adj" fmla="val 50000"/>
            </a:avLst>
          </a:prstGeom>
        </p:spPr>
      </p:pic>
      <p:sp>
        <p:nvSpPr>
          <p:cNvPr id="6" name="Google Shape;872;p188">
            <a:extLst>
              <a:ext uri="{FF2B5EF4-FFF2-40B4-BE49-F238E27FC236}">
                <a16:creationId xmlns:a16="http://schemas.microsoft.com/office/drawing/2014/main" id="{2E7B2388-F764-7E4A-B036-8A36E7667961}"/>
              </a:ext>
            </a:extLst>
          </p:cNvPr>
          <p:cNvSpPr/>
          <p:nvPr userDrawn="1"/>
        </p:nvSpPr>
        <p:spPr>
          <a:xfrm>
            <a:off x="5138989" y="3329733"/>
            <a:ext cx="3125600" cy="312560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8" name="Google Shape;874;p188">
            <a:extLst>
              <a:ext uri="{FF2B5EF4-FFF2-40B4-BE49-F238E27FC236}">
                <a16:creationId xmlns:a16="http://schemas.microsoft.com/office/drawing/2014/main" id="{977BBD2B-1481-C34C-8BEB-A267F074584D}"/>
              </a:ext>
            </a:extLst>
          </p:cNvPr>
          <p:cNvSpPr txBox="1">
            <a:spLocks/>
          </p:cNvSpPr>
          <p:nvPr userDrawn="1"/>
        </p:nvSpPr>
        <p:spPr>
          <a:xfrm>
            <a:off x="5041300" y="3654381"/>
            <a:ext cx="1168400" cy="121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n-US" sz="12800" b="1">
                <a:solidFill>
                  <a:schemeClr val="tx1"/>
                </a:solidFill>
                <a:latin typeface="CiscoSansTT" panose="020B0503020201020303" pitchFamily="34" charset="0"/>
                <a:ea typeface="Helvetica Neue"/>
                <a:cs typeface="CiscoSansTT" panose="020B0503020201020303" pitchFamily="34" charset="0"/>
                <a:sym typeface="Helvetica Neue"/>
              </a:rPr>
              <a:t>“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BCC59EDA-75A4-2548-94C2-6C2737C8EDCF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476239" y="4375650"/>
            <a:ext cx="2451100" cy="1390649"/>
          </a:xfrm>
          <a:prstGeom prst="rect">
            <a:avLst/>
          </a:prstGeom>
        </p:spPr>
        <p:txBody>
          <a:bodyPr/>
          <a:lstStyle>
            <a:lvl1pPr mar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b="0" i="0">
                <a:solidFill>
                  <a:schemeClr val="tx2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defRPr>
            </a:lvl1pPr>
          </a:lstStyle>
          <a:p>
            <a:pPr marL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lang="en-US">
              <a:solidFill>
                <a:srgbClr val="FFFFFF"/>
              </a:solidFill>
              <a:latin typeface="CiscoSansTT ExtraLight" panose="020B0303020201020303" pitchFamily="34" charset="0"/>
              <a:ea typeface="Helvetica Neue Light"/>
              <a:cs typeface="CiscoSansTT ExtraLight" panose="020B0303020201020303" pitchFamily="34" charset="0"/>
              <a:sym typeface="Helvetica Neue Light"/>
            </a:endParaRPr>
          </a:p>
        </p:txBody>
      </p:sp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611727E6-7256-D440-AD0A-11CE86E7A17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04682" y="715264"/>
            <a:ext cx="3564468" cy="1580813"/>
          </a:xfrm>
          <a:prstGeom prst="rect">
            <a:avLst/>
          </a:prstGeom>
        </p:spPr>
        <p:txBody>
          <a:bodyPr/>
          <a:lstStyle>
            <a:lvl1pPr>
              <a:defRPr sz="4000" b="0" i="0">
                <a:solidFill>
                  <a:schemeClr val="tx1"/>
                </a:solidFill>
                <a:latin typeface="+mj-lt"/>
                <a:cs typeface="CiscoSansTT ExtraLight" panose="020B0303020201020303" pitchFamily="34" charset="0"/>
              </a:defRPr>
            </a:lvl1pPr>
          </a:lstStyle>
          <a:p>
            <a:pPr lvl="0"/>
            <a:r>
              <a:rPr lang="en-GB"/>
              <a:t>Click to add tit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99078254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DD7838D7-04FF-1545-82C9-712D50CBA96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04681" y="2473095"/>
            <a:ext cx="3564467" cy="3037416"/>
          </a:xfrm>
          <a:prstGeom prst="rect">
            <a:avLst/>
          </a:prstGeom>
        </p:spPr>
        <p:txBody>
          <a:bodyPr/>
          <a:lstStyle>
            <a:lvl1pPr>
              <a:defRPr sz="1467" b="0" i="0">
                <a:solidFill>
                  <a:schemeClr val="tx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defRPr>
            </a:lvl1pPr>
            <a:lvl2pPr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>
              <a:lnSpc>
                <a:spcPct val="115000"/>
              </a:lnSpc>
            </a:pPr>
            <a:endParaRPr lang="en-US" sz="1467">
              <a:solidFill>
                <a:schemeClr val="tx1"/>
              </a:solidFill>
              <a:latin typeface="CiscoSansTT ExtraLight" panose="020B0303020201020303" pitchFamily="34" charset="0"/>
              <a:cs typeface="CiscoSansTT ExtraLight" panose="020B0303020201020303" pitchFamily="34" charset="0"/>
              <a:sym typeface="Helvetica Neue Light"/>
            </a:endParaRPr>
          </a:p>
        </p:txBody>
      </p:sp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611727E6-7256-D440-AD0A-11CE86E7A17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04682" y="715264"/>
            <a:ext cx="3564468" cy="1580813"/>
          </a:xfrm>
          <a:prstGeom prst="rect">
            <a:avLst/>
          </a:prstGeom>
        </p:spPr>
        <p:txBody>
          <a:bodyPr/>
          <a:lstStyle>
            <a:lvl1pPr>
              <a:defRPr sz="4000" b="0" i="0">
                <a:solidFill>
                  <a:schemeClr val="tx1"/>
                </a:solidFill>
                <a:latin typeface="+mj-lt"/>
                <a:cs typeface="CiscoSansTT ExtraLight" panose="020B0303020201020303" pitchFamily="34" charset="0"/>
              </a:defRPr>
            </a:lvl1pPr>
          </a:lstStyle>
          <a:p>
            <a:pPr lvl="0"/>
            <a:r>
              <a:rPr lang="en-GB"/>
              <a:t>Click to add tit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51593394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Top Cen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9">
            <a:extLst>
              <a:ext uri="{FF2B5EF4-FFF2-40B4-BE49-F238E27FC236}">
                <a16:creationId xmlns:a16="http://schemas.microsoft.com/office/drawing/2014/main" id="{C1246713-C040-2E42-85D6-7551D77BE60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570000" y="550633"/>
            <a:ext cx="9052000" cy="685200"/>
          </a:xfrm>
          <a:prstGeom prst="rect">
            <a:avLst/>
          </a:prstGeom>
        </p:spPr>
        <p:txBody>
          <a:bodyPr/>
          <a:lstStyle>
            <a:lvl1pPr algn="ctr">
              <a:defRPr sz="4000" b="0" i="0">
                <a:solidFill>
                  <a:schemeClr val="tx1"/>
                </a:solidFill>
                <a:latin typeface="+mj-lt"/>
                <a:cs typeface="CiscoSansTT ExtraLight" panose="020B0303020201020303" pitchFamily="34" charset="0"/>
              </a:defRPr>
            </a:lvl1pPr>
          </a:lstStyle>
          <a:p>
            <a:pPr lvl="0"/>
            <a:r>
              <a:rPr lang="en-GB"/>
              <a:t>Click to add tit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27091831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left 3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 Placeholder 14">
            <a:extLst>
              <a:ext uri="{FF2B5EF4-FFF2-40B4-BE49-F238E27FC236}">
                <a16:creationId xmlns:a16="http://schemas.microsoft.com/office/drawing/2014/main" id="{ADB48F9A-75B0-5F46-94A1-49CE344195E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9180560" y="1492480"/>
            <a:ext cx="2275416" cy="364891"/>
          </a:xfrm>
          <a:prstGeom prst="rect">
            <a:avLst/>
          </a:prstGeom>
        </p:spPr>
        <p:txBody>
          <a:bodyPr/>
          <a:lstStyle>
            <a:lvl1pPr marL="0" marR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="0" i="0">
                <a:solidFill>
                  <a:schemeClr val="accent1"/>
                </a:solidFill>
                <a:latin typeface="+mj-lt"/>
                <a:cs typeface="CiscoSansTT ExtraLight" panose="020B0303020201020303" pitchFamily="34" charset="0"/>
              </a:defRPr>
            </a:lvl1pPr>
            <a:lvl2pPr>
              <a:defRPr sz="1600" b="0" i="0">
                <a:latin typeface="CiscoSansTT ExtraLight" panose="020B0303020201020303" pitchFamily="34" charset="0"/>
                <a:cs typeface="CiscoSansTT ExtraLight" panose="020B0303020201020303" pitchFamily="34" charset="0"/>
              </a:defRPr>
            </a:lvl2pPr>
            <a:lvl3pPr>
              <a:defRPr sz="1600" b="0" i="0">
                <a:latin typeface="CiscoSansTT ExtraLight" panose="020B0303020201020303" pitchFamily="34" charset="0"/>
                <a:cs typeface="CiscoSansTT ExtraLight" panose="020B0303020201020303" pitchFamily="34" charset="0"/>
              </a:defRPr>
            </a:lvl3pPr>
            <a:lvl4pPr>
              <a:defRPr sz="1600" b="0" i="0">
                <a:latin typeface="CiscoSansTT ExtraLight" panose="020B0303020201020303" pitchFamily="34" charset="0"/>
                <a:cs typeface="CiscoSansTT ExtraLight" panose="020B0303020201020303" pitchFamily="34" charset="0"/>
              </a:defRPr>
            </a:lvl4pPr>
            <a:lvl5pPr>
              <a:defRPr sz="1600" b="0" i="0">
                <a:latin typeface="CiscoSansTT ExtraLight" panose="020B0303020201020303" pitchFamily="34" charset="0"/>
                <a:cs typeface="CiscoSansTT ExtraLight" panose="020B0303020201020303" pitchFamily="34" charset="0"/>
              </a:defRPr>
            </a:lvl5pPr>
          </a:lstStyle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lang="en-US" sz="1600" u="none" strike="noStrike" cap="none">
              <a:solidFill>
                <a:schemeClr val="accent1"/>
              </a:solidFill>
              <a:latin typeface="CiscoSansTT ExtraLight" panose="020B0303020201020303" pitchFamily="34" charset="0"/>
              <a:ea typeface="Helvetica Neue Light"/>
              <a:cs typeface="CiscoSansTT ExtraLight" panose="020B0303020201020303" pitchFamily="34" charset="0"/>
              <a:sym typeface="Helvetica Neue Light"/>
            </a:endParaRPr>
          </a:p>
        </p:txBody>
      </p:sp>
      <p:sp>
        <p:nvSpPr>
          <p:cNvPr id="19" name="Text Placeholder 12">
            <a:extLst>
              <a:ext uri="{FF2B5EF4-FFF2-40B4-BE49-F238E27FC236}">
                <a16:creationId xmlns:a16="http://schemas.microsoft.com/office/drawing/2014/main" id="{DAF50268-6A31-634C-AAB5-22721EE551F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9180560" y="1915464"/>
            <a:ext cx="2275600" cy="3282949"/>
          </a:xfrm>
          <a:prstGeom prst="rect">
            <a:avLst/>
          </a:prstGeom>
        </p:spPr>
        <p:txBody>
          <a:bodyPr/>
          <a:lstStyle>
            <a:lvl1pPr marL="0" marR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33" b="0" i="0">
                <a:solidFill>
                  <a:schemeClr val="tx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defRPr>
            </a:lvl1pPr>
            <a:lvl2pPr>
              <a:defRPr sz="1333" b="0" i="0">
                <a:latin typeface="CiscoSansTT ExtraLight" panose="020B0303020201020303" pitchFamily="34" charset="0"/>
                <a:cs typeface="CiscoSansTT ExtraLight" panose="020B0303020201020303" pitchFamily="34" charset="0"/>
              </a:defRPr>
            </a:lvl2pPr>
            <a:lvl3pPr>
              <a:defRPr sz="1333" b="0" i="0">
                <a:latin typeface="CiscoSansTT ExtraLight" panose="020B0303020201020303" pitchFamily="34" charset="0"/>
                <a:cs typeface="CiscoSansTT ExtraLight" panose="020B0303020201020303" pitchFamily="34" charset="0"/>
              </a:defRPr>
            </a:lvl3pPr>
            <a:lvl4pPr>
              <a:defRPr sz="1333" b="0" i="0">
                <a:latin typeface="CiscoSansTT ExtraLight" panose="020B0303020201020303" pitchFamily="34" charset="0"/>
                <a:cs typeface="CiscoSansTT ExtraLight" panose="020B0303020201020303" pitchFamily="34" charset="0"/>
              </a:defRPr>
            </a:lvl4pPr>
            <a:lvl5pPr>
              <a:defRPr sz="1333" b="0" i="0">
                <a:latin typeface="CiscoSansTT ExtraLight" panose="020B0303020201020303" pitchFamily="34" charset="0"/>
                <a:cs typeface="CiscoSansTT ExtraLight" panose="020B0303020201020303" pitchFamily="34" charset="0"/>
              </a:defRPr>
            </a:lvl5pPr>
          </a:lstStyle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lang="en-US" sz="1333" u="none" strike="noStrike" cap="none">
              <a:solidFill>
                <a:schemeClr val="tx1"/>
              </a:solidFill>
              <a:latin typeface="CiscoSansTT ExtraLight" panose="020B0303020201020303" pitchFamily="34" charset="0"/>
              <a:ea typeface="Helvetica Neue Light"/>
              <a:cs typeface="CiscoSansTT ExtraLight" panose="020B0303020201020303" pitchFamily="34" charset="0"/>
              <a:sym typeface="Helvetica Neue Light"/>
            </a:endParaRPr>
          </a:p>
        </p:txBody>
      </p:sp>
      <p:sp>
        <p:nvSpPr>
          <p:cNvPr id="16" name="Text Placeholder 14">
            <a:extLst>
              <a:ext uri="{FF2B5EF4-FFF2-40B4-BE49-F238E27FC236}">
                <a16:creationId xmlns:a16="http://schemas.microsoft.com/office/drawing/2014/main" id="{D2BB6F7A-7AC7-4844-8EC1-028D16E4865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765163" y="1492480"/>
            <a:ext cx="2275416" cy="364891"/>
          </a:xfrm>
          <a:prstGeom prst="rect">
            <a:avLst/>
          </a:prstGeom>
        </p:spPr>
        <p:txBody>
          <a:bodyPr/>
          <a:lstStyle>
            <a:lvl1pPr marL="0" marR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="0" i="0">
                <a:solidFill>
                  <a:schemeClr val="accent1"/>
                </a:solidFill>
                <a:latin typeface="+mj-lt"/>
                <a:cs typeface="CiscoSansTT ExtraLight" panose="020B0303020201020303" pitchFamily="34" charset="0"/>
              </a:defRPr>
            </a:lvl1pPr>
            <a:lvl2pPr>
              <a:defRPr sz="1600" b="0" i="0">
                <a:latin typeface="CiscoSansTT ExtraLight" panose="020B0303020201020303" pitchFamily="34" charset="0"/>
                <a:cs typeface="CiscoSansTT ExtraLight" panose="020B0303020201020303" pitchFamily="34" charset="0"/>
              </a:defRPr>
            </a:lvl2pPr>
            <a:lvl3pPr>
              <a:defRPr sz="1600" b="0" i="0">
                <a:latin typeface="CiscoSansTT ExtraLight" panose="020B0303020201020303" pitchFamily="34" charset="0"/>
                <a:cs typeface="CiscoSansTT ExtraLight" panose="020B0303020201020303" pitchFamily="34" charset="0"/>
              </a:defRPr>
            </a:lvl3pPr>
            <a:lvl4pPr>
              <a:defRPr sz="1600" b="0" i="0">
                <a:latin typeface="CiscoSansTT ExtraLight" panose="020B0303020201020303" pitchFamily="34" charset="0"/>
                <a:cs typeface="CiscoSansTT ExtraLight" panose="020B0303020201020303" pitchFamily="34" charset="0"/>
              </a:defRPr>
            </a:lvl4pPr>
            <a:lvl5pPr>
              <a:defRPr sz="1600" b="0" i="0">
                <a:latin typeface="CiscoSansTT ExtraLight" panose="020B0303020201020303" pitchFamily="34" charset="0"/>
                <a:cs typeface="CiscoSansTT ExtraLight" panose="020B0303020201020303" pitchFamily="34" charset="0"/>
              </a:defRPr>
            </a:lvl5pPr>
          </a:lstStyle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lang="en-US" sz="1600" u="none" strike="noStrike" cap="none">
              <a:solidFill>
                <a:schemeClr val="accent1"/>
              </a:solidFill>
              <a:latin typeface="CiscoSansTT ExtraLight" panose="020B0303020201020303" pitchFamily="34" charset="0"/>
              <a:ea typeface="Helvetica Neue Light"/>
              <a:cs typeface="CiscoSansTT ExtraLight" panose="020B0303020201020303" pitchFamily="34" charset="0"/>
              <a:sym typeface="Helvetica Neue Light"/>
            </a:endParaRPr>
          </a:p>
        </p:txBody>
      </p:sp>
      <p:sp>
        <p:nvSpPr>
          <p:cNvPr id="17" name="Text Placeholder 12">
            <a:extLst>
              <a:ext uri="{FF2B5EF4-FFF2-40B4-BE49-F238E27FC236}">
                <a16:creationId xmlns:a16="http://schemas.microsoft.com/office/drawing/2014/main" id="{5C8DFF40-598B-3646-93AC-9C973014928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765163" y="1915464"/>
            <a:ext cx="2275600" cy="3282949"/>
          </a:xfrm>
          <a:prstGeom prst="rect">
            <a:avLst/>
          </a:prstGeom>
        </p:spPr>
        <p:txBody>
          <a:bodyPr/>
          <a:lstStyle>
            <a:lvl1pPr marL="0" marR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33" b="0" i="0">
                <a:solidFill>
                  <a:schemeClr val="tx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defRPr>
            </a:lvl1pPr>
            <a:lvl2pPr>
              <a:defRPr sz="1333" b="0" i="0">
                <a:latin typeface="CiscoSansTT ExtraLight" panose="020B0303020201020303" pitchFamily="34" charset="0"/>
                <a:cs typeface="CiscoSansTT ExtraLight" panose="020B0303020201020303" pitchFamily="34" charset="0"/>
              </a:defRPr>
            </a:lvl2pPr>
            <a:lvl3pPr>
              <a:defRPr sz="1333" b="0" i="0">
                <a:latin typeface="CiscoSansTT ExtraLight" panose="020B0303020201020303" pitchFamily="34" charset="0"/>
                <a:cs typeface="CiscoSansTT ExtraLight" panose="020B0303020201020303" pitchFamily="34" charset="0"/>
              </a:defRPr>
            </a:lvl3pPr>
            <a:lvl4pPr>
              <a:defRPr sz="1333" b="0" i="0">
                <a:latin typeface="CiscoSansTT ExtraLight" panose="020B0303020201020303" pitchFamily="34" charset="0"/>
                <a:cs typeface="CiscoSansTT ExtraLight" panose="020B0303020201020303" pitchFamily="34" charset="0"/>
              </a:defRPr>
            </a:lvl4pPr>
            <a:lvl5pPr>
              <a:defRPr sz="1333" b="0" i="0">
                <a:latin typeface="CiscoSansTT ExtraLight" panose="020B0303020201020303" pitchFamily="34" charset="0"/>
                <a:cs typeface="CiscoSansTT ExtraLight" panose="020B0303020201020303" pitchFamily="34" charset="0"/>
              </a:defRPr>
            </a:lvl5pPr>
          </a:lstStyle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lang="en-US" sz="1333" u="none" strike="noStrike" cap="none">
              <a:solidFill>
                <a:schemeClr val="tx1"/>
              </a:solidFill>
              <a:latin typeface="CiscoSansTT ExtraLight" panose="020B0303020201020303" pitchFamily="34" charset="0"/>
              <a:ea typeface="Helvetica Neue Light"/>
              <a:cs typeface="CiscoSansTT ExtraLight" panose="020B0303020201020303" pitchFamily="34" charset="0"/>
              <a:sym typeface="Helvetica Neue Light"/>
            </a:endParaRP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CC157314-987F-9744-96E8-D4DE674A269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349767" y="1492480"/>
            <a:ext cx="2275416" cy="364891"/>
          </a:xfrm>
          <a:prstGeom prst="rect">
            <a:avLst/>
          </a:prstGeom>
        </p:spPr>
        <p:txBody>
          <a:bodyPr/>
          <a:lstStyle>
            <a:lvl1pPr marL="0" marR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="0" i="0">
                <a:solidFill>
                  <a:schemeClr val="accent1"/>
                </a:solidFill>
                <a:latin typeface="+mj-lt"/>
                <a:cs typeface="CiscoSansTT ExtraLight" panose="020B0303020201020303" pitchFamily="34" charset="0"/>
              </a:defRPr>
            </a:lvl1pPr>
            <a:lvl2pPr>
              <a:defRPr sz="1600" b="0" i="0">
                <a:latin typeface="CiscoSansTT ExtraLight" panose="020B0303020201020303" pitchFamily="34" charset="0"/>
                <a:cs typeface="CiscoSansTT ExtraLight" panose="020B0303020201020303" pitchFamily="34" charset="0"/>
              </a:defRPr>
            </a:lvl2pPr>
            <a:lvl3pPr>
              <a:defRPr sz="1600" b="0" i="0">
                <a:latin typeface="CiscoSansTT ExtraLight" panose="020B0303020201020303" pitchFamily="34" charset="0"/>
                <a:cs typeface="CiscoSansTT ExtraLight" panose="020B0303020201020303" pitchFamily="34" charset="0"/>
              </a:defRPr>
            </a:lvl3pPr>
            <a:lvl4pPr>
              <a:defRPr sz="1600" b="0" i="0">
                <a:latin typeface="CiscoSansTT ExtraLight" panose="020B0303020201020303" pitchFamily="34" charset="0"/>
                <a:cs typeface="CiscoSansTT ExtraLight" panose="020B0303020201020303" pitchFamily="34" charset="0"/>
              </a:defRPr>
            </a:lvl4pPr>
            <a:lvl5pPr>
              <a:defRPr sz="1600" b="0" i="0">
                <a:latin typeface="CiscoSansTT ExtraLight" panose="020B0303020201020303" pitchFamily="34" charset="0"/>
                <a:cs typeface="CiscoSansTT ExtraLight" panose="020B0303020201020303" pitchFamily="34" charset="0"/>
              </a:defRPr>
            </a:lvl5pPr>
          </a:lstStyle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lang="en-US" sz="1600" u="none" strike="noStrike" cap="none">
              <a:solidFill>
                <a:schemeClr val="accent1"/>
              </a:solidFill>
              <a:latin typeface="CiscoSansTT ExtraLight" panose="020B0303020201020303" pitchFamily="34" charset="0"/>
              <a:ea typeface="Helvetica Neue Light"/>
              <a:cs typeface="CiscoSansTT ExtraLight" panose="020B0303020201020303" pitchFamily="34" charset="0"/>
              <a:sym typeface="Helvetica Neue Light"/>
            </a:endParaRP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B0033604-EE51-8440-A7C7-387C194270F7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349767" y="1915464"/>
            <a:ext cx="2275600" cy="3282949"/>
          </a:xfrm>
          <a:prstGeom prst="rect">
            <a:avLst/>
          </a:prstGeom>
        </p:spPr>
        <p:txBody>
          <a:bodyPr/>
          <a:lstStyle>
            <a:lvl1pPr marL="0" marR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33" b="0" i="0">
                <a:solidFill>
                  <a:schemeClr val="tx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defRPr>
            </a:lvl1pPr>
            <a:lvl2pPr>
              <a:defRPr sz="1333" b="0" i="0">
                <a:latin typeface="CiscoSansTT ExtraLight" panose="020B0303020201020303" pitchFamily="34" charset="0"/>
                <a:cs typeface="CiscoSansTT ExtraLight" panose="020B0303020201020303" pitchFamily="34" charset="0"/>
              </a:defRPr>
            </a:lvl2pPr>
            <a:lvl3pPr>
              <a:defRPr sz="1333" b="0" i="0">
                <a:latin typeface="CiscoSansTT ExtraLight" panose="020B0303020201020303" pitchFamily="34" charset="0"/>
                <a:cs typeface="CiscoSansTT ExtraLight" panose="020B0303020201020303" pitchFamily="34" charset="0"/>
              </a:defRPr>
            </a:lvl3pPr>
            <a:lvl4pPr>
              <a:defRPr sz="1333" b="0" i="0">
                <a:latin typeface="CiscoSansTT ExtraLight" panose="020B0303020201020303" pitchFamily="34" charset="0"/>
                <a:cs typeface="CiscoSansTT ExtraLight" panose="020B0303020201020303" pitchFamily="34" charset="0"/>
              </a:defRPr>
            </a:lvl4pPr>
            <a:lvl5pPr>
              <a:defRPr sz="1333" b="0" i="0">
                <a:latin typeface="CiscoSansTT ExtraLight" panose="020B0303020201020303" pitchFamily="34" charset="0"/>
                <a:cs typeface="CiscoSansTT ExtraLight" panose="020B0303020201020303" pitchFamily="34" charset="0"/>
              </a:defRPr>
            </a:lvl5pPr>
          </a:lstStyle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lang="en-US" sz="1333" u="none" strike="noStrike" cap="none">
              <a:solidFill>
                <a:schemeClr val="tx1"/>
              </a:solidFill>
              <a:latin typeface="CiscoSansTT ExtraLight" panose="020B0303020201020303" pitchFamily="34" charset="0"/>
              <a:ea typeface="Helvetica Neue Light"/>
              <a:cs typeface="CiscoSansTT ExtraLight" panose="020B0303020201020303" pitchFamily="34" charset="0"/>
              <a:sym typeface="Helvetica Neue Light"/>
            </a:endParaRPr>
          </a:p>
        </p:txBody>
      </p:sp>
      <p:sp>
        <p:nvSpPr>
          <p:cNvPr id="10" name="Google Shape;951;p194">
            <a:extLst>
              <a:ext uri="{FF2B5EF4-FFF2-40B4-BE49-F238E27FC236}">
                <a16:creationId xmlns:a16="http://schemas.microsoft.com/office/drawing/2014/main" id="{203B8B17-8CA4-1147-A543-AB82EE26B066}"/>
              </a:ext>
            </a:extLst>
          </p:cNvPr>
          <p:cNvSpPr/>
          <p:nvPr userDrawn="1"/>
        </p:nvSpPr>
        <p:spPr>
          <a:xfrm>
            <a:off x="-726918" y="-811266"/>
            <a:ext cx="1453835" cy="1453835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1" name="Google Shape;951;p194">
            <a:extLst>
              <a:ext uri="{FF2B5EF4-FFF2-40B4-BE49-F238E27FC236}">
                <a16:creationId xmlns:a16="http://schemas.microsoft.com/office/drawing/2014/main" id="{40F5FFFB-2E4C-8243-958E-8BB29D304F03}"/>
              </a:ext>
            </a:extLst>
          </p:cNvPr>
          <p:cNvSpPr/>
          <p:nvPr userDrawn="1"/>
        </p:nvSpPr>
        <p:spPr>
          <a:xfrm>
            <a:off x="11453433" y="5963348"/>
            <a:ext cx="1453835" cy="1453835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6B427A47-280F-C64F-92E2-C8EAAF39C53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45320" y="1434560"/>
            <a:ext cx="3134201" cy="1580813"/>
          </a:xfrm>
          <a:prstGeom prst="rect">
            <a:avLst/>
          </a:prstGeom>
        </p:spPr>
        <p:txBody>
          <a:bodyPr/>
          <a:lstStyle>
            <a:lvl1pPr>
              <a:defRPr sz="4000" b="0" i="0">
                <a:solidFill>
                  <a:schemeClr val="tx1"/>
                </a:solidFill>
                <a:latin typeface="+mj-lt"/>
                <a:cs typeface="CiscoSansTT ExtraLight" panose="020B0303020201020303" pitchFamily="34" charset="0"/>
              </a:defRPr>
            </a:lvl1pPr>
          </a:lstStyle>
          <a:p>
            <a:pPr lvl="0"/>
            <a:r>
              <a:rPr lang="en-GB"/>
              <a:t>Click to add text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13353505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13">
            <a:extLst>
              <a:ext uri="{FF2B5EF4-FFF2-40B4-BE49-F238E27FC236}">
                <a16:creationId xmlns:a16="http://schemas.microsoft.com/office/drawing/2014/main" id="{7885747D-4304-E944-A244-C53FA0F1999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7935307" y="2219267"/>
            <a:ext cx="2952749" cy="2901949"/>
          </a:xfrm>
          <a:prstGeom prst="rect">
            <a:avLst/>
          </a:prstGeom>
        </p:spPr>
        <p:txBody>
          <a:bodyPr/>
          <a:lstStyle>
            <a:lvl1pPr>
              <a:defRPr sz="1467" b="0" i="0">
                <a:solidFill>
                  <a:schemeClr val="tx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defRPr>
            </a:lvl1pPr>
            <a:lvl2pPr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>
              <a:lnSpc>
                <a:spcPct val="115000"/>
              </a:lnSpc>
            </a:pPr>
            <a:endParaRPr lang="en-US" sz="1467">
              <a:solidFill>
                <a:schemeClr val="tx1"/>
              </a:solidFill>
              <a:latin typeface="CiscoSansTT ExtraLight" panose="020B0303020201020303" pitchFamily="34" charset="0"/>
              <a:cs typeface="CiscoSansTT ExtraLight" panose="020B0303020201020303" pitchFamily="34" charset="0"/>
            </a:endParaRPr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000153C0-C09B-4040-A129-BD7832E644C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546084" y="2219267"/>
            <a:ext cx="2952749" cy="2901949"/>
          </a:xfrm>
          <a:prstGeom prst="rect">
            <a:avLst/>
          </a:prstGeom>
        </p:spPr>
        <p:txBody>
          <a:bodyPr/>
          <a:lstStyle>
            <a:lvl1pPr>
              <a:defRPr sz="1467" b="0" i="0">
                <a:solidFill>
                  <a:schemeClr val="tx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defRPr>
            </a:lvl1pPr>
            <a:lvl2pPr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>
              <a:lnSpc>
                <a:spcPct val="115000"/>
              </a:lnSpc>
            </a:pPr>
            <a:endParaRPr lang="en-US" sz="1467">
              <a:solidFill>
                <a:schemeClr val="tx1"/>
              </a:solidFill>
              <a:latin typeface="CiscoSansTT ExtraLight" panose="020B0303020201020303" pitchFamily="34" charset="0"/>
              <a:cs typeface="CiscoSansTT ExtraLight" panose="020B0303020201020303" pitchFamily="34" charset="0"/>
            </a:endParaRP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99BAE98A-ADE0-E344-B2C4-2299BB5094F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67269" y="2126704"/>
            <a:ext cx="3491867" cy="1826683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buClr>
                <a:schemeClr val="dk2"/>
              </a:buClr>
              <a:buSzPts val="3600"/>
              <a:buFont typeface="Arial"/>
              <a:buNone/>
              <a:defRPr sz="4800" b="0" i="0">
                <a:solidFill>
                  <a:schemeClr val="tx1"/>
                </a:solidFill>
                <a:latin typeface="+mj-lt"/>
                <a:cs typeface="CiscoSansTT ExtraLight" panose="020B0303020201020303" pitchFamily="34" charset="0"/>
              </a:defRPr>
            </a:lvl1pPr>
            <a:lvl2pPr>
              <a:defRPr sz="4800"/>
            </a:lvl2pPr>
            <a:lvl3pPr>
              <a:defRPr sz="4800"/>
            </a:lvl3pPr>
            <a:lvl4pPr>
              <a:defRPr sz="4800"/>
            </a:lvl4pPr>
            <a:lvl5pPr>
              <a:defRPr sz="4800"/>
            </a:lvl5pPr>
          </a:lstStyle>
          <a:p>
            <a:pPr>
              <a:lnSpc>
                <a:spcPct val="100000"/>
              </a:lnSpc>
              <a:buClr>
                <a:schemeClr val="dk2"/>
              </a:buClr>
              <a:buSzPts val="3600"/>
              <a:buFont typeface="Arial"/>
              <a:buNone/>
            </a:pPr>
            <a:endParaRPr lang="en-US" sz="4800">
              <a:solidFill>
                <a:schemeClr val="tx1"/>
              </a:solidFill>
              <a:latin typeface="CiscoSansTT ExtraLight" panose="020B0303020201020303" pitchFamily="34" charset="0"/>
              <a:cs typeface="CiscoSansTT ExtraLight" panose="020B0303020201020303" pitchFamily="34" charset="0"/>
            </a:endParaRPr>
          </a:p>
        </p:txBody>
      </p:sp>
      <p:sp>
        <p:nvSpPr>
          <p:cNvPr id="9" name="Google Shape;951;p194">
            <a:extLst>
              <a:ext uri="{FF2B5EF4-FFF2-40B4-BE49-F238E27FC236}">
                <a16:creationId xmlns:a16="http://schemas.microsoft.com/office/drawing/2014/main" id="{A03CE8EC-2FD2-5749-84AA-831C43066273}"/>
              </a:ext>
            </a:extLst>
          </p:cNvPr>
          <p:cNvSpPr/>
          <p:nvPr userDrawn="1"/>
        </p:nvSpPr>
        <p:spPr>
          <a:xfrm>
            <a:off x="-726918" y="-811266"/>
            <a:ext cx="1453835" cy="1453835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</p:spTree>
    <p:extLst>
      <p:ext uri="{BB962C8B-B14F-4D97-AF65-F5344CB8AC3E}">
        <p14:creationId xmlns:p14="http://schemas.microsoft.com/office/powerpoint/2010/main" val="4280326583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A4B2712C-CC0A-404D-88BC-98915FC2C4D2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332842" y="4766339"/>
            <a:ext cx="3803495" cy="325967"/>
          </a:xfrm>
          <a:prstGeom prst="rect">
            <a:avLst/>
          </a:prstGeom>
        </p:spPr>
        <p:txBody>
          <a:bodyPr/>
          <a:lstStyle>
            <a:lvl1pPr>
              <a:defRPr sz="1200" b="0" i="0">
                <a:solidFill>
                  <a:schemeClr val="tx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endParaRPr lang="en-US" sz="1200">
              <a:solidFill>
                <a:schemeClr val="tx1"/>
              </a:solidFill>
              <a:latin typeface="CiscoSansTT ExtraLight" panose="020B0303020201020303" pitchFamily="34" charset="0"/>
              <a:cs typeface="CiscoSansTT ExtraLight" panose="020B0303020201020303" pitchFamily="34" charset="0"/>
              <a:sym typeface="Helvetica Neue Light"/>
            </a:endParaRPr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BA7365B6-C3C6-BA4B-A68B-FD7EB711AD5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332841" y="4469202"/>
            <a:ext cx="2292659" cy="351903"/>
          </a:xfrm>
          <a:prstGeom prst="rect">
            <a:avLst/>
          </a:prstGeom>
        </p:spPr>
        <p:txBody>
          <a:bodyPr/>
          <a:lstStyle>
            <a:lvl1pPr>
              <a:defRPr sz="1467" b="0" i="0">
                <a:solidFill>
                  <a:schemeClr val="accent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defRPr>
            </a:lvl1pPr>
            <a:lvl2pPr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endParaRPr lang="en-US" sz="1467">
              <a:solidFill>
                <a:schemeClr val="accent1"/>
              </a:solidFill>
              <a:latin typeface="CiscoSansTT ExtraLight" panose="020B0303020201020303" pitchFamily="34" charset="0"/>
              <a:ea typeface="Helvetica Neue"/>
              <a:cs typeface="CiscoSansTT ExtraLight" panose="020B0303020201020303" pitchFamily="34" charset="0"/>
              <a:sym typeface="Helvetica Neue"/>
            </a:endParaRP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F9D8C6A3-C808-5842-8D68-4766828B7B0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332842" y="1613118"/>
            <a:ext cx="4641849" cy="2874433"/>
          </a:xfrm>
          <a:prstGeom prst="rect">
            <a:avLst/>
          </a:prstGeom>
        </p:spPr>
        <p:txBody>
          <a:bodyPr/>
          <a:lstStyle>
            <a:lvl1pPr>
              <a:defRPr sz="2400" b="0" i="0">
                <a:solidFill>
                  <a:schemeClr val="tx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defRPr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endParaRPr lang="en-US" sz="2400">
              <a:solidFill>
                <a:schemeClr val="tx1"/>
              </a:solidFill>
              <a:latin typeface="CiscoSansTT ExtraLight" panose="020B0303020201020303" pitchFamily="34" charset="0"/>
              <a:cs typeface="CiscoSansTT ExtraLight" panose="020B0303020201020303" pitchFamily="34" charset="0"/>
              <a:sym typeface="Helvetica Neue Light"/>
            </a:endParaRPr>
          </a:p>
        </p:txBody>
      </p:sp>
      <p:sp>
        <p:nvSpPr>
          <p:cNvPr id="3" name="Google Shape;1064;p203">
            <a:extLst>
              <a:ext uri="{FF2B5EF4-FFF2-40B4-BE49-F238E27FC236}">
                <a16:creationId xmlns:a16="http://schemas.microsoft.com/office/drawing/2014/main" id="{2E13A727-2C68-3546-A4F1-A978192362A1}"/>
              </a:ext>
            </a:extLst>
          </p:cNvPr>
          <p:cNvSpPr/>
          <p:nvPr userDrawn="1"/>
        </p:nvSpPr>
        <p:spPr>
          <a:xfrm>
            <a:off x="10102100" y="3916733"/>
            <a:ext cx="1540800" cy="1540800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pic>
        <p:nvPicPr>
          <p:cNvPr id="4" name="Google Shape;1069;p203">
            <a:extLst>
              <a:ext uri="{FF2B5EF4-FFF2-40B4-BE49-F238E27FC236}">
                <a16:creationId xmlns:a16="http://schemas.microsoft.com/office/drawing/2014/main" id="{56CD4EE6-FAE8-0B46-B6B8-52618900608A}"/>
              </a:ext>
            </a:extLst>
          </p:cNvPr>
          <p:cNvPicPr preferRelativeResize="0"/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18763"/>
          <a:stretch/>
        </p:blipFill>
        <p:spPr>
          <a:xfrm>
            <a:off x="6898167" y="-2166865"/>
            <a:ext cx="4356400" cy="8118400"/>
          </a:xfrm>
          <a:prstGeom prst="roundRect">
            <a:avLst>
              <a:gd name="adj" fmla="val 50000"/>
            </a:avLst>
          </a:prstGeom>
          <a:noFill/>
          <a:ln>
            <a:noFill/>
          </a:ln>
        </p:spPr>
      </p:pic>
      <p:sp>
        <p:nvSpPr>
          <p:cNvPr id="6" name="Google Shape;1066;p203">
            <a:extLst>
              <a:ext uri="{FF2B5EF4-FFF2-40B4-BE49-F238E27FC236}">
                <a16:creationId xmlns:a16="http://schemas.microsoft.com/office/drawing/2014/main" id="{8DAF00E7-7D83-4847-9FE7-7FF7F7A6BB76}"/>
              </a:ext>
            </a:extLst>
          </p:cNvPr>
          <p:cNvSpPr txBox="1">
            <a:spLocks/>
          </p:cNvSpPr>
          <p:nvPr userDrawn="1"/>
        </p:nvSpPr>
        <p:spPr>
          <a:xfrm>
            <a:off x="622928" y="1190424"/>
            <a:ext cx="1168400" cy="121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n-US" sz="10666" b="1" i="0">
                <a:solidFill>
                  <a:schemeClr val="tx1"/>
                </a:solidFill>
                <a:latin typeface="CiscoSansTT" panose="020B0503020201020303" pitchFamily="34" charset="0"/>
                <a:ea typeface="Helvetica Neue"/>
                <a:cs typeface="CiscoSansTT" panose="020B0503020201020303" pitchFamily="34" charset="0"/>
                <a:sym typeface="Helvetica Neue"/>
              </a:rPr>
              <a:t>“</a:t>
            </a:r>
          </a:p>
        </p:txBody>
      </p:sp>
      <p:sp>
        <p:nvSpPr>
          <p:cNvPr id="9" name="Google Shape;1070;p203">
            <a:extLst>
              <a:ext uri="{FF2B5EF4-FFF2-40B4-BE49-F238E27FC236}">
                <a16:creationId xmlns:a16="http://schemas.microsoft.com/office/drawing/2014/main" id="{2376B22B-2BC2-A945-9FDF-1B599CD9004C}"/>
              </a:ext>
            </a:extLst>
          </p:cNvPr>
          <p:cNvSpPr/>
          <p:nvPr userDrawn="1"/>
        </p:nvSpPr>
        <p:spPr>
          <a:xfrm>
            <a:off x="6316141" y="171467"/>
            <a:ext cx="1168400" cy="116840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</p:spTree>
    <p:extLst>
      <p:ext uri="{BB962C8B-B14F-4D97-AF65-F5344CB8AC3E}">
        <p14:creationId xmlns:p14="http://schemas.microsoft.com/office/powerpoint/2010/main" val="4219079198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 Centred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 Placeholder 14">
            <a:extLst>
              <a:ext uri="{FF2B5EF4-FFF2-40B4-BE49-F238E27FC236}">
                <a16:creationId xmlns:a16="http://schemas.microsoft.com/office/drawing/2014/main" id="{ADB48F9A-75B0-5F46-94A1-49CE344195E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390061" y="1963593"/>
            <a:ext cx="2355841" cy="364891"/>
          </a:xfrm>
          <a:prstGeom prst="rect">
            <a:avLst/>
          </a:prstGeom>
        </p:spPr>
        <p:txBody>
          <a:bodyPr/>
          <a:lstStyle>
            <a:lvl1pPr marL="0" marR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="0" i="0">
                <a:solidFill>
                  <a:schemeClr val="accent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defRPr>
            </a:lvl1pPr>
            <a:lvl2pPr>
              <a:defRPr sz="1600" b="0" i="0">
                <a:latin typeface="CiscoSansTT ExtraLight" panose="020B0303020201020303" pitchFamily="34" charset="0"/>
                <a:cs typeface="CiscoSansTT ExtraLight" panose="020B0303020201020303" pitchFamily="34" charset="0"/>
              </a:defRPr>
            </a:lvl2pPr>
            <a:lvl3pPr>
              <a:defRPr sz="1600" b="0" i="0">
                <a:latin typeface="CiscoSansTT ExtraLight" panose="020B0303020201020303" pitchFamily="34" charset="0"/>
                <a:cs typeface="CiscoSansTT ExtraLight" panose="020B0303020201020303" pitchFamily="34" charset="0"/>
              </a:defRPr>
            </a:lvl3pPr>
            <a:lvl4pPr>
              <a:defRPr sz="1600" b="0" i="0">
                <a:latin typeface="CiscoSansTT ExtraLight" panose="020B0303020201020303" pitchFamily="34" charset="0"/>
                <a:cs typeface="CiscoSansTT ExtraLight" panose="020B0303020201020303" pitchFamily="34" charset="0"/>
              </a:defRPr>
            </a:lvl4pPr>
            <a:lvl5pPr>
              <a:defRPr sz="1600" b="0" i="0">
                <a:latin typeface="CiscoSansTT ExtraLight" panose="020B0303020201020303" pitchFamily="34" charset="0"/>
                <a:cs typeface="CiscoSansTT ExtraLight" panose="020B0303020201020303" pitchFamily="34" charset="0"/>
              </a:defRPr>
            </a:lvl5pPr>
          </a:lstStyle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lang="en-US" sz="1600" u="none" strike="noStrike" cap="none">
              <a:solidFill>
                <a:schemeClr val="accent1"/>
              </a:solidFill>
              <a:latin typeface="CiscoSansTT ExtraLight" panose="020B0303020201020303" pitchFamily="34" charset="0"/>
              <a:ea typeface="Helvetica Neue Light"/>
              <a:cs typeface="CiscoSansTT ExtraLight" panose="020B0303020201020303" pitchFamily="34" charset="0"/>
              <a:sym typeface="Helvetica Neue Light"/>
            </a:endParaRPr>
          </a:p>
        </p:txBody>
      </p:sp>
      <p:sp>
        <p:nvSpPr>
          <p:cNvPr id="19" name="Text Placeholder 12">
            <a:extLst>
              <a:ext uri="{FF2B5EF4-FFF2-40B4-BE49-F238E27FC236}">
                <a16:creationId xmlns:a16="http://schemas.microsoft.com/office/drawing/2014/main" id="{DAF50268-6A31-634C-AAB5-22721EE551F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390060" y="2386576"/>
            <a:ext cx="2356032" cy="3282949"/>
          </a:xfrm>
          <a:prstGeom prst="rect">
            <a:avLst/>
          </a:prstGeom>
        </p:spPr>
        <p:txBody>
          <a:bodyPr/>
          <a:lstStyle>
            <a:lvl1pPr marL="0" marR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33" b="0" i="0">
                <a:solidFill>
                  <a:schemeClr val="tx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defRPr>
            </a:lvl1pPr>
            <a:lvl2pPr>
              <a:defRPr sz="1333" b="0" i="0">
                <a:latin typeface="CiscoSansTT ExtraLight" panose="020B0303020201020303" pitchFamily="34" charset="0"/>
                <a:cs typeface="CiscoSansTT ExtraLight" panose="020B0303020201020303" pitchFamily="34" charset="0"/>
              </a:defRPr>
            </a:lvl2pPr>
            <a:lvl3pPr>
              <a:defRPr sz="1333" b="0" i="0">
                <a:latin typeface="CiscoSansTT ExtraLight" panose="020B0303020201020303" pitchFamily="34" charset="0"/>
                <a:cs typeface="CiscoSansTT ExtraLight" panose="020B0303020201020303" pitchFamily="34" charset="0"/>
              </a:defRPr>
            </a:lvl3pPr>
            <a:lvl4pPr>
              <a:defRPr sz="1333" b="0" i="0">
                <a:latin typeface="CiscoSansTT ExtraLight" panose="020B0303020201020303" pitchFamily="34" charset="0"/>
                <a:cs typeface="CiscoSansTT ExtraLight" panose="020B0303020201020303" pitchFamily="34" charset="0"/>
              </a:defRPr>
            </a:lvl4pPr>
            <a:lvl5pPr>
              <a:defRPr sz="1333" b="0" i="0">
                <a:latin typeface="CiscoSansTT ExtraLight" panose="020B0303020201020303" pitchFamily="34" charset="0"/>
                <a:cs typeface="CiscoSansTT ExtraLight" panose="020B0303020201020303" pitchFamily="34" charset="0"/>
              </a:defRPr>
            </a:lvl5pPr>
          </a:lstStyle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lang="en-US" sz="1333" u="none" strike="noStrike" cap="none">
              <a:solidFill>
                <a:schemeClr val="tx1"/>
              </a:solidFill>
              <a:latin typeface="CiscoSansTT ExtraLight" panose="020B0303020201020303" pitchFamily="34" charset="0"/>
              <a:ea typeface="Helvetica Neue Light"/>
              <a:cs typeface="CiscoSansTT ExtraLight" panose="020B0303020201020303" pitchFamily="34" charset="0"/>
              <a:sym typeface="Helvetica Neue Light"/>
            </a:endParaRPr>
          </a:p>
        </p:txBody>
      </p:sp>
      <p:sp>
        <p:nvSpPr>
          <p:cNvPr id="16" name="Text Placeholder 14">
            <a:extLst>
              <a:ext uri="{FF2B5EF4-FFF2-40B4-BE49-F238E27FC236}">
                <a16:creationId xmlns:a16="http://schemas.microsoft.com/office/drawing/2014/main" id="{D2BB6F7A-7AC7-4844-8EC1-028D16E4865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487109" y="1961765"/>
            <a:ext cx="2355841" cy="364891"/>
          </a:xfrm>
          <a:prstGeom prst="rect">
            <a:avLst/>
          </a:prstGeom>
        </p:spPr>
        <p:txBody>
          <a:bodyPr/>
          <a:lstStyle>
            <a:lvl1pPr marL="0" marR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="0" i="0">
                <a:solidFill>
                  <a:schemeClr val="accent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defRPr>
            </a:lvl1pPr>
            <a:lvl2pPr>
              <a:defRPr sz="1600" b="0" i="0">
                <a:latin typeface="CiscoSansTT ExtraLight" panose="020B0303020201020303" pitchFamily="34" charset="0"/>
                <a:cs typeface="CiscoSansTT ExtraLight" panose="020B0303020201020303" pitchFamily="34" charset="0"/>
              </a:defRPr>
            </a:lvl2pPr>
            <a:lvl3pPr>
              <a:defRPr sz="1600" b="0" i="0">
                <a:latin typeface="CiscoSansTT ExtraLight" panose="020B0303020201020303" pitchFamily="34" charset="0"/>
                <a:cs typeface="CiscoSansTT ExtraLight" panose="020B0303020201020303" pitchFamily="34" charset="0"/>
              </a:defRPr>
            </a:lvl3pPr>
            <a:lvl4pPr>
              <a:defRPr sz="1600" b="0" i="0">
                <a:latin typeface="CiscoSansTT ExtraLight" panose="020B0303020201020303" pitchFamily="34" charset="0"/>
                <a:cs typeface="CiscoSansTT ExtraLight" panose="020B0303020201020303" pitchFamily="34" charset="0"/>
              </a:defRPr>
            </a:lvl4pPr>
            <a:lvl5pPr>
              <a:defRPr sz="1600" b="0" i="0">
                <a:latin typeface="CiscoSansTT ExtraLight" panose="020B0303020201020303" pitchFamily="34" charset="0"/>
                <a:cs typeface="CiscoSansTT ExtraLight" panose="020B0303020201020303" pitchFamily="34" charset="0"/>
              </a:defRPr>
            </a:lvl5pPr>
          </a:lstStyle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lang="en-US" sz="1600" u="none" strike="noStrike" cap="none">
              <a:solidFill>
                <a:schemeClr val="accent1"/>
              </a:solidFill>
              <a:latin typeface="CiscoSansTT ExtraLight" panose="020B0303020201020303" pitchFamily="34" charset="0"/>
              <a:ea typeface="Helvetica Neue Light"/>
              <a:cs typeface="CiscoSansTT ExtraLight" panose="020B0303020201020303" pitchFamily="34" charset="0"/>
              <a:sym typeface="Helvetica Neue Light"/>
            </a:endParaRPr>
          </a:p>
        </p:txBody>
      </p:sp>
      <p:sp>
        <p:nvSpPr>
          <p:cNvPr id="17" name="Text Placeholder 12">
            <a:extLst>
              <a:ext uri="{FF2B5EF4-FFF2-40B4-BE49-F238E27FC236}">
                <a16:creationId xmlns:a16="http://schemas.microsoft.com/office/drawing/2014/main" id="{5C8DFF40-598B-3646-93AC-9C973014928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487108" y="2384748"/>
            <a:ext cx="2356032" cy="3282949"/>
          </a:xfrm>
          <a:prstGeom prst="rect">
            <a:avLst/>
          </a:prstGeom>
        </p:spPr>
        <p:txBody>
          <a:bodyPr/>
          <a:lstStyle>
            <a:lvl1pPr marL="0" marR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33" b="0" i="0">
                <a:solidFill>
                  <a:schemeClr val="tx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defRPr>
            </a:lvl1pPr>
            <a:lvl2pPr>
              <a:defRPr sz="1333" b="0" i="0">
                <a:latin typeface="CiscoSansTT ExtraLight" panose="020B0303020201020303" pitchFamily="34" charset="0"/>
                <a:cs typeface="CiscoSansTT ExtraLight" panose="020B0303020201020303" pitchFamily="34" charset="0"/>
              </a:defRPr>
            </a:lvl2pPr>
            <a:lvl3pPr>
              <a:defRPr sz="1333" b="0" i="0">
                <a:latin typeface="CiscoSansTT ExtraLight" panose="020B0303020201020303" pitchFamily="34" charset="0"/>
                <a:cs typeface="CiscoSansTT ExtraLight" panose="020B0303020201020303" pitchFamily="34" charset="0"/>
              </a:defRPr>
            </a:lvl3pPr>
            <a:lvl4pPr>
              <a:defRPr sz="1333" b="0" i="0">
                <a:latin typeface="CiscoSansTT ExtraLight" panose="020B0303020201020303" pitchFamily="34" charset="0"/>
                <a:cs typeface="CiscoSansTT ExtraLight" panose="020B0303020201020303" pitchFamily="34" charset="0"/>
              </a:defRPr>
            </a:lvl4pPr>
            <a:lvl5pPr>
              <a:defRPr sz="1333" b="0" i="0">
                <a:latin typeface="CiscoSansTT ExtraLight" panose="020B0303020201020303" pitchFamily="34" charset="0"/>
                <a:cs typeface="CiscoSansTT ExtraLight" panose="020B0303020201020303" pitchFamily="34" charset="0"/>
              </a:defRPr>
            </a:lvl5pPr>
          </a:lstStyle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lang="en-US" sz="1333" u="none" strike="noStrike" cap="none">
              <a:solidFill>
                <a:schemeClr val="tx1"/>
              </a:solidFill>
              <a:latin typeface="CiscoSansTT ExtraLight" panose="020B0303020201020303" pitchFamily="34" charset="0"/>
              <a:ea typeface="Helvetica Neue Light"/>
              <a:cs typeface="CiscoSansTT ExtraLight" panose="020B0303020201020303" pitchFamily="34" charset="0"/>
              <a:sym typeface="Helvetica Neue Light"/>
            </a:endParaRP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CC157314-987F-9744-96E8-D4DE674A269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83972" y="1961765"/>
            <a:ext cx="2356024" cy="364891"/>
          </a:xfrm>
          <a:prstGeom prst="rect">
            <a:avLst/>
          </a:prstGeom>
        </p:spPr>
        <p:txBody>
          <a:bodyPr/>
          <a:lstStyle>
            <a:lvl1pPr marL="0" marR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="0" i="0">
                <a:solidFill>
                  <a:schemeClr val="accent1"/>
                </a:solidFill>
                <a:latin typeface="+mj-lt"/>
                <a:cs typeface="CiscoSansTT ExtraLight" panose="020B0303020201020303" pitchFamily="34" charset="0"/>
              </a:defRPr>
            </a:lvl1pPr>
            <a:lvl2pPr>
              <a:defRPr sz="1600" b="0" i="0">
                <a:latin typeface="CiscoSansTT ExtraLight" panose="020B0303020201020303" pitchFamily="34" charset="0"/>
                <a:cs typeface="CiscoSansTT ExtraLight" panose="020B0303020201020303" pitchFamily="34" charset="0"/>
              </a:defRPr>
            </a:lvl2pPr>
            <a:lvl3pPr>
              <a:defRPr sz="1600" b="0" i="0">
                <a:latin typeface="CiscoSansTT ExtraLight" panose="020B0303020201020303" pitchFamily="34" charset="0"/>
                <a:cs typeface="CiscoSansTT ExtraLight" panose="020B0303020201020303" pitchFamily="34" charset="0"/>
              </a:defRPr>
            </a:lvl3pPr>
            <a:lvl4pPr>
              <a:defRPr sz="1600" b="0" i="0">
                <a:latin typeface="CiscoSansTT ExtraLight" panose="020B0303020201020303" pitchFamily="34" charset="0"/>
                <a:cs typeface="CiscoSansTT ExtraLight" panose="020B0303020201020303" pitchFamily="34" charset="0"/>
              </a:defRPr>
            </a:lvl4pPr>
            <a:lvl5pPr>
              <a:defRPr sz="1600" b="0" i="0">
                <a:latin typeface="CiscoSansTT ExtraLight" panose="020B0303020201020303" pitchFamily="34" charset="0"/>
                <a:cs typeface="CiscoSansTT ExtraLight" panose="020B0303020201020303" pitchFamily="34" charset="0"/>
              </a:defRPr>
            </a:lvl5pPr>
          </a:lstStyle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lang="en-US" sz="1600" u="none" strike="noStrike" cap="none">
              <a:solidFill>
                <a:schemeClr val="accent1"/>
              </a:solidFill>
              <a:latin typeface="CiscoSansTT ExtraLight" panose="020B0303020201020303" pitchFamily="34" charset="0"/>
              <a:ea typeface="Helvetica Neue Light"/>
              <a:cs typeface="CiscoSansTT ExtraLight" panose="020B0303020201020303" pitchFamily="34" charset="0"/>
              <a:sym typeface="Helvetica Neue Light"/>
            </a:endParaRP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B0033604-EE51-8440-A7C7-387C194270F7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83973" y="2384748"/>
            <a:ext cx="2356215" cy="3282949"/>
          </a:xfrm>
          <a:prstGeom prst="rect">
            <a:avLst/>
          </a:prstGeom>
        </p:spPr>
        <p:txBody>
          <a:bodyPr/>
          <a:lstStyle>
            <a:lvl1pPr marL="0" marR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33" b="0" i="0">
                <a:solidFill>
                  <a:schemeClr val="tx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defRPr>
            </a:lvl1pPr>
            <a:lvl2pPr>
              <a:defRPr sz="1333" b="0" i="0">
                <a:latin typeface="CiscoSansTT ExtraLight" panose="020B0303020201020303" pitchFamily="34" charset="0"/>
                <a:cs typeface="CiscoSansTT ExtraLight" panose="020B0303020201020303" pitchFamily="34" charset="0"/>
              </a:defRPr>
            </a:lvl2pPr>
            <a:lvl3pPr>
              <a:defRPr sz="1333" b="0" i="0">
                <a:latin typeface="CiscoSansTT ExtraLight" panose="020B0303020201020303" pitchFamily="34" charset="0"/>
                <a:cs typeface="CiscoSansTT ExtraLight" panose="020B0303020201020303" pitchFamily="34" charset="0"/>
              </a:defRPr>
            </a:lvl3pPr>
            <a:lvl4pPr>
              <a:defRPr sz="1333" b="0" i="0">
                <a:latin typeface="CiscoSansTT ExtraLight" panose="020B0303020201020303" pitchFamily="34" charset="0"/>
                <a:cs typeface="CiscoSansTT ExtraLight" panose="020B0303020201020303" pitchFamily="34" charset="0"/>
              </a:defRPr>
            </a:lvl4pPr>
            <a:lvl5pPr>
              <a:defRPr sz="1333" b="0" i="0">
                <a:latin typeface="CiscoSansTT ExtraLight" panose="020B0303020201020303" pitchFamily="34" charset="0"/>
                <a:cs typeface="CiscoSansTT ExtraLight" panose="020B0303020201020303" pitchFamily="34" charset="0"/>
              </a:defRPr>
            </a:lvl5pPr>
          </a:lstStyle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lang="en-US" sz="1333" u="none" strike="noStrike" cap="none">
              <a:solidFill>
                <a:schemeClr val="tx1"/>
              </a:solidFill>
              <a:latin typeface="CiscoSansTT ExtraLight" panose="020B0303020201020303" pitchFamily="34" charset="0"/>
              <a:ea typeface="Helvetica Neue Light"/>
              <a:cs typeface="CiscoSansTT ExtraLight" panose="020B0303020201020303" pitchFamily="34" charset="0"/>
              <a:sym typeface="Helvetica Neue Light"/>
            </a:endParaRPr>
          </a:p>
        </p:txBody>
      </p:sp>
      <p:sp>
        <p:nvSpPr>
          <p:cNvPr id="29" name="Text Placeholder 14">
            <a:extLst>
              <a:ext uri="{FF2B5EF4-FFF2-40B4-BE49-F238E27FC236}">
                <a16:creationId xmlns:a16="http://schemas.microsoft.com/office/drawing/2014/main" id="{09B690DE-A41E-1048-A2C8-BB275AEC32C0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9288537" y="1963593"/>
            <a:ext cx="2355841" cy="364891"/>
          </a:xfrm>
          <a:prstGeom prst="rect">
            <a:avLst/>
          </a:prstGeom>
        </p:spPr>
        <p:txBody>
          <a:bodyPr/>
          <a:lstStyle>
            <a:lvl1pPr marL="0" marR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="0" i="0">
                <a:solidFill>
                  <a:schemeClr val="accent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defRPr>
            </a:lvl1pPr>
            <a:lvl2pPr>
              <a:defRPr sz="1600" b="0" i="0">
                <a:latin typeface="CiscoSansTT ExtraLight" panose="020B0303020201020303" pitchFamily="34" charset="0"/>
                <a:cs typeface="CiscoSansTT ExtraLight" panose="020B0303020201020303" pitchFamily="34" charset="0"/>
              </a:defRPr>
            </a:lvl2pPr>
            <a:lvl3pPr>
              <a:defRPr sz="1600" b="0" i="0">
                <a:latin typeface="CiscoSansTT ExtraLight" panose="020B0303020201020303" pitchFamily="34" charset="0"/>
                <a:cs typeface="CiscoSansTT ExtraLight" panose="020B0303020201020303" pitchFamily="34" charset="0"/>
              </a:defRPr>
            </a:lvl3pPr>
            <a:lvl4pPr>
              <a:defRPr sz="1600" b="0" i="0">
                <a:latin typeface="CiscoSansTT ExtraLight" panose="020B0303020201020303" pitchFamily="34" charset="0"/>
                <a:cs typeface="CiscoSansTT ExtraLight" panose="020B0303020201020303" pitchFamily="34" charset="0"/>
              </a:defRPr>
            </a:lvl4pPr>
            <a:lvl5pPr>
              <a:defRPr sz="1600" b="0" i="0">
                <a:latin typeface="CiscoSansTT ExtraLight" panose="020B0303020201020303" pitchFamily="34" charset="0"/>
                <a:cs typeface="CiscoSansTT ExtraLight" panose="020B0303020201020303" pitchFamily="34" charset="0"/>
              </a:defRPr>
            </a:lvl5pPr>
          </a:lstStyle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lang="en-US" sz="1600" u="none" strike="noStrike" cap="none">
              <a:solidFill>
                <a:schemeClr val="accent1"/>
              </a:solidFill>
              <a:latin typeface="CiscoSansTT ExtraLight" panose="020B0303020201020303" pitchFamily="34" charset="0"/>
              <a:ea typeface="Helvetica Neue Light"/>
              <a:cs typeface="CiscoSansTT ExtraLight" panose="020B0303020201020303" pitchFamily="34" charset="0"/>
              <a:sym typeface="Helvetica Neue Light"/>
            </a:endParaRPr>
          </a:p>
        </p:txBody>
      </p:sp>
      <p:sp>
        <p:nvSpPr>
          <p:cNvPr id="30" name="Text Placeholder 12">
            <a:extLst>
              <a:ext uri="{FF2B5EF4-FFF2-40B4-BE49-F238E27FC236}">
                <a16:creationId xmlns:a16="http://schemas.microsoft.com/office/drawing/2014/main" id="{0C144F5B-B5DB-584B-BEA2-4BFA246434F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9288536" y="2386576"/>
            <a:ext cx="2356032" cy="3282949"/>
          </a:xfrm>
          <a:prstGeom prst="rect">
            <a:avLst/>
          </a:prstGeom>
        </p:spPr>
        <p:txBody>
          <a:bodyPr/>
          <a:lstStyle>
            <a:lvl1pPr marL="0" marR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333" b="0" i="0">
                <a:solidFill>
                  <a:schemeClr val="tx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defRPr>
            </a:lvl1pPr>
            <a:lvl2pPr>
              <a:defRPr sz="1333" b="0" i="0">
                <a:latin typeface="CiscoSansTT ExtraLight" panose="020B0303020201020303" pitchFamily="34" charset="0"/>
                <a:cs typeface="CiscoSansTT ExtraLight" panose="020B0303020201020303" pitchFamily="34" charset="0"/>
              </a:defRPr>
            </a:lvl2pPr>
            <a:lvl3pPr>
              <a:defRPr sz="1333" b="0" i="0">
                <a:latin typeface="CiscoSansTT ExtraLight" panose="020B0303020201020303" pitchFamily="34" charset="0"/>
                <a:cs typeface="CiscoSansTT ExtraLight" panose="020B0303020201020303" pitchFamily="34" charset="0"/>
              </a:defRPr>
            </a:lvl3pPr>
            <a:lvl4pPr>
              <a:defRPr sz="1333" b="0" i="0">
                <a:latin typeface="CiscoSansTT ExtraLight" panose="020B0303020201020303" pitchFamily="34" charset="0"/>
                <a:cs typeface="CiscoSansTT ExtraLight" panose="020B0303020201020303" pitchFamily="34" charset="0"/>
              </a:defRPr>
            </a:lvl4pPr>
            <a:lvl5pPr>
              <a:defRPr sz="1333" b="0" i="0">
                <a:latin typeface="CiscoSansTT ExtraLight" panose="020B0303020201020303" pitchFamily="34" charset="0"/>
                <a:cs typeface="CiscoSansTT ExtraLight" panose="020B0303020201020303" pitchFamily="34" charset="0"/>
              </a:defRPr>
            </a:lvl5pPr>
          </a:lstStyle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lang="en-US" sz="1333" u="none" strike="noStrike" cap="none">
              <a:solidFill>
                <a:schemeClr val="tx1"/>
              </a:solidFill>
              <a:latin typeface="CiscoSansTT ExtraLight" panose="020B0303020201020303" pitchFamily="34" charset="0"/>
              <a:ea typeface="Helvetica Neue Light"/>
              <a:cs typeface="CiscoSansTT ExtraLight" panose="020B0303020201020303" pitchFamily="34" charset="0"/>
              <a:sym typeface="Helvetica Neue Light"/>
            </a:endParaRPr>
          </a:p>
        </p:txBody>
      </p:sp>
      <p:sp>
        <p:nvSpPr>
          <p:cNvPr id="27" name="Google Shape;951;p194">
            <a:extLst>
              <a:ext uri="{FF2B5EF4-FFF2-40B4-BE49-F238E27FC236}">
                <a16:creationId xmlns:a16="http://schemas.microsoft.com/office/drawing/2014/main" id="{49D3184C-FF01-C942-8867-6F375A10E124}"/>
              </a:ext>
            </a:extLst>
          </p:cNvPr>
          <p:cNvSpPr/>
          <p:nvPr userDrawn="1"/>
        </p:nvSpPr>
        <p:spPr>
          <a:xfrm>
            <a:off x="-804610" y="-726918"/>
            <a:ext cx="1453835" cy="1453835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28" name="Google Shape;951;p194">
            <a:extLst>
              <a:ext uri="{FF2B5EF4-FFF2-40B4-BE49-F238E27FC236}">
                <a16:creationId xmlns:a16="http://schemas.microsoft.com/office/drawing/2014/main" id="{1D72B12E-4104-CC4A-A56A-68C03F1C594A}"/>
              </a:ext>
            </a:extLst>
          </p:cNvPr>
          <p:cNvSpPr/>
          <p:nvPr userDrawn="1"/>
        </p:nvSpPr>
        <p:spPr>
          <a:xfrm>
            <a:off x="11465084" y="6131084"/>
            <a:ext cx="1453835" cy="1453835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C6863CAE-A47A-E942-B621-9F5077FD9392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570000" y="550633"/>
            <a:ext cx="9052000" cy="685200"/>
          </a:xfrm>
          <a:prstGeom prst="rect">
            <a:avLst/>
          </a:prstGeom>
        </p:spPr>
        <p:txBody>
          <a:bodyPr/>
          <a:lstStyle>
            <a:lvl1pPr algn="ctr">
              <a:defRPr sz="4000" b="0" i="0">
                <a:solidFill>
                  <a:schemeClr val="tx1"/>
                </a:solidFill>
                <a:latin typeface="+mj-lt"/>
                <a:cs typeface="CiscoSansTT ExtraLight" panose="020B0303020201020303" pitchFamily="34" charset="0"/>
              </a:defRPr>
            </a:lvl1pPr>
          </a:lstStyle>
          <a:p>
            <a:pPr lvl="0"/>
            <a:r>
              <a:rPr lang="en-GB"/>
              <a:t>Click to add tit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86654786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9F867F5D-9CD7-FC4D-B4FB-2E81338228A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399462" y="1951334"/>
            <a:ext cx="4601633" cy="2190751"/>
          </a:xfrm>
          <a:prstGeom prst="rect">
            <a:avLst/>
          </a:prstGeom>
        </p:spPr>
        <p:txBody>
          <a:bodyPr/>
          <a:lstStyle>
            <a:lvl1pPr>
              <a:defRPr sz="3200" b="0" i="0">
                <a:solidFill>
                  <a:schemeClr val="tx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defRPr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endParaRPr lang="en-US" sz="3200">
              <a:solidFill>
                <a:schemeClr val="tx1"/>
              </a:solidFill>
              <a:latin typeface="CiscoSansTT ExtraLight" panose="020B0303020201020303" pitchFamily="34" charset="0"/>
              <a:cs typeface="CiscoSansTT ExtraLight" panose="020B0303020201020303" pitchFamily="34" charset="0"/>
              <a:sym typeface="Helvetica Neue Light"/>
            </a:endParaRPr>
          </a:p>
        </p:txBody>
      </p:sp>
      <p:sp>
        <p:nvSpPr>
          <p:cNvPr id="3" name="Google Shape;863;p187">
            <a:extLst>
              <a:ext uri="{FF2B5EF4-FFF2-40B4-BE49-F238E27FC236}">
                <a16:creationId xmlns:a16="http://schemas.microsoft.com/office/drawing/2014/main" id="{151FC5A8-3861-504D-9497-14566DE047D1}"/>
              </a:ext>
            </a:extLst>
          </p:cNvPr>
          <p:cNvSpPr/>
          <p:nvPr userDrawn="1"/>
        </p:nvSpPr>
        <p:spPr>
          <a:xfrm>
            <a:off x="6316141" y="171467"/>
            <a:ext cx="1168400" cy="1168400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pic>
        <p:nvPicPr>
          <p:cNvPr id="4" name="Picture 3" descr="A group of people looking at the camera&#10;&#10;Description automatically generated">
            <a:extLst>
              <a:ext uri="{FF2B5EF4-FFF2-40B4-BE49-F238E27FC236}">
                <a16:creationId xmlns:a16="http://schemas.microsoft.com/office/drawing/2014/main" id="{8F153ED1-25CD-E34C-9D3A-2987ECE4D4E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17371"/>
          <a:stretch/>
        </p:blipFill>
        <p:spPr>
          <a:xfrm>
            <a:off x="6897576" y="-2155516"/>
            <a:ext cx="4356401" cy="8121432"/>
          </a:xfrm>
          <a:prstGeom prst="roundRect">
            <a:avLst>
              <a:gd name="adj" fmla="val 50000"/>
            </a:avLst>
          </a:prstGeom>
        </p:spPr>
      </p:pic>
      <p:sp>
        <p:nvSpPr>
          <p:cNvPr id="5" name="Google Shape;858;p187">
            <a:extLst>
              <a:ext uri="{FF2B5EF4-FFF2-40B4-BE49-F238E27FC236}">
                <a16:creationId xmlns:a16="http://schemas.microsoft.com/office/drawing/2014/main" id="{D9B55988-9F6B-6A4A-A826-EE6A2266462D}"/>
              </a:ext>
            </a:extLst>
          </p:cNvPr>
          <p:cNvSpPr/>
          <p:nvPr userDrawn="1"/>
        </p:nvSpPr>
        <p:spPr>
          <a:xfrm>
            <a:off x="10396734" y="4211367"/>
            <a:ext cx="1246167" cy="1246167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7" name="Google Shape;860;p187">
            <a:extLst>
              <a:ext uri="{FF2B5EF4-FFF2-40B4-BE49-F238E27FC236}">
                <a16:creationId xmlns:a16="http://schemas.microsoft.com/office/drawing/2014/main" id="{C59DEAE6-EAD1-5842-804F-6661BC32C1FE}"/>
              </a:ext>
            </a:extLst>
          </p:cNvPr>
          <p:cNvSpPr txBox="1">
            <a:spLocks/>
          </p:cNvSpPr>
          <p:nvPr userDrawn="1"/>
        </p:nvSpPr>
        <p:spPr>
          <a:xfrm>
            <a:off x="861981" y="1697568"/>
            <a:ext cx="681567" cy="78105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n-US" sz="9600" b="1">
                <a:solidFill>
                  <a:schemeClr val="tx1"/>
                </a:solidFill>
                <a:latin typeface="CiscoSansTT" panose="020B0503020201020303" pitchFamily="34" charset="0"/>
                <a:ea typeface="Helvetica Neue"/>
                <a:cs typeface="CiscoSansTT" panose="020B0503020201020303" pitchFamily="34" charset="0"/>
                <a:sym typeface="Helvetica Neue"/>
              </a:rPr>
              <a:t>“</a:t>
            </a:r>
          </a:p>
        </p:txBody>
      </p:sp>
      <p:sp>
        <p:nvSpPr>
          <p:cNvPr id="12" name="Text Placeholder 19">
            <a:extLst>
              <a:ext uri="{FF2B5EF4-FFF2-40B4-BE49-F238E27FC236}">
                <a16:creationId xmlns:a16="http://schemas.microsoft.com/office/drawing/2014/main" id="{96A8362E-13D9-D941-B2A9-35CCB7BD3F8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375517" y="4142085"/>
            <a:ext cx="2292659" cy="351903"/>
          </a:xfrm>
          <a:prstGeom prst="rect">
            <a:avLst/>
          </a:prstGeom>
        </p:spPr>
        <p:txBody>
          <a:bodyPr/>
          <a:lstStyle>
            <a:lvl1pPr>
              <a:defRPr sz="1333" b="0" i="0">
                <a:solidFill>
                  <a:schemeClr val="accent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defRPr>
            </a:lvl1pPr>
            <a:lvl2pPr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endParaRPr lang="en-US" sz="1467">
              <a:solidFill>
                <a:schemeClr val="accent1"/>
              </a:solidFill>
              <a:latin typeface="CiscoSansTT ExtraLight" panose="020B0303020201020303" pitchFamily="34" charset="0"/>
              <a:ea typeface="Helvetica Neue"/>
              <a:cs typeface="CiscoSansTT ExtraLight" panose="020B0303020201020303" pitchFamily="34" charset="0"/>
              <a:sym typeface="Helvetica Neue"/>
            </a:endParaRPr>
          </a:p>
        </p:txBody>
      </p:sp>
    </p:spTree>
    <p:extLst>
      <p:ext uri="{BB962C8B-B14F-4D97-AF65-F5344CB8AC3E}">
        <p14:creationId xmlns:p14="http://schemas.microsoft.com/office/powerpoint/2010/main" val="168635682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100F3F9D-2E2B-4B92-9723-00F12CB5D7B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1989" cy="6858000"/>
          </a:xfrm>
          <a:prstGeom prst="rect">
            <a:avLst/>
          </a:prstGeom>
          <a:solidFill>
            <a:srgbClr val="EDF1F6"/>
          </a:solidFill>
        </p:spPr>
        <p:txBody>
          <a:bodyPr/>
          <a:lstStyle>
            <a:lvl1pPr>
              <a:defRPr>
                <a:noFill/>
              </a:defRPr>
            </a:lvl1pPr>
          </a:lstStyle>
          <a:p>
            <a:endParaRPr lang="en-US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51720427-F808-43DE-A913-D4F7F53E551D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" y="0"/>
            <a:ext cx="12196233" cy="6858000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>
                <a:noFill/>
              </a:defRPr>
            </a:lvl1pPr>
          </a:lstStyle>
          <a:p>
            <a:endParaRPr lang="en-US"/>
          </a:p>
        </p:txBody>
      </p:sp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5634DC94-63CE-4DDF-8051-D07C98B07344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239844" y="1094636"/>
            <a:ext cx="566661" cy="462027"/>
          </a:xfrm>
          <a:prstGeom prst="rect">
            <a:avLst/>
          </a:prstGeom>
          <a:blipFill>
            <a:blip r:embed="rId3"/>
            <a:stretch>
              <a:fillRect/>
            </a:stretch>
          </a:blipFill>
        </p:spPr>
        <p:txBody>
          <a:bodyPr/>
          <a:lstStyle>
            <a:lvl1pPr>
              <a:defRPr>
                <a:noFill/>
              </a:defRPr>
            </a:lvl1pPr>
          </a:lstStyle>
          <a:p>
            <a:endParaRPr lang="en-US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7BE3E084-1EFF-FE4E-B08D-9D24BFCCAEA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939987" y="4170142"/>
            <a:ext cx="3106227" cy="230717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400" b="1" i="0">
                <a:solidFill>
                  <a:schemeClr val="bg1"/>
                </a:solidFill>
                <a:latin typeface="CiscoSansTT" panose="020B0503020201020303" pitchFamily="34" charset="0"/>
                <a:cs typeface="CiscoSansTT" panose="020B0503020201020303" pitchFamily="34" charset="0"/>
              </a:defRPr>
            </a:lvl1pPr>
            <a:lvl2pPr>
              <a:defRPr sz="1467" b="1" i="0">
                <a:latin typeface="CiscoSansTT" panose="020B0503020201020303" pitchFamily="34" charset="0"/>
                <a:cs typeface="CiscoSansTT" panose="020B0503020201020303" pitchFamily="34" charset="0"/>
              </a:defRPr>
            </a:lvl2pPr>
            <a:lvl3pPr>
              <a:defRPr sz="1467" b="1" i="0">
                <a:latin typeface="CiscoSansTT" panose="020B0503020201020303" pitchFamily="34" charset="0"/>
                <a:cs typeface="CiscoSansTT" panose="020B0503020201020303" pitchFamily="34" charset="0"/>
              </a:defRPr>
            </a:lvl3pPr>
            <a:lvl4pPr>
              <a:defRPr sz="1467" b="1" i="0">
                <a:latin typeface="CiscoSansTT" panose="020B0503020201020303" pitchFamily="34" charset="0"/>
                <a:cs typeface="CiscoSansTT" panose="020B0503020201020303" pitchFamily="34" charset="0"/>
              </a:defRPr>
            </a:lvl4pPr>
            <a:lvl5pPr>
              <a:defRPr sz="1467" b="1" i="0">
                <a:latin typeface="CiscoSansTT" panose="020B0503020201020303" pitchFamily="34" charset="0"/>
                <a:cs typeface="CiscoSansTT" panose="020B0503020201020303" pitchFamily="34" charset="0"/>
              </a:defRPr>
            </a:lvl5pPr>
          </a:lstStyle>
          <a:p>
            <a:endParaRPr lang="en-US" sz="1467" b="1">
              <a:solidFill>
                <a:srgbClr val="FFFFFF"/>
              </a:solidFill>
              <a:latin typeface="CiscoSansTT" panose="020B0503020201020303" pitchFamily="34" charset="0"/>
              <a:ea typeface="Helvetica Neue"/>
              <a:cs typeface="CiscoSansTT" panose="020B0503020201020303" pitchFamily="34" charset="0"/>
              <a:sym typeface="Helvetica Neue"/>
            </a:endParaRP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752799F5-3094-F049-BD2C-563AEB1EAB4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927046" y="4427064"/>
            <a:ext cx="3111500" cy="345017"/>
          </a:xfrm>
          <a:prstGeom prst="rect">
            <a:avLst/>
          </a:prstGeom>
        </p:spPr>
        <p:txBody>
          <a:bodyPr/>
          <a:lstStyle>
            <a:lvl1pPr>
              <a:defRPr sz="1200" b="0" i="0">
                <a:solidFill>
                  <a:schemeClr val="bg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endParaRPr lang="en-US" sz="1200">
              <a:solidFill>
                <a:srgbClr val="FFFFFF"/>
              </a:solidFill>
              <a:latin typeface="CiscoSansTT ExtraLight" panose="020B0303020201020303" pitchFamily="34" charset="0"/>
              <a:cs typeface="CiscoSansTT ExtraLight" panose="020B0303020201020303" pitchFamily="34" charset="0"/>
              <a:sym typeface="Helvetica Neue Light"/>
            </a:endParaRPr>
          </a:p>
        </p:txBody>
      </p:sp>
      <p:sp>
        <p:nvSpPr>
          <p:cNvPr id="8" name="Text Placeholder 9">
            <a:extLst>
              <a:ext uri="{FF2B5EF4-FFF2-40B4-BE49-F238E27FC236}">
                <a16:creationId xmlns:a16="http://schemas.microsoft.com/office/drawing/2014/main" id="{7026F21A-7268-2643-AFAB-66A39B9C6E3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927045" y="1413718"/>
            <a:ext cx="5114800" cy="248494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0" i="0">
                <a:solidFill>
                  <a:schemeClr val="bg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defRPr>
            </a:lvl1pPr>
          </a:lstStyle>
          <a:p>
            <a:pPr lvl="0"/>
            <a:r>
              <a:rPr lang="en-GB"/>
              <a:t>Click to add title</a:t>
            </a:r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0A1A6A2-D12D-4F94-831A-110B03FB0349}"/>
              </a:ext>
            </a:extLst>
          </p:cNvPr>
          <p:cNvSpPr/>
          <p:nvPr userDrawn="1"/>
        </p:nvSpPr>
        <p:spPr>
          <a:xfrm>
            <a:off x="-1" y="-844774"/>
            <a:ext cx="12196233" cy="749580"/>
          </a:xfrm>
          <a:prstGeom prst="rect">
            <a:avLst/>
          </a:prstGeom>
          <a:solidFill>
            <a:srgbClr val="EDF1F6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2000">
                <a:solidFill>
                  <a:schemeClr val="tx1"/>
                </a:solidFill>
              </a:rPr>
              <a:t>PLEASE NOTE:</a:t>
            </a:r>
          </a:p>
          <a:p>
            <a:pPr algn="ctr"/>
            <a:r>
              <a:rPr lang="en-US" sz="2000">
                <a:solidFill>
                  <a:schemeClr val="tx1"/>
                </a:solidFill>
              </a:rPr>
              <a:t>In order to insert an image into the background, simply drag and drop your image onto the slide</a:t>
            </a:r>
          </a:p>
        </p:txBody>
      </p:sp>
    </p:spTree>
    <p:extLst>
      <p:ext uri="{BB962C8B-B14F-4D97-AF65-F5344CB8AC3E}">
        <p14:creationId xmlns:p14="http://schemas.microsoft.com/office/powerpoint/2010/main" val="2824476185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 Slide" preserve="1">
  <p:cSld name="Blank Slide">
    <p:spTree>
      <p:nvGrpSpPr>
        <p:cNvPr id="1" name="Shape 45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9363296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957;p195">
            <a:extLst>
              <a:ext uri="{FF2B5EF4-FFF2-40B4-BE49-F238E27FC236}">
                <a16:creationId xmlns:a16="http://schemas.microsoft.com/office/drawing/2014/main" id="{38CDC4C5-EB1F-754E-B80F-E2013AFBF9FC}"/>
              </a:ext>
            </a:extLst>
          </p:cNvPr>
          <p:cNvSpPr/>
          <p:nvPr userDrawn="1"/>
        </p:nvSpPr>
        <p:spPr>
          <a:xfrm>
            <a:off x="6535400" y="4941400"/>
            <a:ext cx="1297600" cy="1297600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4" name="Google Shape;958;p195">
            <a:extLst>
              <a:ext uri="{FF2B5EF4-FFF2-40B4-BE49-F238E27FC236}">
                <a16:creationId xmlns:a16="http://schemas.microsoft.com/office/drawing/2014/main" id="{DF08CEDD-0F2C-A942-94BD-41DF9AAA8B90}"/>
              </a:ext>
            </a:extLst>
          </p:cNvPr>
          <p:cNvSpPr/>
          <p:nvPr userDrawn="1"/>
        </p:nvSpPr>
        <p:spPr>
          <a:xfrm>
            <a:off x="4237667" y="709100"/>
            <a:ext cx="1297600" cy="1297600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pic>
        <p:nvPicPr>
          <p:cNvPr id="8" name="Google Shape;959;p195">
            <a:extLst>
              <a:ext uri="{FF2B5EF4-FFF2-40B4-BE49-F238E27FC236}">
                <a16:creationId xmlns:a16="http://schemas.microsoft.com/office/drawing/2014/main" id="{AC60314D-5E89-7946-B210-2399736E8BE7}"/>
              </a:ext>
            </a:extLst>
          </p:cNvPr>
          <p:cNvPicPr preferRelativeResize="0"/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191"/>
          <a:stretch/>
        </p:blipFill>
        <p:spPr>
          <a:xfrm>
            <a:off x="4359000" y="745000"/>
            <a:ext cx="3474000" cy="5368000"/>
          </a:xfrm>
          <a:prstGeom prst="roundRect">
            <a:avLst>
              <a:gd name="adj" fmla="val 50000"/>
            </a:avLst>
          </a:prstGeom>
          <a:noFill/>
          <a:ln>
            <a:noFill/>
          </a:ln>
        </p:spPr>
      </p:pic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5DC447DE-BEC9-FA47-8232-E0823E38597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86863" y="1422708"/>
            <a:ext cx="3564468" cy="1580813"/>
          </a:xfrm>
          <a:prstGeom prst="rect">
            <a:avLst/>
          </a:prstGeom>
        </p:spPr>
        <p:txBody>
          <a:bodyPr/>
          <a:lstStyle>
            <a:lvl1pPr>
              <a:defRPr sz="4000" b="0" i="0">
                <a:solidFill>
                  <a:schemeClr val="tx1"/>
                </a:solidFill>
                <a:latin typeface="+mj-lt"/>
                <a:cs typeface="CiscoSansTT ExtraLight" panose="020B0303020201020303" pitchFamily="34" charset="0"/>
              </a:defRPr>
            </a:lvl1pPr>
          </a:lstStyle>
          <a:p>
            <a:pPr lvl="0"/>
            <a:r>
              <a:rPr lang="en-GB"/>
              <a:t>Click to add title</a:t>
            </a:r>
            <a:endParaRPr lang="en-US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A9D61D35-8427-9949-9B05-2550B648C3E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254588" y="1675482"/>
            <a:ext cx="2889251" cy="435817"/>
          </a:xfrm>
          <a:prstGeom prst="rect">
            <a:avLst/>
          </a:prstGeom>
        </p:spPr>
        <p:txBody>
          <a:bodyPr/>
          <a:lstStyle>
            <a:lvl1pPr>
              <a:defRPr sz="2133" b="0" i="0">
                <a:solidFill>
                  <a:schemeClr val="tx1"/>
                </a:solidFill>
                <a:latin typeface="+mj-lt"/>
                <a:cs typeface="CiscoSansTT ExtraLight" panose="020B0303020201020303" pitchFamily="34" charset="0"/>
              </a:defRPr>
            </a:lvl1pPr>
            <a:lvl2pPr>
              <a:defRPr sz="2133" b="0" i="0">
                <a:solidFill>
                  <a:schemeClr val="tx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defRPr>
            </a:lvl2pPr>
            <a:lvl3pPr>
              <a:defRPr sz="2133" b="0" i="0">
                <a:solidFill>
                  <a:schemeClr val="tx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defRPr>
            </a:lvl3pPr>
            <a:lvl4pPr>
              <a:defRPr sz="2133" b="0" i="0">
                <a:solidFill>
                  <a:schemeClr val="tx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defRPr>
            </a:lvl4pPr>
            <a:lvl5pPr>
              <a:defRPr sz="2133" b="0" i="0">
                <a:solidFill>
                  <a:schemeClr val="tx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defRPr>
            </a:lvl5pPr>
          </a:lstStyle>
          <a:p>
            <a:pPr lvl="0"/>
            <a:r>
              <a:rPr lang="en-GB"/>
              <a:t>Lorem ipsum </a:t>
            </a:r>
            <a:r>
              <a:rPr lang="en-GB" err="1"/>
              <a:t>dolor</a:t>
            </a:r>
            <a:r>
              <a:rPr lang="en-GB"/>
              <a:t> sit</a:t>
            </a:r>
            <a:endParaRPr lang="en-US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26A78A80-1FC8-2B49-852C-6E8866752DC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254588" y="2583051"/>
            <a:ext cx="2889251" cy="3529949"/>
          </a:xfrm>
          <a:prstGeom prst="rect">
            <a:avLst/>
          </a:prstGeom>
        </p:spPr>
        <p:txBody>
          <a:bodyPr/>
          <a:lstStyle>
            <a:lvl1pPr marL="228589" indent="-228589">
              <a:lnSpc>
                <a:spcPct val="150000"/>
              </a:lnSpc>
              <a:buClr>
                <a:schemeClr val="accent5"/>
              </a:buClr>
              <a:buFont typeface="Arial" panose="020B0604020202020204" pitchFamily="34" charset="0"/>
              <a:buChar char="•"/>
              <a:defRPr sz="1467">
                <a:solidFill>
                  <a:schemeClr val="tx1"/>
                </a:solidFill>
                <a:latin typeface="+mn-lt"/>
              </a:defRPr>
            </a:lvl1pPr>
            <a:lvl2pPr marL="228589" indent="-228589">
              <a:lnSpc>
                <a:spcPct val="150000"/>
              </a:lnSpc>
              <a:buClr>
                <a:schemeClr val="accent5"/>
              </a:buClr>
              <a:buFont typeface="Arial" panose="020B0604020202020204" pitchFamily="34" charset="0"/>
              <a:buChar char="•"/>
              <a:defRPr sz="1467">
                <a:solidFill>
                  <a:schemeClr val="tx1"/>
                </a:solidFill>
                <a:latin typeface="+mn-lt"/>
              </a:defRPr>
            </a:lvl2pPr>
            <a:lvl3pPr marL="228589" indent="-228589">
              <a:lnSpc>
                <a:spcPct val="150000"/>
              </a:lnSpc>
              <a:buClr>
                <a:schemeClr val="accent5"/>
              </a:buClr>
              <a:buFont typeface="Arial" panose="020B0604020202020204" pitchFamily="34" charset="0"/>
              <a:buChar char="•"/>
              <a:defRPr sz="1467">
                <a:solidFill>
                  <a:schemeClr val="tx1"/>
                </a:solidFill>
                <a:latin typeface="+mn-lt"/>
              </a:defRPr>
            </a:lvl3pPr>
            <a:lvl4pPr marL="228589" indent="-228589">
              <a:lnSpc>
                <a:spcPct val="150000"/>
              </a:lnSpc>
              <a:buClr>
                <a:schemeClr val="accent5"/>
              </a:buClr>
              <a:buFont typeface="Arial" panose="020B0604020202020204" pitchFamily="34" charset="0"/>
              <a:buChar char="•"/>
              <a:defRPr sz="1467">
                <a:solidFill>
                  <a:schemeClr val="tx1"/>
                </a:solidFill>
                <a:latin typeface="+mn-lt"/>
              </a:defRPr>
            </a:lvl4pPr>
            <a:lvl5pPr marL="228589" indent="-228589">
              <a:lnSpc>
                <a:spcPct val="150000"/>
              </a:lnSpc>
              <a:buClr>
                <a:schemeClr val="accent5"/>
              </a:buClr>
              <a:buFont typeface="Arial" panose="020B0604020202020204" pitchFamily="34" charset="0"/>
              <a:buChar char="•"/>
              <a:defRPr sz="1467">
                <a:solidFill>
                  <a:schemeClr val="tx1"/>
                </a:solidFill>
                <a:latin typeface="+mn-lt"/>
              </a:defRPr>
            </a:lvl5pPr>
          </a:lstStyle>
          <a:p>
            <a:pPr lvl="0"/>
            <a:r>
              <a:rPr lang="en-GB"/>
              <a:t>Insert bullet list here</a:t>
            </a:r>
          </a:p>
          <a:p>
            <a:pPr lvl="0"/>
            <a:r>
              <a:rPr lang="en-GB"/>
              <a:t>Insert bullet list here</a:t>
            </a:r>
          </a:p>
          <a:p>
            <a:pPr lvl="0"/>
            <a:r>
              <a:rPr lang="en-GB"/>
              <a:t>Insert bullet list here</a:t>
            </a:r>
          </a:p>
          <a:p>
            <a:pPr lvl="0"/>
            <a:r>
              <a:rPr lang="en-GB"/>
              <a:t>Insert bullet list here</a:t>
            </a:r>
            <a:endParaRPr lang="en-US"/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64457382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oogle Shape;1008;p199">
            <a:extLst>
              <a:ext uri="{FF2B5EF4-FFF2-40B4-BE49-F238E27FC236}">
                <a16:creationId xmlns:a16="http://schemas.microsoft.com/office/drawing/2014/main" id="{52E3CD38-E667-504D-9CD8-9AAE3C3F9C1E}"/>
              </a:ext>
            </a:extLst>
          </p:cNvPr>
          <p:cNvGrpSpPr/>
          <p:nvPr userDrawn="1"/>
        </p:nvGrpSpPr>
        <p:grpSpPr>
          <a:xfrm>
            <a:off x="5606958" y="1436773"/>
            <a:ext cx="1653295" cy="1653200"/>
            <a:chOff x="4205217" y="1077580"/>
            <a:chExt cx="1239971" cy="1239900"/>
          </a:xfrm>
        </p:grpSpPr>
        <p:sp>
          <p:nvSpPr>
            <p:cNvPr id="4" name="Google Shape;1009;p199">
              <a:extLst>
                <a:ext uri="{FF2B5EF4-FFF2-40B4-BE49-F238E27FC236}">
                  <a16:creationId xmlns:a16="http://schemas.microsoft.com/office/drawing/2014/main" id="{E92529BD-D48D-2541-8DAB-5657C05148B8}"/>
                </a:ext>
              </a:extLst>
            </p:cNvPr>
            <p:cNvSpPr/>
            <p:nvPr/>
          </p:nvSpPr>
          <p:spPr>
            <a:xfrm>
              <a:off x="4205217" y="1077580"/>
              <a:ext cx="1239900" cy="1239900"/>
            </a:xfrm>
            <a:prstGeom prst="ellipse">
              <a:avLst/>
            </a:prstGeom>
            <a:noFill/>
            <a:ln w="28575" cap="flat" cmpd="sng">
              <a:solidFill>
                <a:srgbClr val="ECF1F7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5" name="Google Shape;1010;p199">
              <a:extLst>
                <a:ext uri="{FF2B5EF4-FFF2-40B4-BE49-F238E27FC236}">
                  <a16:creationId xmlns:a16="http://schemas.microsoft.com/office/drawing/2014/main" id="{23B62289-50A0-5E4B-9685-00BCCB992C3B}"/>
                </a:ext>
              </a:extLst>
            </p:cNvPr>
            <p:cNvSpPr/>
            <p:nvPr/>
          </p:nvSpPr>
          <p:spPr>
            <a:xfrm>
              <a:off x="4829272" y="1077580"/>
              <a:ext cx="615916" cy="651177"/>
            </a:xfrm>
            <a:custGeom>
              <a:avLst/>
              <a:gdLst/>
              <a:ahLst/>
              <a:cxnLst/>
              <a:rect l="l" t="t" r="r" b="b"/>
              <a:pathLst>
                <a:path w="132" h="140" extrusionOk="0">
                  <a:moveTo>
                    <a:pt x="0" y="0"/>
                  </a:moveTo>
                  <a:cubicBezTo>
                    <a:pt x="73" y="0"/>
                    <a:pt x="132" y="60"/>
                    <a:pt x="132" y="133"/>
                  </a:cubicBezTo>
                  <a:cubicBezTo>
                    <a:pt x="132" y="136"/>
                    <a:pt x="132" y="137"/>
                    <a:pt x="132" y="140"/>
                  </a:cubicBezTo>
                </a:path>
              </a:pathLst>
            </a:custGeom>
            <a:noFill/>
            <a:ln w="50800" cap="rnd" cmpd="sng">
              <a:solidFill>
                <a:schemeClr val="accent1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sp>
        <p:nvSpPr>
          <p:cNvPr id="13" name="Google Shape;1018;p199">
            <a:extLst>
              <a:ext uri="{FF2B5EF4-FFF2-40B4-BE49-F238E27FC236}">
                <a16:creationId xmlns:a16="http://schemas.microsoft.com/office/drawing/2014/main" id="{B3FCE5BD-16DD-E149-81B9-1E2EAB7D12B7}"/>
              </a:ext>
            </a:extLst>
          </p:cNvPr>
          <p:cNvSpPr/>
          <p:nvPr userDrawn="1"/>
        </p:nvSpPr>
        <p:spPr>
          <a:xfrm>
            <a:off x="-664967" y="-787367"/>
            <a:ext cx="1791600" cy="1791600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grpSp>
        <p:nvGrpSpPr>
          <p:cNvPr id="16" name="Google Shape;1023;p199">
            <a:extLst>
              <a:ext uri="{FF2B5EF4-FFF2-40B4-BE49-F238E27FC236}">
                <a16:creationId xmlns:a16="http://schemas.microsoft.com/office/drawing/2014/main" id="{7976341F-90B2-1F4D-B00B-83709EBA9ABB}"/>
              </a:ext>
            </a:extLst>
          </p:cNvPr>
          <p:cNvGrpSpPr/>
          <p:nvPr userDrawn="1"/>
        </p:nvGrpSpPr>
        <p:grpSpPr>
          <a:xfrm>
            <a:off x="5631936" y="3925784"/>
            <a:ext cx="1614191" cy="1610195"/>
            <a:chOff x="7942336" y="2094288"/>
            <a:chExt cx="727200" cy="725400"/>
          </a:xfrm>
        </p:grpSpPr>
        <p:sp>
          <p:nvSpPr>
            <p:cNvPr id="17" name="Google Shape;1024;p199">
              <a:extLst>
                <a:ext uri="{FF2B5EF4-FFF2-40B4-BE49-F238E27FC236}">
                  <a16:creationId xmlns:a16="http://schemas.microsoft.com/office/drawing/2014/main" id="{AECEAEFC-E7A4-2B4E-8D9D-3FB331D5EDAE}"/>
                </a:ext>
              </a:extLst>
            </p:cNvPr>
            <p:cNvSpPr/>
            <p:nvPr/>
          </p:nvSpPr>
          <p:spPr>
            <a:xfrm>
              <a:off x="7942336" y="2094288"/>
              <a:ext cx="727200" cy="725400"/>
            </a:xfrm>
            <a:prstGeom prst="ellipse">
              <a:avLst/>
            </a:prstGeom>
            <a:noFill/>
            <a:ln w="28575" cap="flat" cmpd="sng">
              <a:solidFill>
                <a:srgbClr val="ECF1F7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8" name="Google Shape;1025;p199">
              <a:extLst>
                <a:ext uri="{FF2B5EF4-FFF2-40B4-BE49-F238E27FC236}">
                  <a16:creationId xmlns:a16="http://schemas.microsoft.com/office/drawing/2014/main" id="{7231C743-3685-844B-A583-A6D4408168D6}"/>
                </a:ext>
              </a:extLst>
            </p:cNvPr>
            <p:cNvSpPr/>
            <p:nvPr/>
          </p:nvSpPr>
          <p:spPr>
            <a:xfrm>
              <a:off x="7942336" y="2094288"/>
              <a:ext cx="723900" cy="723900"/>
            </a:xfrm>
            <a:custGeom>
              <a:avLst/>
              <a:gdLst/>
              <a:ahLst/>
              <a:cxnLst/>
              <a:rect l="l" t="t" r="r" b="b"/>
              <a:pathLst>
                <a:path w="265" h="265" extrusionOk="0">
                  <a:moveTo>
                    <a:pt x="132" y="0"/>
                  </a:moveTo>
                  <a:cubicBezTo>
                    <a:pt x="206" y="0"/>
                    <a:pt x="265" y="60"/>
                    <a:pt x="265" y="133"/>
                  </a:cubicBezTo>
                  <a:cubicBezTo>
                    <a:pt x="265" y="206"/>
                    <a:pt x="206" y="265"/>
                    <a:pt x="132" y="265"/>
                  </a:cubicBezTo>
                  <a:cubicBezTo>
                    <a:pt x="59" y="265"/>
                    <a:pt x="0" y="206"/>
                    <a:pt x="0" y="133"/>
                  </a:cubicBezTo>
                  <a:cubicBezTo>
                    <a:pt x="0" y="118"/>
                    <a:pt x="2" y="106"/>
                    <a:pt x="6" y="92"/>
                  </a:cubicBezTo>
                </a:path>
              </a:pathLst>
            </a:custGeom>
            <a:noFill/>
            <a:ln w="50800" cap="rnd" cmpd="sng">
              <a:solidFill>
                <a:schemeClr val="accent5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sp>
        <p:nvSpPr>
          <p:cNvPr id="19" name="Text Placeholder 9">
            <a:extLst>
              <a:ext uri="{FF2B5EF4-FFF2-40B4-BE49-F238E27FC236}">
                <a16:creationId xmlns:a16="http://schemas.microsoft.com/office/drawing/2014/main" id="{6E44A878-C317-A348-88B7-2D327A1F56A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88870" y="1481850"/>
            <a:ext cx="3564468" cy="1218588"/>
          </a:xfrm>
          <a:prstGeom prst="rect">
            <a:avLst/>
          </a:prstGeom>
        </p:spPr>
        <p:txBody>
          <a:bodyPr/>
          <a:lstStyle>
            <a:lvl1pPr>
              <a:defRPr sz="4000" b="0" i="0">
                <a:solidFill>
                  <a:schemeClr val="tx1"/>
                </a:solidFill>
                <a:latin typeface="+mj-lt"/>
                <a:cs typeface="CiscoSansTT ExtraLight" panose="020B0303020201020303" pitchFamily="34" charset="0"/>
              </a:defRPr>
            </a:lvl1pPr>
          </a:lstStyle>
          <a:p>
            <a:pPr lvl="0"/>
            <a:r>
              <a:rPr lang="en-GB"/>
              <a:t>Click to add title</a:t>
            </a:r>
            <a:endParaRPr lang="en-US"/>
          </a:p>
        </p:txBody>
      </p:sp>
      <p:sp>
        <p:nvSpPr>
          <p:cNvPr id="20" name="Text Placeholder 13">
            <a:extLst>
              <a:ext uri="{FF2B5EF4-FFF2-40B4-BE49-F238E27FC236}">
                <a16:creationId xmlns:a16="http://schemas.microsoft.com/office/drawing/2014/main" id="{F4D9ED7A-BB3E-2B4A-B3E6-67298077B32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88870" y="3285201"/>
            <a:ext cx="3068732" cy="361951"/>
          </a:xfrm>
          <a:prstGeom prst="rect">
            <a:avLst/>
          </a:prstGeom>
        </p:spPr>
        <p:txBody>
          <a:bodyPr/>
          <a:lstStyle>
            <a:lvl1pPr>
              <a:defRPr sz="2133" b="0" i="0">
                <a:solidFill>
                  <a:schemeClr val="accent1"/>
                </a:solidFill>
                <a:latin typeface="+mj-lt"/>
                <a:cs typeface="CiscoSansTT ExtraLight" panose="020B0303020201020303" pitchFamily="34" charset="0"/>
              </a:defRPr>
            </a:lvl1pPr>
            <a:lvl2pPr>
              <a:defRPr sz="2133"/>
            </a:lvl2pPr>
            <a:lvl3pPr>
              <a:defRPr sz="2133"/>
            </a:lvl3pPr>
            <a:lvl4pPr>
              <a:defRPr sz="2133"/>
            </a:lvl4pPr>
            <a:lvl5pPr>
              <a:defRPr sz="2133"/>
            </a:lvl5pPr>
          </a:lstStyle>
          <a:p>
            <a:r>
              <a:rPr lang="en-US" sz="2133">
                <a:solidFill>
                  <a:schemeClr val="accent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  <a:sym typeface="Helvetica Neue Light"/>
              </a:rPr>
              <a:t>Lorem ipsum dolor sit </a:t>
            </a: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3FBA4D0F-D7D2-154C-9B95-4B225525BEF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88434" y="3826935"/>
            <a:ext cx="3237673" cy="1337733"/>
          </a:xfrm>
          <a:prstGeom prst="rect">
            <a:avLst/>
          </a:prstGeom>
        </p:spPr>
        <p:txBody>
          <a:bodyPr/>
          <a:lstStyle>
            <a:lvl1pPr>
              <a:defRPr sz="1467" b="0" i="0">
                <a:solidFill>
                  <a:schemeClr val="tx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defRPr>
            </a:lvl1pPr>
          </a:lstStyle>
          <a:p>
            <a:pPr lvl="0"/>
            <a:r>
              <a:rPr lang="en-GB"/>
              <a:t>Click to add text</a:t>
            </a:r>
            <a:endParaRPr lang="en-US"/>
          </a:p>
        </p:txBody>
      </p:sp>
      <p:sp>
        <p:nvSpPr>
          <p:cNvPr id="25" name="Text Placeholder 13">
            <a:extLst>
              <a:ext uri="{FF2B5EF4-FFF2-40B4-BE49-F238E27FC236}">
                <a16:creationId xmlns:a16="http://schemas.microsoft.com/office/drawing/2014/main" id="{54C8725D-7DE2-5B43-B761-3CEBF82BB8E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591835" y="1732267"/>
            <a:ext cx="3068732" cy="361951"/>
          </a:xfrm>
          <a:prstGeom prst="rect">
            <a:avLst/>
          </a:prstGeom>
        </p:spPr>
        <p:txBody>
          <a:bodyPr/>
          <a:lstStyle>
            <a:lvl1pPr>
              <a:defRPr sz="2133" b="0" i="0">
                <a:solidFill>
                  <a:schemeClr val="accent1"/>
                </a:solidFill>
                <a:latin typeface="+mj-lt"/>
                <a:cs typeface="CiscoSansTT ExtraLight" panose="020B0303020201020303" pitchFamily="34" charset="0"/>
              </a:defRPr>
            </a:lvl1pPr>
            <a:lvl2pPr>
              <a:defRPr sz="2133"/>
            </a:lvl2pPr>
            <a:lvl3pPr>
              <a:defRPr sz="2133"/>
            </a:lvl3pPr>
            <a:lvl4pPr>
              <a:defRPr sz="2133"/>
            </a:lvl4pPr>
            <a:lvl5pPr>
              <a:defRPr sz="2133"/>
            </a:lvl5pPr>
          </a:lstStyle>
          <a:p>
            <a:r>
              <a:rPr lang="en-US" sz="2133">
                <a:solidFill>
                  <a:schemeClr val="accent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  <a:sym typeface="Helvetica Neue Light"/>
              </a:rPr>
              <a:t>Lorem ipsum dolor sit </a:t>
            </a:r>
          </a:p>
        </p:txBody>
      </p:sp>
      <p:sp>
        <p:nvSpPr>
          <p:cNvPr id="26" name="Text Placeholder 21">
            <a:extLst>
              <a:ext uri="{FF2B5EF4-FFF2-40B4-BE49-F238E27FC236}">
                <a16:creationId xmlns:a16="http://schemas.microsoft.com/office/drawing/2014/main" id="{845E5978-C0B6-8843-A6F8-4ECD19F3A62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591400" y="2274001"/>
            <a:ext cx="3237673" cy="689747"/>
          </a:xfrm>
          <a:prstGeom prst="rect">
            <a:avLst/>
          </a:prstGeom>
        </p:spPr>
        <p:txBody>
          <a:bodyPr/>
          <a:lstStyle>
            <a:lvl1pPr>
              <a:defRPr sz="1467" b="0" i="0">
                <a:solidFill>
                  <a:schemeClr val="tx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defRPr>
            </a:lvl1pPr>
          </a:lstStyle>
          <a:p>
            <a:pPr lvl="0"/>
            <a:r>
              <a:rPr lang="en-GB"/>
              <a:t>Click to add text</a:t>
            </a:r>
            <a:endParaRPr lang="en-US"/>
          </a:p>
        </p:txBody>
      </p:sp>
      <p:sp>
        <p:nvSpPr>
          <p:cNvPr id="31" name="Text Placeholder 13">
            <a:extLst>
              <a:ext uri="{FF2B5EF4-FFF2-40B4-BE49-F238E27FC236}">
                <a16:creationId xmlns:a16="http://schemas.microsoft.com/office/drawing/2014/main" id="{9CE23E42-64D7-D545-AE56-C6DD0B58449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7591835" y="4230967"/>
            <a:ext cx="3068732" cy="361951"/>
          </a:xfrm>
          <a:prstGeom prst="rect">
            <a:avLst/>
          </a:prstGeom>
        </p:spPr>
        <p:txBody>
          <a:bodyPr/>
          <a:lstStyle>
            <a:lvl1pPr>
              <a:defRPr sz="2133" b="0" i="0">
                <a:solidFill>
                  <a:schemeClr val="accent1"/>
                </a:solidFill>
                <a:latin typeface="+mj-lt"/>
                <a:cs typeface="CiscoSansTT ExtraLight" panose="020B0303020201020303" pitchFamily="34" charset="0"/>
              </a:defRPr>
            </a:lvl1pPr>
            <a:lvl2pPr>
              <a:defRPr sz="2133"/>
            </a:lvl2pPr>
            <a:lvl3pPr>
              <a:defRPr sz="2133"/>
            </a:lvl3pPr>
            <a:lvl4pPr>
              <a:defRPr sz="2133"/>
            </a:lvl4pPr>
            <a:lvl5pPr>
              <a:defRPr sz="2133"/>
            </a:lvl5pPr>
          </a:lstStyle>
          <a:p>
            <a:r>
              <a:rPr lang="en-US" sz="2133">
                <a:solidFill>
                  <a:schemeClr val="accent5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  <a:sym typeface="Helvetica Neue Light"/>
              </a:rPr>
              <a:t>Lorem ipsum dolor sit </a:t>
            </a:r>
          </a:p>
        </p:txBody>
      </p:sp>
      <p:sp>
        <p:nvSpPr>
          <p:cNvPr id="32" name="Text Placeholder 21">
            <a:extLst>
              <a:ext uri="{FF2B5EF4-FFF2-40B4-BE49-F238E27FC236}">
                <a16:creationId xmlns:a16="http://schemas.microsoft.com/office/drawing/2014/main" id="{5F3F412E-0E0F-9348-8D36-BEFBF11BDB9E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591400" y="4772701"/>
            <a:ext cx="3237673" cy="689747"/>
          </a:xfrm>
          <a:prstGeom prst="rect">
            <a:avLst/>
          </a:prstGeom>
        </p:spPr>
        <p:txBody>
          <a:bodyPr/>
          <a:lstStyle>
            <a:lvl1pPr>
              <a:defRPr sz="1467" b="0" i="0">
                <a:solidFill>
                  <a:schemeClr val="tx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defRPr>
            </a:lvl1pPr>
          </a:lstStyle>
          <a:p>
            <a:pPr lvl="0"/>
            <a:r>
              <a:rPr lang="en-GB"/>
              <a:t>Click to add text</a:t>
            </a:r>
            <a:endParaRPr lang="en-US"/>
          </a:p>
        </p:txBody>
      </p:sp>
      <p:sp>
        <p:nvSpPr>
          <p:cNvPr id="37" name="Text Placeholder 34">
            <a:extLst>
              <a:ext uri="{FF2B5EF4-FFF2-40B4-BE49-F238E27FC236}">
                <a16:creationId xmlns:a16="http://schemas.microsoft.com/office/drawing/2014/main" id="{C6AD9C39-3CA2-634F-9D66-4376102C23C4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925867" y="4435536"/>
            <a:ext cx="1131616" cy="711200"/>
          </a:xfrm>
          <a:prstGeom prst="rect">
            <a:avLst/>
          </a:prstGeom>
        </p:spPr>
        <p:txBody>
          <a:bodyPr/>
          <a:lstStyle>
            <a:lvl1pPr>
              <a:defRPr sz="3200" b="0" i="0">
                <a:solidFill>
                  <a:schemeClr val="accent5"/>
                </a:solidFill>
                <a:latin typeface="CiscoSansTT Light" panose="020B0503020201020303" pitchFamily="34" charset="0"/>
                <a:cs typeface="CiscoSansTT Light" panose="020B0503020201020303" pitchFamily="34" charset="0"/>
              </a:defRPr>
            </a:lvl1pPr>
          </a:lstStyle>
          <a:p>
            <a:pPr lvl="0"/>
            <a:r>
              <a:rPr lang="en-GB"/>
              <a:t>80%</a:t>
            </a:r>
            <a:endParaRPr lang="en-US"/>
          </a:p>
        </p:txBody>
      </p:sp>
      <p:sp>
        <p:nvSpPr>
          <p:cNvPr id="38" name="Text Placeholder 34">
            <a:extLst>
              <a:ext uri="{FF2B5EF4-FFF2-40B4-BE49-F238E27FC236}">
                <a16:creationId xmlns:a16="http://schemas.microsoft.com/office/drawing/2014/main" id="{6C93B04A-1E80-1C40-9B3E-5A436450F6C1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867748" y="1968220"/>
            <a:ext cx="1131616" cy="711200"/>
          </a:xfrm>
          <a:prstGeom prst="rect">
            <a:avLst/>
          </a:prstGeom>
        </p:spPr>
        <p:txBody>
          <a:bodyPr/>
          <a:lstStyle>
            <a:lvl1pPr>
              <a:defRPr sz="3200" b="0" i="0">
                <a:solidFill>
                  <a:schemeClr val="accent1"/>
                </a:solidFill>
                <a:latin typeface="CiscoSansTT Light" panose="020B0503020201020303" pitchFamily="34" charset="0"/>
                <a:cs typeface="CiscoSansTT Light" panose="020B0503020201020303" pitchFamily="34" charset="0"/>
              </a:defRPr>
            </a:lvl1pPr>
          </a:lstStyle>
          <a:p>
            <a:pPr lvl="0"/>
            <a:r>
              <a:rPr lang="en-GB"/>
              <a:t>20%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16112743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Google Shape;1078;p204">
            <a:extLst>
              <a:ext uri="{FF2B5EF4-FFF2-40B4-BE49-F238E27FC236}">
                <a16:creationId xmlns:a16="http://schemas.microsoft.com/office/drawing/2014/main" id="{26400E5D-158F-5542-8030-E162A4B799CF}"/>
              </a:ext>
            </a:extLst>
          </p:cNvPr>
          <p:cNvSpPr txBox="1"/>
          <p:nvPr userDrawn="1"/>
        </p:nvSpPr>
        <p:spPr>
          <a:xfrm>
            <a:off x="5075009" y="633792"/>
            <a:ext cx="827200" cy="91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Arial"/>
              <a:buNone/>
            </a:pPr>
            <a:r>
              <a:rPr lang="en-US" sz="5333" b="1" u="none" strike="noStrike" cap="none">
                <a:solidFill>
                  <a:schemeClr val="accent5"/>
                </a:solidFill>
                <a:latin typeface="CiscoSansTT" panose="020B0503020201020303" pitchFamily="34" charset="0"/>
                <a:ea typeface="Helvetica Neue"/>
                <a:cs typeface="CiscoSansTT" panose="020B0503020201020303" pitchFamily="34" charset="0"/>
                <a:sym typeface="Helvetica Neue"/>
              </a:rPr>
              <a:t>“</a:t>
            </a:r>
            <a:endParaRPr sz="5333" b="1" u="none" strike="noStrike" cap="none">
              <a:solidFill>
                <a:schemeClr val="accent5"/>
              </a:solidFill>
              <a:latin typeface="CiscoSansTT" panose="020B0503020201020303" pitchFamily="34" charset="0"/>
              <a:ea typeface="Helvetica Neue"/>
              <a:cs typeface="CiscoSansTT" panose="020B0503020201020303" pitchFamily="34" charset="0"/>
              <a:sym typeface="Helvetica Neue"/>
            </a:endParaRPr>
          </a:p>
        </p:txBody>
      </p:sp>
      <p:sp>
        <p:nvSpPr>
          <p:cNvPr id="7" name="Google Shape;1080;p204">
            <a:extLst>
              <a:ext uri="{FF2B5EF4-FFF2-40B4-BE49-F238E27FC236}">
                <a16:creationId xmlns:a16="http://schemas.microsoft.com/office/drawing/2014/main" id="{7F38C613-8B48-2549-AFD7-983B5C480D04}"/>
              </a:ext>
            </a:extLst>
          </p:cNvPr>
          <p:cNvSpPr txBox="1"/>
          <p:nvPr userDrawn="1"/>
        </p:nvSpPr>
        <p:spPr>
          <a:xfrm>
            <a:off x="8611709" y="633792"/>
            <a:ext cx="827200" cy="91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Arial"/>
              <a:buNone/>
            </a:pPr>
            <a:r>
              <a:rPr lang="en-US" sz="5333" b="1" u="none" strike="noStrike" cap="none">
                <a:solidFill>
                  <a:schemeClr val="accent1"/>
                </a:solidFill>
                <a:latin typeface="CiscoSansTT" panose="020B0503020201020303" pitchFamily="34" charset="0"/>
                <a:ea typeface="Helvetica Neue"/>
                <a:cs typeface="CiscoSansTT" panose="020B0503020201020303" pitchFamily="34" charset="0"/>
                <a:sym typeface="Helvetica Neue"/>
              </a:rPr>
              <a:t>“</a:t>
            </a:r>
            <a:endParaRPr sz="5333" b="1" u="none" strike="noStrike" cap="none">
              <a:solidFill>
                <a:schemeClr val="accent1"/>
              </a:solidFill>
              <a:latin typeface="CiscoSansTT" panose="020B0503020201020303" pitchFamily="34" charset="0"/>
              <a:ea typeface="Helvetica Neue"/>
              <a:cs typeface="CiscoSansTT" panose="020B0503020201020303" pitchFamily="34" charset="0"/>
              <a:sym typeface="Helvetica Neue"/>
            </a:endParaRPr>
          </a:p>
        </p:txBody>
      </p:sp>
      <p:sp>
        <p:nvSpPr>
          <p:cNvPr id="9" name="Google Shape;1082;p204">
            <a:extLst>
              <a:ext uri="{FF2B5EF4-FFF2-40B4-BE49-F238E27FC236}">
                <a16:creationId xmlns:a16="http://schemas.microsoft.com/office/drawing/2014/main" id="{44393B57-2E3B-C74B-A6EF-FCFAAE83FF36}"/>
              </a:ext>
            </a:extLst>
          </p:cNvPr>
          <p:cNvSpPr txBox="1"/>
          <p:nvPr userDrawn="1"/>
        </p:nvSpPr>
        <p:spPr>
          <a:xfrm>
            <a:off x="5075009" y="2512467"/>
            <a:ext cx="827200" cy="91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Arial"/>
              <a:buNone/>
            </a:pPr>
            <a:r>
              <a:rPr lang="en-US" sz="5333" b="1" u="none" strike="noStrike" cap="none">
                <a:solidFill>
                  <a:schemeClr val="accent2"/>
                </a:solidFill>
                <a:latin typeface="CiscoSansTT" panose="020B0503020201020303" pitchFamily="34" charset="0"/>
                <a:ea typeface="Helvetica Neue"/>
                <a:cs typeface="CiscoSansTT" panose="020B0503020201020303" pitchFamily="34" charset="0"/>
                <a:sym typeface="Helvetica Neue"/>
              </a:rPr>
              <a:t>“</a:t>
            </a:r>
            <a:endParaRPr sz="5333" b="1" u="none" strike="noStrike" cap="none">
              <a:solidFill>
                <a:schemeClr val="accent2"/>
              </a:solidFill>
              <a:latin typeface="CiscoSansTT" panose="020B0503020201020303" pitchFamily="34" charset="0"/>
              <a:ea typeface="Helvetica Neue"/>
              <a:cs typeface="CiscoSansTT" panose="020B0503020201020303" pitchFamily="34" charset="0"/>
              <a:sym typeface="Helvetica Neue"/>
            </a:endParaRPr>
          </a:p>
        </p:txBody>
      </p:sp>
      <p:sp>
        <p:nvSpPr>
          <p:cNvPr id="11" name="Google Shape;1084;p204">
            <a:extLst>
              <a:ext uri="{FF2B5EF4-FFF2-40B4-BE49-F238E27FC236}">
                <a16:creationId xmlns:a16="http://schemas.microsoft.com/office/drawing/2014/main" id="{67DFEBA4-D949-B646-BB4D-FEFAC24E27A4}"/>
              </a:ext>
            </a:extLst>
          </p:cNvPr>
          <p:cNvSpPr txBox="1"/>
          <p:nvPr userDrawn="1"/>
        </p:nvSpPr>
        <p:spPr>
          <a:xfrm>
            <a:off x="8611709" y="2512467"/>
            <a:ext cx="827200" cy="91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Arial"/>
              <a:buNone/>
            </a:pPr>
            <a:r>
              <a:rPr lang="en-US" sz="5333" b="1" u="none" strike="noStrike" cap="none">
                <a:solidFill>
                  <a:schemeClr val="accent5"/>
                </a:solidFill>
                <a:latin typeface="CiscoSansTT" panose="020B0503020201020303" pitchFamily="34" charset="0"/>
                <a:ea typeface="Helvetica Neue"/>
                <a:cs typeface="CiscoSansTT" panose="020B0503020201020303" pitchFamily="34" charset="0"/>
                <a:sym typeface="Helvetica Neue"/>
              </a:rPr>
              <a:t>“</a:t>
            </a:r>
            <a:endParaRPr sz="5333" b="1" u="none" strike="noStrike" cap="none">
              <a:solidFill>
                <a:schemeClr val="accent5"/>
              </a:solidFill>
              <a:latin typeface="CiscoSansTT" panose="020B0503020201020303" pitchFamily="34" charset="0"/>
              <a:ea typeface="Helvetica Neue"/>
              <a:cs typeface="CiscoSansTT" panose="020B0503020201020303" pitchFamily="34" charset="0"/>
              <a:sym typeface="Helvetica Neue"/>
            </a:endParaRPr>
          </a:p>
        </p:txBody>
      </p:sp>
      <p:sp>
        <p:nvSpPr>
          <p:cNvPr id="13" name="Google Shape;1086;p204">
            <a:extLst>
              <a:ext uri="{FF2B5EF4-FFF2-40B4-BE49-F238E27FC236}">
                <a16:creationId xmlns:a16="http://schemas.microsoft.com/office/drawing/2014/main" id="{3062C814-012F-5142-A65E-6F30A05ACCA3}"/>
              </a:ext>
            </a:extLst>
          </p:cNvPr>
          <p:cNvSpPr txBox="1"/>
          <p:nvPr userDrawn="1"/>
        </p:nvSpPr>
        <p:spPr>
          <a:xfrm>
            <a:off x="5075009" y="4379567"/>
            <a:ext cx="827200" cy="91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Arial"/>
              <a:buNone/>
            </a:pPr>
            <a:r>
              <a:rPr lang="en-US" sz="5333" b="1" u="none" strike="noStrike" cap="none">
                <a:solidFill>
                  <a:schemeClr val="accent1"/>
                </a:solidFill>
                <a:latin typeface="CiscoSansTT" panose="020B0503020201020303" pitchFamily="34" charset="0"/>
                <a:ea typeface="Helvetica Neue"/>
                <a:cs typeface="CiscoSansTT" panose="020B0503020201020303" pitchFamily="34" charset="0"/>
                <a:sym typeface="Helvetica Neue"/>
              </a:rPr>
              <a:t>“</a:t>
            </a:r>
            <a:endParaRPr sz="5333" b="1" u="none" strike="noStrike" cap="none">
              <a:solidFill>
                <a:schemeClr val="accent1"/>
              </a:solidFill>
              <a:latin typeface="CiscoSansTT" panose="020B0503020201020303" pitchFamily="34" charset="0"/>
              <a:ea typeface="Helvetica Neue"/>
              <a:cs typeface="CiscoSansTT" panose="020B0503020201020303" pitchFamily="34" charset="0"/>
              <a:sym typeface="Helvetica Neue"/>
            </a:endParaRPr>
          </a:p>
        </p:txBody>
      </p:sp>
      <p:sp>
        <p:nvSpPr>
          <p:cNvPr id="15" name="Google Shape;1088;p204">
            <a:extLst>
              <a:ext uri="{FF2B5EF4-FFF2-40B4-BE49-F238E27FC236}">
                <a16:creationId xmlns:a16="http://schemas.microsoft.com/office/drawing/2014/main" id="{2DEBB735-A5BC-D646-BCA0-775F1EDB431B}"/>
              </a:ext>
            </a:extLst>
          </p:cNvPr>
          <p:cNvSpPr txBox="1"/>
          <p:nvPr userDrawn="1"/>
        </p:nvSpPr>
        <p:spPr>
          <a:xfrm>
            <a:off x="8611709" y="4379567"/>
            <a:ext cx="827200" cy="91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800"/>
              <a:buFont typeface="Arial"/>
              <a:buNone/>
            </a:pPr>
            <a:r>
              <a:rPr lang="en-US" sz="5333" b="1" u="none" strike="noStrike" cap="none">
                <a:solidFill>
                  <a:schemeClr val="accent2"/>
                </a:solidFill>
                <a:latin typeface="CiscoSansTT" panose="020B0503020201020303" pitchFamily="34" charset="0"/>
                <a:ea typeface="Helvetica Neue"/>
                <a:cs typeface="CiscoSansTT" panose="020B0503020201020303" pitchFamily="34" charset="0"/>
                <a:sym typeface="Helvetica Neue"/>
              </a:rPr>
              <a:t>“</a:t>
            </a:r>
            <a:endParaRPr sz="5333" b="1" u="none" strike="noStrike" cap="none">
              <a:solidFill>
                <a:schemeClr val="accent2"/>
              </a:solidFill>
              <a:latin typeface="CiscoSansTT" panose="020B0503020201020303" pitchFamily="34" charset="0"/>
              <a:ea typeface="Helvetica Neue"/>
              <a:cs typeface="CiscoSansTT" panose="020B0503020201020303" pitchFamily="34" charset="0"/>
              <a:sym typeface="Helvetica Neue"/>
            </a:endParaRPr>
          </a:p>
        </p:txBody>
      </p:sp>
      <p:sp>
        <p:nvSpPr>
          <p:cNvPr id="16" name="Text Placeholder 9">
            <a:extLst>
              <a:ext uri="{FF2B5EF4-FFF2-40B4-BE49-F238E27FC236}">
                <a16:creationId xmlns:a16="http://schemas.microsoft.com/office/drawing/2014/main" id="{F726BCDA-045A-6049-9D22-CFF07BAD02C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86863" y="1422708"/>
            <a:ext cx="3564468" cy="1580813"/>
          </a:xfrm>
          <a:prstGeom prst="rect">
            <a:avLst/>
          </a:prstGeom>
        </p:spPr>
        <p:txBody>
          <a:bodyPr/>
          <a:lstStyle>
            <a:lvl1pPr>
              <a:defRPr sz="4800" b="0" i="0">
                <a:solidFill>
                  <a:schemeClr val="tx1"/>
                </a:solidFill>
                <a:latin typeface="+mj-lt"/>
                <a:cs typeface="CiscoSansTT ExtraLight" panose="020B0303020201020303" pitchFamily="34" charset="0"/>
              </a:defRPr>
            </a:lvl1pPr>
          </a:lstStyle>
          <a:p>
            <a:pPr lvl="0"/>
            <a:r>
              <a:rPr lang="en-GB"/>
              <a:t>Click to add title</a:t>
            </a:r>
            <a:endParaRPr lang="en-US"/>
          </a:p>
        </p:txBody>
      </p:sp>
      <p:sp>
        <p:nvSpPr>
          <p:cNvPr id="17" name="Text Placeholder 21">
            <a:extLst>
              <a:ext uri="{FF2B5EF4-FFF2-40B4-BE49-F238E27FC236}">
                <a16:creationId xmlns:a16="http://schemas.microsoft.com/office/drawing/2014/main" id="{60AFAD34-CFFF-EF48-B99C-F11DFD70F0B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583452" y="1043472"/>
            <a:ext cx="1914801" cy="1038091"/>
          </a:xfrm>
          <a:prstGeom prst="rect">
            <a:avLst/>
          </a:prstGeom>
        </p:spPr>
        <p:txBody>
          <a:bodyPr/>
          <a:lstStyle>
            <a:lvl1pPr>
              <a:defRPr sz="1467" b="0" i="0">
                <a:solidFill>
                  <a:schemeClr val="tx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defRPr>
            </a:lvl1pPr>
          </a:lstStyle>
          <a:p>
            <a:pPr lvl="0"/>
            <a:r>
              <a:rPr lang="en-GB"/>
              <a:t>Click to add text</a:t>
            </a:r>
            <a:endParaRPr lang="en-US"/>
          </a:p>
        </p:txBody>
      </p:sp>
      <p:sp>
        <p:nvSpPr>
          <p:cNvPr id="18" name="Text Placeholder 21">
            <a:extLst>
              <a:ext uri="{FF2B5EF4-FFF2-40B4-BE49-F238E27FC236}">
                <a16:creationId xmlns:a16="http://schemas.microsoft.com/office/drawing/2014/main" id="{5DED0708-F6D0-9247-BBE1-821405FF823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583452" y="2909821"/>
            <a:ext cx="1914801" cy="1038091"/>
          </a:xfrm>
          <a:prstGeom prst="rect">
            <a:avLst/>
          </a:prstGeom>
        </p:spPr>
        <p:txBody>
          <a:bodyPr/>
          <a:lstStyle>
            <a:lvl1pPr>
              <a:defRPr sz="1467" b="0" i="0">
                <a:solidFill>
                  <a:schemeClr val="tx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defRPr>
            </a:lvl1pPr>
          </a:lstStyle>
          <a:p>
            <a:pPr lvl="0"/>
            <a:r>
              <a:rPr lang="en-GB"/>
              <a:t>Click to add text</a:t>
            </a:r>
            <a:endParaRPr lang="en-US"/>
          </a:p>
        </p:txBody>
      </p:sp>
      <p:sp>
        <p:nvSpPr>
          <p:cNvPr id="19" name="Text Placeholder 21">
            <a:extLst>
              <a:ext uri="{FF2B5EF4-FFF2-40B4-BE49-F238E27FC236}">
                <a16:creationId xmlns:a16="http://schemas.microsoft.com/office/drawing/2014/main" id="{5CCA10A3-3B40-D248-9C55-B94F50E7383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583452" y="4776921"/>
            <a:ext cx="1914801" cy="1038091"/>
          </a:xfrm>
          <a:prstGeom prst="rect">
            <a:avLst/>
          </a:prstGeom>
        </p:spPr>
        <p:txBody>
          <a:bodyPr/>
          <a:lstStyle>
            <a:lvl1pPr>
              <a:defRPr sz="1467" b="0" i="0">
                <a:solidFill>
                  <a:schemeClr val="tx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defRPr>
            </a:lvl1pPr>
          </a:lstStyle>
          <a:p>
            <a:pPr lvl="0"/>
            <a:r>
              <a:rPr lang="en-GB"/>
              <a:t>Click to add text</a:t>
            </a:r>
            <a:endParaRPr lang="en-US"/>
          </a:p>
        </p:txBody>
      </p:sp>
      <p:sp>
        <p:nvSpPr>
          <p:cNvPr id="20" name="Text Placeholder 21">
            <a:extLst>
              <a:ext uri="{FF2B5EF4-FFF2-40B4-BE49-F238E27FC236}">
                <a16:creationId xmlns:a16="http://schemas.microsoft.com/office/drawing/2014/main" id="{BC3462B6-4CC9-5145-9E61-C762FD2757B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9120153" y="1042989"/>
            <a:ext cx="1914801" cy="1038091"/>
          </a:xfrm>
          <a:prstGeom prst="rect">
            <a:avLst/>
          </a:prstGeom>
        </p:spPr>
        <p:txBody>
          <a:bodyPr/>
          <a:lstStyle>
            <a:lvl1pPr>
              <a:defRPr sz="1467" b="0" i="0">
                <a:solidFill>
                  <a:schemeClr val="tx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defRPr>
            </a:lvl1pPr>
          </a:lstStyle>
          <a:p>
            <a:pPr lvl="0"/>
            <a:r>
              <a:rPr lang="en-GB"/>
              <a:t>Click to add text</a:t>
            </a:r>
            <a:endParaRPr lang="en-US"/>
          </a:p>
        </p:txBody>
      </p:sp>
      <p:sp>
        <p:nvSpPr>
          <p:cNvPr id="21" name="Text Placeholder 21">
            <a:extLst>
              <a:ext uri="{FF2B5EF4-FFF2-40B4-BE49-F238E27FC236}">
                <a16:creationId xmlns:a16="http://schemas.microsoft.com/office/drawing/2014/main" id="{294218C0-ED14-EF44-B6DB-22164D388251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120153" y="2909340"/>
            <a:ext cx="1914801" cy="1038091"/>
          </a:xfrm>
          <a:prstGeom prst="rect">
            <a:avLst/>
          </a:prstGeom>
        </p:spPr>
        <p:txBody>
          <a:bodyPr/>
          <a:lstStyle>
            <a:lvl1pPr>
              <a:defRPr sz="1467" b="0" i="0">
                <a:solidFill>
                  <a:schemeClr val="tx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defRPr>
            </a:lvl1pPr>
          </a:lstStyle>
          <a:p>
            <a:pPr lvl="0"/>
            <a:r>
              <a:rPr lang="en-GB"/>
              <a:t>Click to add text</a:t>
            </a:r>
            <a:endParaRPr lang="en-US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29440408-FB70-0E48-9191-949F57EAAB2E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120153" y="4776440"/>
            <a:ext cx="1914801" cy="1038091"/>
          </a:xfrm>
          <a:prstGeom prst="rect">
            <a:avLst/>
          </a:prstGeom>
        </p:spPr>
        <p:txBody>
          <a:bodyPr/>
          <a:lstStyle>
            <a:lvl1pPr>
              <a:defRPr sz="1467" b="0" i="0">
                <a:solidFill>
                  <a:schemeClr val="tx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defRPr>
            </a:lvl1pPr>
          </a:lstStyle>
          <a:p>
            <a:pPr lvl="0"/>
            <a:r>
              <a:rPr lang="en-GB"/>
              <a:t>Click to add text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74918483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oogle Shape;1094;p205">
            <a:extLst>
              <a:ext uri="{FF2B5EF4-FFF2-40B4-BE49-F238E27FC236}">
                <a16:creationId xmlns:a16="http://schemas.microsoft.com/office/drawing/2014/main" id="{030158BC-83B1-A245-BC81-36F83B2949E2}"/>
              </a:ext>
            </a:extLst>
          </p:cNvPr>
          <p:cNvPicPr preferRelativeResize="0"/>
          <p:nvPr userDrawn="1"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4434502" y="2"/>
            <a:ext cx="7757500" cy="6857999"/>
          </a:xfrm>
          <a:prstGeom prst="rect">
            <a:avLst/>
          </a:prstGeom>
          <a:noFill/>
          <a:ln>
            <a:noFill/>
          </a:ln>
        </p:spPr>
      </p:pic>
      <p:sp>
        <p:nvSpPr>
          <p:cNvPr id="4" name="Google Shape;1096;p205">
            <a:extLst>
              <a:ext uri="{FF2B5EF4-FFF2-40B4-BE49-F238E27FC236}">
                <a16:creationId xmlns:a16="http://schemas.microsoft.com/office/drawing/2014/main" id="{3CB0C1D6-49B0-3343-A645-A69C0CBEB7E0}"/>
              </a:ext>
            </a:extLst>
          </p:cNvPr>
          <p:cNvSpPr/>
          <p:nvPr userDrawn="1"/>
        </p:nvSpPr>
        <p:spPr>
          <a:xfrm>
            <a:off x="-3434433" y="-1207309"/>
            <a:ext cx="9938400" cy="9938400"/>
          </a:xfrm>
          <a:prstGeom prst="ellipse">
            <a:avLst/>
          </a:prstGeom>
          <a:solidFill>
            <a:srgbClr val="FFFFFF"/>
          </a:solidFill>
          <a:ln>
            <a:noFill/>
          </a:ln>
        </p:spPr>
        <p:txBody>
          <a:bodyPr spcFirstLastPara="1" wrap="square" lIns="91433" tIns="91433" rIns="91433" bIns="91433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</a:pPr>
            <a:endParaRPr sz="1467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DFAD90AD-194D-5A48-AB22-846B69CB82E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72717" y="2309927"/>
            <a:ext cx="4525755" cy="1218588"/>
          </a:xfrm>
          <a:prstGeom prst="rect">
            <a:avLst/>
          </a:prstGeom>
        </p:spPr>
        <p:txBody>
          <a:bodyPr/>
          <a:lstStyle>
            <a:lvl1pPr>
              <a:defRPr sz="4000" b="0" i="0">
                <a:solidFill>
                  <a:schemeClr val="tx1"/>
                </a:solidFill>
                <a:latin typeface="+mj-lt"/>
                <a:cs typeface="CiscoSansTT ExtraLight" panose="020B0303020201020303" pitchFamily="34" charset="0"/>
              </a:defRPr>
            </a:lvl1pPr>
          </a:lstStyle>
          <a:p>
            <a:pPr lvl="0"/>
            <a:r>
              <a:rPr lang="en-GB"/>
              <a:t>Click to add title</a:t>
            </a:r>
            <a:endParaRPr lang="en-US"/>
          </a:p>
        </p:txBody>
      </p:sp>
      <p:sp>
        <p:nvSpPr>
          <p:cNvPr id="10" name="Text Placeholder 13">
            <a:extLst>
              <a:ext uri="{FF2B5EF4-FFF2-40B4-BE49-F238E27FC236}">
                <a16:creationId xmlns:a16="http://schemas.microsoft.com/office/drawing/2014/main" id="{6B787457-39AA-B246-81C6-F6BAEB9A8F7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72718" y="3890435"/>
            <a:ext cx="4316276" cy="596223"/>
          </a:xfrm>
          <a:prstGeom prst="rect">
            <a:avLst/>
          </a:prstGeom>
        </p:spPr>
        <p:txBody>
          <a:bodyPr/>
          <a:lstStyle>
            <a:lvl1pPr>
              <a:defRPr sz="2133" b="0" i="0">
                <a:solidFill>
                  <a:schemeClr val="accent1"/>
                </a:solidFill>
                <a:latin typeface="+mj-lt"/>
                <a:cs typeface="CiscoSansTT ExtraLight" panose="020B0303020201020303" pitchFamily="34" charset="0"/>
              </a:defRPr>
            </a:lvl1pPr>
            <a:lvl2pPr>
              <a:defRPr sz="2133"/>
            </a:lvl2pPr>
            <a:lvl3pPr>
              <a:defRPr sz="2133"/>
            </a:lvl3pPr>
            <a:lvl4pPr>
              <a:defRPr sz="2133"/>
            </a:lvl4pPr>
            <a:lvl5pPr>
              <a:defRPr sz="2133"/>
            </a:lvl5pPr>
          </a:lstStyle>
          <a:p>
            <a:r>
              <a:rPr lang="en-US" sz="2133">
                <a:solidFill>
                  <a:schemeClr val="accent1"/>
                </a:solidFill>
                <a:latin typeface="CiscoSansTT ExtraLight" panose="020B0303020201020303" pitchFamily="34" charset="0"/>
                <a:ea typeface="Helvetica Neue Light"/>
                <a:cs typeface="CiscoSansTT ExtraLight" panose="020B0303020201020303" pitchFamily="34" charset="0"/>
                <a:sym typeface="Helvetica Neue Light"/>
              </a:rPr>
              <a:t>Lorem ipsum dolor sit </a:t>
            </a:r>
            <a:r>
              <a:rPr lang="en-US" sz="2133" err="1">
                <a:solidFill>
                  <a:schemeClr val="accent1"/>
                </a:solidFill>
                <a:latin typeface="CiscoSansTT ExtraLight" panose="020B0303020201020303" pitchFamily="34" charset="0"/>
                <a:ea typeface="Helvetica Neue Light"/>
                <a:cs typeface="CiscoSansTT ExtraLight" panose="020B0303020201020303" pitchFamily="34" charset="0"/>
                <a:sym typeface="Helvetica Neue Light"/>
              </a:rPr>
              <a:t>amet</a:t>
            </a:r>
            <a:r>
              <a:rPr lang="en-US" sz="2133">
                <a:solidFill>
                  <a:schemeClr val="accent1"/>
                </a:solidFill>
                <a:latin typeface="CiscoSansTT ExtraLight" panose="020B0303020201020303" pitchFamily="34" charset="0"/>
                <a:ea typeface="Helvetica Neue Light"/>
                <a:cs typeface="CiscoSansTT ExtraLight" panose="020B0303020201020303" pitchFamily="34" charset="0"/>
                <a:sym typeface="Helvetica Neue Light"/>
              </a:rPr>
              <a:t> </a:t>
            </a:r>
            <a:r>
              <a:rPr lang="en-US" sz="2133" err="1">
                <a:solidFill>
                  <a:schemeClr val="accent1"/>
                </a:solidFill>
                <a:latin typeface="CiscoSansTT ExtraLight" panose="020B0303020201020303" pitchFamily="34" charset="0"/>
                <a:ea typeface="Helvetica Neue Light"/>
                <a:cs typeface="CiscoSansTT ExtraLight" panose="020B0303020201020303" pitchFamily="34" charset="0"/>
                <a:sym typeface="Helvetica Neue Light"/>
              </a:rPr>
              <a:t>consectetur</a:t>
            </a:r>
            <a:r>
              <a:rPr lang="en-US" sz="2133">
                <a:solidFill>
                  <a:schemeClr val="accent1"/>
                </a:solidFill>
                <a:latin typeface="CiscoSansTT ExtraLight" panose="020B0303020201020303" pitchFamily="34" charset="0"/>
                <a:ea typeface="Helvetica Neue Light"/>
                <a:cs typeface="CiscoSansTT ExtraLight" panose="020B0303020201020303" pitchFamily="34" charset="0"/>
                <a:sym typeface="Helvetica Neue Light"/>
              </a:rPr>
              <a:t> </a:t>
            </a:r>
            <a:r>
              <a:rPr lang="en-US" sz="2133" err="1">
                <a:solidFill>
                  <a:schemeClr val="accent1"/>
                </a:solidFill>
                <a:latin typeface="CiscoSansTT ExtraLight" panose="020B0303020201020303" pitchFamily="34" charset="0"/>
                <a:ea typeface="Helvetica Neue Light"/>
                <a:cs typeface="CiscoSansTT ExtraLight" panose="020B0303020201020303" pitchFamily="34" charset="0"/>
                <a:sym typeface="Helvetica Neue Light"/>
              </a:rPr>
              <a:t>adipiscing</a:t>
            </a:r>
            <a:r>
              <a:rPr lang="en-US" sz="2133">
                <a:solidFill>
                  <a:schemeClr val="accent1"/>
                </a:solidFill>
                <a:latin typeface="CiscoSansTT ExtraLight" panose="020B0303020201020303" pitchFamily="34" charset="0"/>
                <a:ea typeface="Helvetica Neue Light"/>
                <a:cs typeface="CiscoSansTT ExtraLight" panose="020B0303020201020303" pitchFamily="34" charset="0"/>
                <a:sym typeface="Helvetica Neue Light"/>
              </a:rPr>
              <a:t> </a:t>
            </a:r>
            <a:r>
              <a:rPr lang="en-US" sz="2133" err="1">
                <a:solidFill>
                  <a:schemeClr val="accent1"/>
                </a:solidFill>
                <a:latin typeface="CiscoSansTT ExtraLight" panose="020B0303020201020303" pitchFamily="34" charset="0"/>
                <a:ea typeface="Helvetica Neue Light"/>
                <a:cs typeface="CiscoSansTT ExtraLight" panose="020B0303020201020303" pitchFamily="34" charset="0"/>
                <a:sym typeface="Helvetica Neue Light"/>
              </a:rPr>
              <a:t>elit</a:t>
            </a:r>
            <a:r>
              <a:rPr lang="en-US" sz="2133">
                <a:solidFill>
                  <a:schemeClr val="accent1"/>
                </a:solidFill>
                <a:latin typeface="CiscoSansTT ExtraLight" panose="020B0303020201020303" pitchFamily="34" charset="0"/>
                <a:ea typeface="Helvetica Neue Light"/>
                <a:cs typeface="CiscoSansTT ExtraLight" panose="020B0303020201020303" pitchFamily="34" charset="0"/>
                <a:sym typeface="Helvetica Neue Light"/>
              </a:rPr>
              <a:t> diem</a:t>
            </a:r>
            <a:endParaRPr lang="en-US" sz="2133">
              <a:solidFill>
                <a:schemeClr val="accent1"/>
              </a:solidFill>
              <a:latin typeface="CiscoSansTT ExtraLight" panose="020B0303020201020303" pitchFamily="34" charset="0"/>
              <a:cs typeface="CiscoSansTT ExtraLight" panose="020B0303020201020303" pitchFamily="34" charset="0"/>
              <a:sym typeface="Helvetica Neue Light"/>
            </a:endParaRPr>
          </a:p>
        </p:txBody>
      </p:sp>
    </p:spTree>
    <p:extLst>
      <p:ext uri="{BB962C8B-B14F-4D97-AF65-F5344CB8AC3E}">
        <p14:creationId xmlns:p14="http://schemas.microsoft.com/office/powerpoint/2010/main" val="627802001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1130;p207">
            <a:extLst>
              <a:ext uri="{FF2B5EF4-FFF2-40B4-BE49-F238E27FC236}">
                <a16:creationId xmlns:a16="http://schemas.microsoft.com/office/drawing/2014/main" id="{AC3A1526-66E1-6944-A61D-9B739921C2A9}"/>
              </a:ext>
            </a:extLst>
          </p:cNvPr>
          <p:cNvSpPr/>
          <p:nvPr userDrawn="1"/>
        </p:nvSpPr>
        <p:spPr>
          <a:xfrm>
            <a:off x="427334" y="6220800"/>
            <a:ext cx="3777812" cy="3724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pic>
        <p:nvPicPr>
          <p:cNvPr id="4" name="Google Shape;1132;p207">
            <a:extLst>
              <a:ext uri="{FF2B5EF4-FFF2-40B4-BE49-F238E27FC236}">
                <a16:creationId xmlns:a16="http://schemas.microsoft.com/office/drawing/2014/main" id="{18B56E4E-A750-9144-AD27-2E46BFFC0E79}"/>
              </a:ext>
            </a:extLst>
          </p:cNvPr>
          <p:cNvPicPr preferRelativeResize="0"/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31888"/>
          <a:stretch/>
        </p:blipFill>
        <p:spPr>
          <a:xfrm>
            <a:off x="715336" y="3215369"/>
            <a:ext cx="2421200" cy="5367999"/>
          </a:xfrm>
          <a:prstGeom prst="roundRect">
            <a:avLst>
              <a:gd name="adj" fmla="val 50000"/>
            </a:avLst>
          </a:prstGeom>
          <a:noFill/>
          <a:ln>
            <a:noFill/>
          </a:ln>
        </p:spPr>
      </p:pic>
      <p:pic>
        <p:nvPicPr>
          <p:cNvPr id="5" name="Google Shape;1121;p207">
            <a:extLst>
              <a:ext uri="{FF2B5EF4-FFF2-40B4-BE49-F238E27FC236}">
                <a16:creationId xmlns:a16="http://schemas.microsoft.com/office/drawing/2014/main" id="{A82CF234-E76E-7749-81C6-A9C7188C88BA}"/>
              </a:ext>
            </a:extLst>
          </p:cNvPr>
          <p:cNvPicPr preferRelativeResize="0"/>
          <p:nvPr userDrawn="1"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0800000">
            <a:off x="6558234" y="2806247"/>
            <a:ext cx="992268" cy="992268"/>
          </a:xfrm>
          <a:prstGeom prst="rect">
            <a:avLst/>
          </a:prstGeom>
          <a:noFill/>
          <a:ln>
            <a:noFill/>
          </a:ln>
        </p:spPr>
      </p:pic>
      <p:pic>
        <p:nvPicPr>
          <p:cNvPr id="6" name="Google Shape;1122;p207">
            <a:extLst>
              <a:ext uri="{FF2B5EF4-FFF2-40B4-BE49-F238E27FC236}">
                <a16:creationId xmlns:a16="http://schemas.microsoft.com/office/drawing/2014/main" id="{0E92649C-A047-1045-B953-1952ABDB61A5}"/>
              </a:ext>
            </a:extLst>
          </p:cNvPr>
          <p:cNvPicPr preferRelativeResize="0"/>
          <p:nvPr userDrawn="1"/>
        </p:nvPicPr>
        <p:blipFill rotWithShape="1">
          <a:blip r:embed="rId4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0800000">
            <a:off x="6558233" y="1147701"/>
            <a:ext cx="992267" cy="992267"/>
          </a:xfrm>
          <a:prstGeom prst="rect">
            <a:avLst/>
          </a:prstGeom>
          <a:noFill/>
          <a:ln>
            <a:noFill/>
          </a:ln>
        </p:spPr>
      </p:pic>
      <p:sp>
        <p:nvSpPr>
          <p:cNvPr id="7" name="Google Shape;1123;p207">
            <a:extLst>
              <a:ext uri="{FF2B5EF4-FFF2-40B4-BE49-F238E27FC236}">
                <a16:creationId xmlns:a16="http://schemas.microsoft.com/office/drawing/2014/main" id="{8A723C90-3442-D34A-B94F-98829CB249F5}"/>
              </a:ext>
            </a:extLst>
          </p:cNvPr>
          <p:cNvSpPr/>
          <p:nvPr userDrawn="1"/>
        </p:nvSpPr>
        <p:spPr>
          <a:xfrm rot="10800000">
            <a:off x="6393167" y="-1261500"/>
            <a:ext cx="1322400" cy="6938400"/>
          </a:xfrm>
          <a:prstGeom prst="roundRect">
            <a:avLst>
              <a:gd name="adj" fmla="val 49012"/>
            </a:avLst>
          </a:prstGeom>
          <a:solidFill>
            <a:srgbClr val="ECF1F7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8" name="Google Shape;1124;p207">
            <a:extLst>
              <a:ext uri="{FF2B5EF4-FFF2-40B4-BE49-F238E27FC236}">
                <a16:creationId xmlns:a16="http://schemas.microsoft.com/office/drawing/2014/main" id="{D9F05520-2E4F-7244-81CF-70328E642BCF}"/>
              </a:ext>
            </a:extLst>
          </p:cNvPr>
          <p:cNvSpPr/>
          <p:nvPr userDrawn="1"/>
        </p:nvSpPr>
        <p:spPr>
          <a:xfrm rot="10800000">
            <a:off x="6558167" y="2806133"/>
            <a:ext cx="992400" cy="992400"/>
          </a:xfrm>
          <a:prstGeom prst="ellipse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9" name="Google Shape;1125;p207">
            <a:extLst>
              <a:ext uri="{FF2B5EF4-FFF2-40B4-BE49-F238E27FC236}">
                <a16:creationId xmlns:a16="http://schemas.microsoft.com/office/drawing/2014/main" id="{31EC4E0C-C6D5-EA4A-84E8-F146F58F9BD0}"/>
              </a:ext>
            </a:extLst>
          </p:cNvPr>
          <p:cNvSpPr/>
          <p:nvPr userDrawn="1"/>
        </p:nvSpPr>
        <p:spPr>
          <a:xfrm rot="10800000">
            <a:off x="6558167" y="1147567"/>
            <a:ext cx="992400" cy="992400"/>
          </a:xfrm>
          <a:prstGeom prst="ellipse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0" name="Google Shape;1126;p207">
            <a:extLst>
              <a:ext uri="{FF2B5EF4-FFF2-40B4-BE49-F238E27FC236}">
                <a16:creationId xmlns:a16="http://schemas.microsoft.com/office/drawing/2014/main" id="{C9C975E5-97B0-814D-A40E-A8A0C88E466E}"/>
              </a:ext>
            </a:extLst>
          </p:cNvPr>
          <p:cNvSpPr/>
          <p:nvPr userDrawn="1"/>
        </p:nvSpPr>
        <p:spPr>
          <a:xfrm rot="10800000">
            <a:off x="6558167" y="4464700"/>
            <a:ext cx="992400" cy="992400"/>
          </a:xfrm>
          <a:prstGeom prst="ellipse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pic>
        <p:nvPicPr>
          <p:cNvPr id="11" name="Google Shape;1127;p207">
            <a:extLst>
              <a:ext uri="{FF2B5EF4-FFF2-40B4-BE49-F238E27FC236}">
                <a16:creationId xmlns:a16="http://schemas.microsoft.com/office/drawing/2014/main" id="{F07E3FC6-6343-C944-A2A7-C7FB77D60380}"/>
              </a:ext>
            </a:extLst>
          </p:cNvPr>
          <p:cNvPicPr preferRelativeResize="0"/>
          <p:nvPr userDrawn="1"/>
        </p:nvPicPr>
        <p:blipFill rotWithShape="1">
          <a:blip r:embed="rId5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756499" y="4670674"/>
            <a:ext cx="595732" cy="595732"/>
          </a:xfrm>
          <a:prstGeom prst="rect">
            <a:avLst/>
          </a:prstGeom>
          <a:noFill/>
          <a:ln>
            <a:noFill/>
          </a:ln>
        </p:spPr>
      </p:pic>
      <p:pic>
        <p:nvPicPr>
          <p:cNvPr id="12" name="Google Shape;1128;p207">
            <a:extLst>
              <a:ext uri="{FF2B5EF4-FFF2-40B4-BE49-F238E27FC236}">
                <a16:creationId xmlns:a16="http://schemas.microsoft.com/office/drawing/2014/main" id="{0DE17A13-9E27-FD46-BEBD-D95C6D4041D3}"/>
              </a:ext>
            </a:extLst>
          </p:cNvPr>
          <p:cNvPicPr preferRelativeResize="0"/>
          <p:nvPr userDrawn="1"/>
        </p:nvPicPr>
        <p:blipFill rotWithShape="1">
          <a:blip r:embed="rId5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756502" y="3004467"/>
            <a:ext cx="595732" cy="595732"/>
          </a:xfrm>
          <a:prstGeom prst="rect">
            <a:avLst/>
          </a:prstGeom>
          <a:noFill/>
          <a:ln>
            <a:noFill/>
          </a:ln>
        </p:spPr>
      </p:pic>
      <p:pic>
        <p:nvPicPr>
          <p:cNvPr id="13" name="Google Shape;1129;p207">
            <a:extLst>
              <a:ext uri="{FF2B5EF4-FFF2-40B4-BE49-F238E27FC236}">
                <a16:creationId xmlns:a16="http://schemas.microsoft.com/office/drawing/2014/main" id="{CEC18A07-E555-C941-AD61-E9D2EB4F7C01}"/>
              </a:ext>
            </a:extLst>
          </p:cNvPr>
          <p:cNvPicPr preferRelativeResize="0"/>
          <p:nvPr userDrawn="1"/>
        </p:nvPicPr>
        <p:blipFill rotWithShape="1">
          <a:blip r:embed="rId5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0800000">
            <a:off x="6756502" y="1345902"/>
            <a:ext cx="595732" cy="595732"/>
          </a:xfrm>
          <a:prstGeom prst="rect">
            <a:avLst/>
          </a:prstGeom>
          <a:noFill/>
          <a:ln>
            <a:noFill/>
          </a:ln>
        </p:spPr>
      </p:pic>
      <p:sp>
        <p:nvSpPr>
          <p:cNvPr id="18" name="Google Shape;1136;p207">
            <a:extLst>
              <a:ext uri="{FF2B5EF4-FFF2-40B4-BE49-F238E27FC236}">
                <a16:creationId xmlns:a16="http://schemas.microsoft.com/office/drawing/2014/main" id="{DF0A17D8-376F-5B45-933A-015E131668BD}"/>
              </a:ext>
            </a:extLst>
          </p:cNvPr>
          <p:cNvSpPr/>
          <p:nvPr userDrawn="1"/>
        </p:nvSpPr>
        <p:spPr>
          <a:xfrm>
            <a:off x="6558167" y="1113767"/>
            <a:ext cx="992400" cy="992400"/>
          </a:xfrm>
          <a:prstGeom prst="ellipse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pic>
        <p:nvPicPr>
          <p:cNvPr id="19" name="Google Shape;1137;p207">
            <a:extLst>
              <a:ext uri="{FF2B5EF4-FFF2-40B4-BE49-F238E27FC236}">
                <a16:creationId xmlns:a16="http://schemas.microsoft.com/office/drawing/2014/main" id="{6EB3619F-4196-ED43-BC05-8D21CEE1B9BB}"/>
              </a:ext>
            </a:extLst>
          </p:cNvPr>
          <p:cNvPicPr preferRelativeResize="0"/>
          <p:nvPr userDrawn="1"/>
        </p:nvPicPr>
        <p:blipFill rotWithShape="1">
          <a:blip r:embed="rId5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756502" y="1312102"/>
            <a:ext cx="595732" cy="595732"/>
          </a:xfrm>
          <a:prstGeom prst="rect">
            <a:avLst/>
          </a:prstGeom>
          <a:noFill/>
          <a:ln>
            <a:noFill/>
          </a:ln>
        </p:spPr>
      </p:pic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C10FCF90-52F9-6B4E-BC78-B1C5CD3FECA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074036" y="1255577"/>
            <a:ext cx="2898163" cy="689747"/>
          </a:xfrm>
          <a:prstGeom prst="rect">
            <a:avLst/>
          </a:prstGeom>
        </p:spPr>
        <p:txBody>
          <a:bodyPr/>
          <a:lstStyle>
            <a:lvl1pPr marL="0" indent="0" algn="l" rtl="0">
              <a:spcBef>
                <a:spcPts val="0"/>
              </a:spcBef>
              <a:spcAft>
                <a:spcPts val="0"/>
              </a:spcAft>
              <a:buNone/>
              <a:defRPr sz="1867" b="0" i="0">
                <a:solidFill>
                  <a:schemeClr val="tx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defRPr>
            </a:lvl1pPr>
          </a:lstStyle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>
                <a:solidFill>
                  <a:schemeClr val="tx1"/>
                </a:solidFill>
                <a:latin typeface="CiscoSansTT ExtraLight" panose="020B0303020201020303" pitchFamily="34" charset="0"/>
                <a:ea typeface="Helvetica Neue Light"/>
                <a:cs typeface="CiscoSansTT ExtraLight" panose="020B0303020201020303" pitchFamily="34" charset="0"/>
                <a:sym typeface="Helvetica Neue Light"/>
              </a:rPr>
              <a:t>Lorem ipsum dolor sit </a:t>
            </a:r>
            <a:r>
              <a:rPr lang="en-US" err="1">
                <a:solidFill>
                  <a:schemeClr val="tx1"/>
                </a:solidFill>
                <a:latin typeface="CiscoSansTT ExtraLight" panose="020B0303020201020303" pitchFamily="34" charset="0"/>
                <a:ea typeface="Helvetica Neue Light"/>
                <a:cs typeface="CiscoSansTT ExtraLight" panose="020B0303020201020303" pitchFamily="34" charset="0"/>
                <a:sym typeface="Helvetica Neue Light"/>
              </a:rPr>
              <a:t>amet</a:t>
            </a:r>
            <a:r>
              <a:rPr lang="en-US">
                <a:solidFill>
                  <a:schemeClr val="tx1"/>
                </a:solidFill>
                <a:latin typeface="CiscoSansTT ExtraLight" panose="020B0303020201020303" pitchFamily="34" charset="0"/>
                <a:ea typeface="Helvetica Neue Light"/>
                <a:cs typeface="CiscoSansTT ExtraLight" panose="020B0303020201020303" pitchFamily="34" charset="0"/>
                <a:sym typeface="Helvetica Neue Light"/>
              </a:rPr>
              <a:t> </a:t>
            </a:r>
            <a:r>
              <a:rPr lang="en-US" err="1">
                <a:solidFill>
                  <a:schemeClr val="tx1"/>
                </a:solidFill>
                <a:latin typeface="CiscoSansTT ExtraLight" panose="020B0303020201020303" pitchFamily="34" charset="0"/>
                <a:ea typeface="Helvetica Neue Light"/>
                <a:cs typeface="CiscoSansTT ExtraLight" panose="020B0303020201020303" pitchFamily="34" charset="0"/>
                <a:sym typeface="Helvetica Neue Light"/>
              </a:rPr>
              <a:t>consectetur</a:t>
            </a:r>
            <a:r>
              <a:rPr lang="en-US">
                <a:solidFill>
                  <a:schemeClr val="tx1"/>
                </a:solidFill>
                <a:latin typeface="CiscoSansTT ExtraLight" panose="020B0303020201020303" pitchFamily="34" charset="0"/>
                <a:ea typeface="Helvetica Neue Light"/>
                <a:cs typeface="CiscoSansTT ExtraLight" panose="020B0303020201020303" pitchFamily="34" charset="0"/>
                <a:sym typeface="Helvetica Neue Light"/>
              </a:rPr>
              <a:t> </a:t>
            </a:r>
            <a:r>
              <a:rPr lang="en-US" err="1">
                <a:solidFill>
                  <a:schemeClr val="tx1"/>
                </a:solidFill>
                <a:latin typeface="CiscoSansTT ExtraLight" panose="020B0303020201020303" pitchFamily="34" charset="0"/>
                <a:ea typeface="Helvetica Neue Light"/>
                <a:cs typeface="CiscoSansTT ExtraLight" panose="020B0303020201020303" pitchFamily="34" charset="0"/>
                <a:sym typeface="Helvetica Neue Light"/>
              </a:rPr>
              <a:t>elit</a:t>
            </a:r>
            <a:endParaRPr lang="en-US">
              <a:solidFill>
                <a:schemeClr val="tx1"/>
              </a:solidFill>
              <a:latin typeface="CiscoSansTT ExtraLight" panose="020B0303020201020303" pitchFamily="34" charset="0"/>
              <a:ea typeface="Helvetica Neue Light"/>
              <a:cs typeface="CiscoSansTT ExtraLight" panose="020B0303020201020303" pitchFamily="34" charset="0"/>
              <a:sym typeface="Helvetica Neue Light"/>
            </a:endParaRP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E7EFBA04-2C7B-2E43-A0A7-989B353F083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074036" y="2923612"/>
            <a:ext cx="2898163" cy="689747"/>
          </a:xfrm>
          <a:prstGeom prst="rect">
            <a:avLst/>
          </a:prstGeom>
        </p:spPr>
        <p:txBody>
          <a:bodyPr/>
          <a:lstStyle>
            <a:lvl1pPr marL="0" indent="0" algn="l" rtl="0">
              <a:spcBef>
                <a:spcPts val="0"/>
              </a:spcBef>
              <a:spcAft>
                <a:spcPts val="0"/>
              </a:spcAft>
              <a:buNone/>
              <a:defRPr sz="1867" b="0" i="0">
                <a:solidFill>
                  <a:schemeClr val="tx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defRPr>
            </a:lvl1pPr>
          </a:lstStyle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>
                <a:solidFill>
                  <a:schemeClr val="tx1"/>
                </a:solidFill>
                <a:latin typeface="CiscoSansTT ExtraLight" panose="020B0303020201020303" pitchFamily="34" charset="0"/>
                <a:ea typeface="Helvetica Neue Light"/>
                <a:cs typeface="CiscoSansTT ExtraLight" panose="020B0303020201020303" pitchFamily="34" charset="0"/>
                <a:sym typeface="Helvetica Neue Light"/>
              </a:rPr>
              <a:t>Lorem ipsum dolor sit </a:t>
            </a:r>
            <a:r>
              <a:rPr lang="en-US" err="1">
                <a:solidFill>
                  <a:schemeClr val="tx1"/>
                </a:solidFill>
                <a:latin typeface="CiscoSansTT ExtraLight" panose="020B0303020201020303" pitchFamily="34" charset="0"/>
                <a:ea typeface="Helvetica Neue Light"/>
                <a:cs typeface="CiscoSansTT ExtraLight" panose="020B0303020201020303" pitchFamily="34" charset="0"/>
                <a:sym typeface="Helvetica Neue Light"/>
              </a:rPr>
              <a:t>amet</a:t>
            </a:r>
            <a:r>
              <a:rPr lang="en-US">
                <a:solidFill>
                  <a:schemeClr val="tx1"/>
                </a:solidFill>
                <a:latin typeface="CiscoSansTT ExtraLight" panose="020B0303020201020303" pitchFamily="34" charset="0"/>
                <a:ea typeface="Helvetica Neue Light"/>
                <a:cs typeface="CiscoSansTT ExtraLight" panose="020B0303020201020303" pitchFamily="34" charset="0"/>
                <a:sym typeface="Helvetica Neue Light"/>
              </a:rPr>
              <a:t> </a:t>
            </a:r>
            <a:r>
              <a:rPr lang="en-US" err="1">
                <a:solidFill>
                  <a:schemeClr val="tx1"/>
                </a:solidFill>
                <a:latin typeface="CiscoSansTT ExtraLight" panose="020B0303020201020303" pitchFamily="34" charset="0"/>
                <a:ea typeface="Helvetica Neue Light"/>
                <a:cs typeface="CiscoSansTT ExtraLight" panose="020B0303020201020303" pitchFamily="34" charset="0"/>
                <a:sym typeface="Helvetica Neue Light"/>
              </a:rPr>
              <a:t>consectetur</a:t>
            </a:r>
            <a:r>
              <a:rPr lang="en-US">
                <a:solidFill>
                  <a:schemeClr val="tx1"/>
                </a:solidFill>
                <a:latin typeface="CiscoSansTT ExtraLight" panose="020B0303020201020303" pitchFamily="34" charset="0"/>
                <a:ea typeface="Helvetica Neue Light"/>
                <a:cs typeface="CiscoSansTT ExtraLight" panose="020B0303020201020303" pitchFamily="34" charset="0"/>
                <a:sym typeface="Helvetica Neue Light"/>
              </a:rPr>
              <a:t> </a:t>
            </a:r>
            <a:r>
              <a:rPr lang="en-US" err="1">
                <a:solidFill>
                  <a:schemeClr val="tx1"/>
                </a:solidFill>
                <a:latin typeface="CiscoSansTT ExtraLight" panose="020B0303020201020303" pitchFamily="34" charset="0"/>
                <a:ea typeface="Helvetica Neue Light"/>
                <a:cs typeface="CiscoSansTT ExtraLight" panose="020B0303020201020303" pitchFamily="34" charset="0"/>
                <a:sym typeface="Helvetica Neue Light"/>
              </a:rPr>
              <a:t>elit</a:t>
            </a:r>
            <a:endParaRPr lang="en-US">
              <a:solidFill>
                <a:schemeClr val="tx1"/>
              </a:solidFill>
              <a:latin typeface="CiscoSansTT ExtraLight" panose="020B0303020201020303" pitchFamily="34" charset="0"/>
              <a:ea typeface="Helvetica Neue Light"/>
              <a:cs typeface="CiscoSansTT ExtraLight" panose="020B0303020201020303" pitchFamily="34" charset="0"/>
              <a:sym typeface="Helvetica Neue Light"/>
            </a:endParaRPr>
          </a:p>
        </p:txBody>
      </p:sp>
      <p:sp>
        <p:nvSpPr>
          <p:cNvPr id="27" name="Text Placeholder 21">
            <a:extLst>
              <a:ext uri="{FF2B5EF4-FFF2-40B4-BE49-F238E27FC236}">
                <a16:creationId xmlns:a16="http://schemas.microsoft.com/office/drawing/2014/main" id="{BBBA6DBB-FF89-0443-B173-246B95EBA06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074033" y="4582128"/>
            <a:ext cx="2898163" cy="689747"/>
          </a:xfrm>
          <a:prstGeom prst="rect">
            <a:avLst/>
          </a:prstGeom>
        </p:spPr>
        <p:txBody>
          <a:bodyPr/>
          <a:lstStyle>
            <a:lvl1pPr marL="0" indent="0" algn="l" rtl="0">
              <a:spcBef>
                <a:spcPts val="0"/>
              </a:spcBef>
              <a:spcAft>
                <a:spcPts val="0"/>
              </a:spcAft>
              <a:buNone/>
              <a:defRPr sz="1867" b="0" i="0">
                <a:solidFill>
                  <a:schemeClr val="tx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defRPr>
            </a:lvl1pPr>
          </a:lstStyle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>
                <a:solidFill>
                  <a:schemeClr val="tx1"/>
                </a:solidFill>
                <a:latin typeface="CiscoSansTT ExtraLight" panose="020B0303020201020303" pitchFamily="34" charset="0"/>
                <a:ea typeface="Helvetica Neue Light"/>
                <a:cs typeface="CiscoSansTT ExtraLight" panose="020B0303020201020303" pitchFamily="34" charset="0"/>
                <a:sym typeface="Helvetica Neue Light"/>
              </a:rPr>
              <a:t>Lorem ipsum dolor sit </a:t>
            </a:r>
            <a:r>
              <a:rPr lang="en-US" err="1">
                <a:solidFill>
                  <a:schemeClr val="tx1"/>
                </a:solidFill>
                <a:latin typeface="CiscoSansTT ExtraLight" panose="020B0303020201020303" pitchFamily="34" charset="0"/>
                <a:ea typeface="Helvetica Neue Light"/>
                <a:cs typeface="CiscoSansTT ExtraLight" panose="020B0303020201020303" pitchFamily="34" charset="0"/>
                <a:sym typeface="Helvetica Neue Light"/>
              </a:rPr>
              <a:t>amet</a:t>
            </a:r>
            <a:r>
              <a:rPr lang="en-US">
                <a:solidFill>
                  <a:schemeClr val="tx1"/>
                </a:solidFill>
                <a:latin typeface="CiscoSansTT ExtraLight" panose="020B0303020201020303" pitchFamily="34" charset="0"/>
                <a:ea typeface="Helvetica Neue Light"/>
                <a:cs typeface="CiscoSansTT ExtraLight" panose="020B0303020201020303" pitchFamily="34" charset="0"/>
                <a:sym typeface="Helvetica Neue Light"/>
              </a:rPr>
              <a:t> </a:t>
            </a:r>
            <a:r>
              <a:rPr lang="en-US" err="1">
                <a:solidFill>
                  <a:schemeClr val="tx1"/>
                </a:solidFill>
                <a:latin typeface="CiscoSansTT ExtraLight" panose="020B0303020201020303" pitchFamily="34" charset="0"/>
                <a:ea typeface="Helvetica Neue Light"/>
                <a:cs typeface="CiscoSansTT ExtraLight" panose="020B0303020201020303" pitchFamily="34" charset="0"/>
                <a:sym typeface="Helvetica Neue Light"/>
              </a:rPr>
              <a:t>consectetur</a:t>
            </a:r>
            <a:r>
              <a:rPr lang="en-US">
                <a:solidFill>
                  <a:schemeClr val="tx1"/>
                </a:solidFill>
                <a:latin typeface="CiscoSansTT ExtraLight" panose="020B0303020201020303" pitchFamily="34" charset="0"/>
                <a:ea typeface="Helvetica Neue Light"/>
                <a:cs typeface="CiscoSansTT ExtraLight" panose="020B0303020201020303" pitchFamily="34" charset="0"/>
                <a:sym typeface="Helvetica Neue Light"/>
              </a:rPr>
              <a:t> </a:t>
            </a:r>
            <a:r>
              <a:rPr lang="en-US" err="1">
                <a:solidFill>
                  <a:schemeClr val="tx1"/>
                </a:solidFill>
                <a:latin typeface="CiscoSansTT ExtraLight" panose="020B0303020201020303" pitchFamily="34" charset="0"/>
                <a:ea typeface="Helvetica Neue Light"/>
                <a:cs typeface="CiscoSansTT ExtraLight" panose="020B0303020201020303" pitchFamily="34" charset="0"/>
                <a:sym typeface="Helvetica Neue Light"/>
              </a:rPr>
              <a:t>elit</a:t>
            </a:r>
            <a:endParaRPr lang="en-US">
              <a:solidFill>
                <a:schemeClr val="tx1"/>
              </a:solidFill>
              <a:latin typeface="CiscoSansTT ExtraLight" panose="020B0303020201020303" pitchFamily="34" charset="0"/>
              <a:ea typeface="Helvetica Neue Light"/>
              <a:cs typeface="CiscoSansTT ExtraLight" panose="020B0303020201020303" pitchFamily="34" charset="0"/>
              <a:sym typeface="Helvetica Neue Light"/>
            </a:endParaRPr>
          </a:p>
        </p:txBody>
      </p:sp>
      <p:sp>
        <p:nvSpPr>
          <p:cNvPr id="29" name="Text Placeholder 9">
            <a:extLst>
              <a:ext uri="{FF2B5EF4-FFF2-40B4-BE49-F238E27FC236}">
                <a16:creationId xmlns:a16="http://schemas.microsoft.com/office/drawing/2014/main" id="{4B5606D5-D1E4-1348-9D8E-8D8378A6828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46199" y="1419519"/>
            <a:ext cx="3564468" cy="1218588"/>
          </a:xfrm>
          <a:prstGeom prst="rect">
            <a:avLst/>
          </a:prstGeom>
        </p:spPr>
        <p:txBody>
          <a:bodyPr/>
          <a:lstStyle>
            <a:lvl1pPr>
              <a:defRPr sz="4000" b="0" i="0">
                <a:solidFill>
                  <a:schemeClr val="tx1"/>
                </a:solidFill>
                <a:latin typeface="+mj-lt"/>
                <a:cs typeface="CiscoSansTT ExtraLight" panose="020B0303020201020303" pitchFamily="34" charset="0"/>
              </a:defRPr>
            </a:lvl1pPr>
          </a:lstStyle>
          <a:p>
            <a:pPr lvl="0"/>
            <a:r>
              <a:rPr lang="en-GB"/>
              <a:t>Click to add text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94668562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oogle Shape;1158;p209">
            <a:extLst>
              <a:ext uri="{FF2B5EF4-FFF2-40B4-BE49-F238E27FC236}">
                <a16:creationId xmlns:a16="http://schemas.microsoft.com/office/drawing/2014/main" id="{883AA303-CF1A-1846-8C6D-E54509EDFA1B}"/>
              </a:ext>
            </a:extLst>
          </p:cNvPr>
          <p:cNvPicPr preferRelativeResize="0"/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</p:spPr>
      </p:pic>
      <p:sp>
        <p:nvSpPr>
          <p:cNvPr id="7" name="Google Shape;1159;p209">
            <a:extLst>
              <a:ext uri="{FF2B5EF4-FFF2-40B4-BE49-F238E27FC236}">
                <a16:creationId xmlns:a16="http://schemas.microsoft.com/office/drawing/2014/main" id="{0FD566EA-DAB5-974E-B1D9-9B624C03FEBA}"/>
              </a:ext>
            </a:extLst>
          </p:cNvPr>
          <p:cNvSpPr/>
          <p:nvPr userDrawn="1"/>
        </p:nvSpPr>
        <p:spPr>
          <a:xfrm rot="10800000">
            <a:off x="0" y="1"/>
            <a:ext cx="12192000" cy="7636427"/>
          </a:xfrm>
          <a:prstGeom prst="rect">
            <a:avLst/>
          </a:prstGeom>
          <a:gradFill>
            <a:gsLst>
              <a:gs pos="0">
                <a:srgbClr val="0D274D">
                  <a:alpha val="0"/>
                </a:srgbClr>
              </a:gs>
              <a:gs pos="100000">
                <a:srgbClr val="0D274D"/>
              </a:gs>
            </a:gsLst>
            <a:lin ang="5400012" scaled="0"/>
          </a:gra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2" name="Text Placeholder 21">
            <a:extLst>
              <a:ext uri="{FF2B5EF4-FFF2-40B4-BE49-F238E27FC236}">
                <a16:creationId xmlns:a16="http://schemas.microsoft.com/office/drawing/2014/main" id="{265E67DC-0D39-434C-8F32-63A1AD0CD7F3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5334824" y="4999434"/>
            <a:ext cx="1641299" cy="361041"/>
          </a:xfrm>
          <a:prstGeom prst="rect">
            <a:avLst/>
          </a:prstGeom>
        </p:spPr>
        <p:txBody>
          <a:bodyPr/>
          <a:lstStyle>
            <a:lvl1pPr>
              <a:defRPr sz="1600" b="0" i="0">
                <a:solidFill>
                  <a:schemeClr val="bg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defRPr>
            </a:lvl1pPr>
          </a:lstStyle>
          <a:p>
            <a:pPr lvl="0"/>
            <a:r>
              <a:rPr lang="en-GB"/>
              <a:t>Person Name</a:t>
            </a:r>
            <a:endParaRPr lang="en-US"/>
          </a:p>
        </p:txBody>
      </p:sp>
      <p:sp>
        <p:nvSpPr>
          <p:cNvPr id="15" name="Text Placeholder 9">
            <a:extLst>
              <a:ext uri="{FF2B5EF4-FFF2-40B4-BE49-F238E27FC236}">
                <a16:creationId xmlns:a16="http://schemas.microsoft.com/office/drawing/2014/main" id="{970925D7-95D9-DE4C-8670-93C1A5195C5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166401" y="1645377"/>
            <a:ext cx="8090227" cy="2731552"/>
          </a:xfrm>
          <a:prstGeom prst="rect">
            <a:avLst/>
          </a:prstGeom>
        </p:spPr>
        <p:txBody>
          <a:bodyPr/>
          <a:lstStyle>
            <a:lvl1pPr algn="ctr">
              <a:defRPr sz="2933" b="0" i="0">
                <a:solidFill>
                  <a:schemeClr val="tx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defRPr>
            </a:lvl1pPr>
            <a:lvl2pPr>
              <a:defRPr sz="2933" b="0" i="0">
                <a:solidFill>
                  <a:schemeClr val="tx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defRPr>
            </a:lvl2pPr>
            <a:lvl3pPr>
              <a:defRPr sz="2933" b="0" i="0">
                <a:solidFill>
                  <a:schemeClr val="tx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defRPr>
            </a:lvl3pPr>
            <a:lvl4pPr>
              <a:defRPr sz="2933" b="0" i="0">
                <a:solidFill>
                  <a:schemeClr val="tx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defRPr>
            </a:lvl4pPr>
            <a:lvl5pPr>
              <a:defRPr sz="2933" b="0" i="0">
                <a:solidFill>
                  <a:schemeClr val="tx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defRPr>
            </a:lvl5pPr>
          </a:lstStyle>
          <a:p>
            <a:pPr lvl="0"/>
            <a:r>
              <a:rPr lang="en-US" sz="3200">
                <a:solidFill>
                  <a:srgbClr val="FFFFFF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  <a:sym typeface="Helvetica Neue Light"/>
              </a:rPr>
              <a:t>Lorem ipsum dolor sit </a:t>
            </a:r>
            <a:r>
              <a:rPr lang="en-US" sz="3200" err="1">
                <a:solidFill>
                  <a:srgbClr val="FFFFFF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  <a:sym typeface="Helvetica Neue Light"/>
              </a:rPr>
              <a:t>amet</a:t>
            </a:r>
            <a:r>
              <a:rPr lang="en-US" sz="3200">
                <a:solidFill>
                  <a:srgbClr val="FFFFFF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  <a:sym typeface="Helvetica Neue Light"/>
              </a:rPr>
              <a:t>, </a:t>
            </a:r>
            <a:r>
              <a:rPr lang="en-US" sz="3200" err="1">
                <a:solidFill>
                  <a:srgbClr val="FFFFFF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  <a:sym typeface="Helvetica Neue Light"/>
              </a:rPr>
              <a:t>consectetur</a:t>
            </a:r>
            <a:r>
              <a:rPr lang="en-US" sz="3200">
                <a:solidFill>
                  <a:srgbClr val="FFFFFF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  <a:sym typeface="Helvetica Neue Light"/>
              </a:rPr>
              <a:t> </a:t>
            </a:r>
            <a:r>
              <a:rPr lang="en-US" sz="3200" err="1">
                <a:solidFill>
                  <a:srgbClr val="FFFFFF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  <a:sym typeface="Helvetica Neue Light"/>
              </a:rPr>
              <a:t>adipiscing</a:t>
            </a:r>
            <a:r>
              <a:rPr lang="en-US" sz="3200">
                <a:solidFill>
                  <a:srgbClr val="FFFFFF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  <a:sym typeface="Helvetica Neue Light"/>
              </a:rPr>
              <a:t> </a:t>
            </a:r>
            <a:r>
              <a:rPr lang="en-US" sz="3200" err="1">
                <a:solidFill>
                  <a:srgbClr val="FFFFFF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  <a:sym typeface="Helvetica Neue Light"/>
              </a:rPr>
              <a:t>elit</a:t>
            </a:r>
            <a:r>
              <a:rPr lang="en-US" sz="3200">
                <a:solidFill>
                  <a:srgbClr val="FFFFFF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  <a:sym typeface="Helvetica Neue Light"/>
              </a:rPr>
              <a:t>. </a:t>
            </a:r>
            <a:r>
              <a:rPr lang="en-US" sz="3200" err="1">
                <a:solidFill>
                  <a:srgbClr val="FFFFFF"/>
                </a:solidFill>
                <a:latin typeface="CiscoSansTT ExtraLight" panose="020B0303020201020303" pitchFamily="34" charset="0"/>
                <a:ea typeface="Helvetica Neue"/>
                <a:cs typeface="CiscoSansTT ExtraLight" panose="020B0303020201020303" pitchFamily="34" charset="0"/>
                <a:sym typeface="Helvetica Neue"/>
              </a:rPr>
              <a:t>Etiam</a:t>
            </a:r>
            <a:r>
              <a:rPr lang="en-US" sz="3200">
                <a:solidFill>
                  <a:srgbClr val="FFFFFF"/>
                </a:solidFill>
                <a:latin typeface="CiscoSansTT ExtraLight" panose="020B0303020201020303" pitchFamily="34" charset="0"/>
                <a:ea typeface="Helvetica Neue"/>
                <a:cs typeface="CiscoSansTT ExtraLight" panose="020B0303020201020303" pitchFamily="34" charset="0"/>
                <a:sym typeface="Helvetica Neue"/>
              </a:rPr>
              <a:t> </a:t>
            </a:r>
            <a:r>
              <a:rPr lang="en-US" sz="3200" err="1">
                <a:solidFill>
                  <a:srgbClr val="FFFFFF"/>
                </a:solidFill>
                <a:latin typeface="CiscoSansTT ExtraLight" panose="020B0303020201020303" pitchFamily="34" charset="0"/>
                <a:ea typeface="Helvetica Neue"/>
                <a:cs typeface="CiscoSansTT ExtraLight" panose="020B0303020201020303" pitchFamily="34" charset="0"/>
                <a:sym typeface="Helvetica Neue"/>
              </a:rPr>
              <a:t>imperdiet</a:t>
            </a:r>
            <a:r>
              <a:rPr lang="en-US" sz="3200">
                <a:solidFill>
                  <a:srgbClr val="FFFFFF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  <a:sym typeface="Helvetica Neue Light"/>
              </a:rPr>
              <a:t> pulvinar </a:t>
            </a:r>
            <a:r>
              <a:rPr lang="en-US" sz="3200" err="1">
                <a:solidFill>
                  <a:srgbClr val="FFFFFF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  <a:sym typeface="Helvetica Neue Light"/>
              </a:rPr>
              <a:t>lectus</a:t>
            </a:r>
            <a:r>
              <a:rPr lang="en-US" sz="3200">
                <a:solidFill>
                  <a:srgbClr val="FFFFFF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  <a:sym typeface="Helvetica Neue Light"/>
              </a:rPr>
              <a:t> et </a:t>
            </a:r>
            <a:r>
              <a:rPr lang="en-US" sz="3200" err="1">
                <a:solidFill>
                  <a:srgbClr val="FFFFFF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  <a:sym typeface="Helvetica Neue Light"/>
              </a:rPr>
              <a:t>vehicula</a:t>
            </a:r>
            <a:r>
              <a:rPr lang="en-US" sz="3200">
                <a:solidFill>
                  <a:srgbClr val="FFFFFF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  <a:sym typeface="Helvetica Neue Light"/>
              </a:rPr>
              <a:t>. </a:t>
            </a:r>
            <a:r>
              <a:rPr lang="en-US" sz="3200" b="1" err="1">
                <a:solidFill>
                  <a:srgbClr val="FFFFFF"/>
                </a:solidFill>
                <a:latin typeface="CiscoSansTT" panose="020B0503020201020303" pitchFamily="34" charset="0"/>
                <a:cs typeface="CiscoSansTT" panose="020B0503020201020303" pitchFamily="34" charset="0"/>
                <a:sym typeface="Helvetica Neue Light"/>
              </a:rPr>
              <a:t>Vivamus</a:t>
            </a:r>
            <a:r>
              <a:rPr lang="en-US" sz="3200" b="1">
                <a:solidFill>
                  <a:srgbClr val="FFFFFF"/>
                </a:solidFill>
                <a:latin typeface="CiscoSansTT" panose="020B0503020201020303" pitchFamily="34" charset="0"/>
                <a:cs typeface="CiscoSansTT" panose="020B0503020201020303" pitchFamily="34" charset="0"/>
                <a:sym typeface="Helvetica Neue Light"/>
              </a:rPr>
              <a:t> lacinia, </a:t>
            </a:r>
            <a:r>
              <a:rPr lang="en-US" sz="3200">
                <a:solidFill>
                  <a:srgbClr val="FFFFFF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  <a:sym typeface="Helvetica Neue Light"/>
              </a:rPr>
              <a:t>dolor </a:t>
            </a:r>
            <a:r>
              <a:rPr lang="en-US" sz="3200" b="1">
                <a:solidFill>
                  <a:srgbClr val="FFFFFF"/>
                </a:solidFill>
                <a:latin typeface="CiscoSansTT" panose="020B0503020201020303" pitchFamily="34" charset="0"/>
                <a:cs typeface="CiscoSansTT" panose="020B0503020201020303" pitchFamily="34" charset="0"/>
                <a:sym typeface="Helvetica Neue Light"/>
              </a:rPr>
              <a:t>sed </a:t>
            </a:r>
            <a:r>
              <a:rPr lang="en-US" sz="3200" b="1" err="1">
                <a:solidFill>
                  <a:srgbClr val="FFFFFF"/>
                </a:solidFill>
                <a:latin typeface="CiscoSansTT" panose="020B0503020201020303" pitchFamily="34" charset="0"/>
                <a:cs typeface="CiscoSansTT" panose="020B0503020201020303" pitchFamily="34" charset="0"/>
                <a:sym typeface="Helvetica Neue Light"/>
              </a:rPr>
              <a:t>scelerisque</a:t>
            </a:r>
            <a:r>
              <a:rPr lang="en-US" sz="3200" b="1">
                <a:solidFill>
                  <a:srgbClr val="FFFFFF"/>
                </a:solidFill>
                <a:latin typeface="CiscoSansTT" panose="020B0503020201020303" pitchFamily="34" charset="0"/>
                <a:cs typeface="CiscoSansTT" panose="020B0503020201020303" pitchFamily="34" charset="0"/>
                <a:sym typeface="Helvetica Neue Light"/>
              </a:rPr>
              <a:t> </a:t>
            </a:r>
            <a:r>
              <a:rPr lang="en-US" sz="3200" err="1">
                <a:solidFill>
                  <a:srgbClr val="FFFFFF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  <a:sym typeface="Helvetica Neue Light"/>
              </a:rPr>
              <a:t>malesuada</a:t>
            </a:r>
            <a:r>
              <a:rPr lang="en-US" sz="3200">
                <a:solidFill>
                  <a:srgbClr val="FFFFFF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  <a:sym typeface="Helvetica Neue Light"/>
              </a:rPr>
              <a:t>, </a:t>
            </a:r>
            <a:r>
              <a:rPr lang="en-US" sz="3200" err="1">
                <a:solidFill>
                  <a:srgbClr val="FFFFFF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  <a:sym typeface="Helvetica Neue Light"/>
              </a:rPr>
              <a:t>turpis</a:t>
            </a:r>
            <a:r>
              <a:rPr lang="en-US" sz="3200">
                <a:solidFill>
                  <a:srgbClr val="FFFFFF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  <a:sym typeface="Helvetica Neue Light"/>
              </a:rPr>
              <a:t> </a:t>
            </a:r>
            <a:r>
              <a:rPr lang="en-US" sz="3200" err="1">
                <a:solidFill>
                  <a:srgbClr val="FFFFFF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  <a:sym typeface="Helvetica Neue Light"/>
              </a:rPr>
              <a:t>enim</a:t>
            </a:r>
            <a:r>
              <a:rPr lang="en-US" sz="3200">
                <a:solidFill>
                  <a:srgbClr val="FFFFFF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  <a:sym typeface="Helvetica Neue Light"/>
              </a:rPr>
              <a:t> </a:t>
            </a:r>
            <a:r>
              <a:rPr lang="en-US" sz="3200" err="1">
                <a:solidFill>
                  <a:srgbClr val="FFFFFF"/>
                </a:solidFill>
                <a:latin typeface="CiscoSansTT ExtraLight" panose="020B0303020201020303" pitchFamily="34" charset="0"/>
                <a:ea typeface="Helvetica Neue"/>
                <a:cs typeface="CiscoSansTT ExtraLight" panose="020B0303020201020303" pitchFamily="34" charset="0"/>
                <a:sym typeface="Helvetica Neue"/>
              </a:rPr>
              <a:t>ullamcorper</a:t>
            </a:r>
            <a:r>
              <a:rPr lang="en-US" sz="3200">
                <a:solidFill>
                  <a:srgbClr val="FFFFFF"/>
                </a:solidFill>
                <a:latin typeface="CiscoSansTT ExtraLight" panose="020B0303020201020303" pitchFamily="34" charset="0"/>
                <a:ea typeface="Helvetica Neue"/>
                <a:cs typeface="CiscoSansTT ExtraLight" panose="020B0303020201020303" pitchFamily="34" charset="0"/>
                <a:sym typeface="Helvetica Neue"/>
              </a:rPr>
              <a:t> </a:t>
            </a:r>
            <a:r>
              <a:rPr lang="en-US" sz="3200" err="1">
                <a:solidFill>
                  <a:srgbClr val="FFFFFF"/>
                </a:solidFill>
                <a:latin typeface="CiscoSansTT ExtraLight" panose="020B0303020201020303" pitchFamily="34" charset="0"/>
                <a:ea typeface="Helvetica Neue"/>
                <a:cs typeface="CiscoSansTT ExtraLight" panose="020B0303020201020303" pitchFamily="34" charset="0"/>
                <a:sym typeface="Helvetica Neue"/>
              </a:rPr>
              <a:t>neque</a:t>
            </a:r>
            <a:r>
              <a:rPr lang="en-US" sz="3200">
                <a:solidFill>
                  <a:srgbClr val="FFFFFF"/>
                </a:solidFill>
                <a:latin typeface="CiscoSansTT ExtraLight" panose="020B0303020201020303" pitchFamily="34" charset="0"/>
                <a:ea typeface="Helvetica Neue"/>
                <a:cs typeface="CiscoSansTT ExtraLight" panose="020B0303020201020303" pitchFamily="34" charset="0"/>
                <a:sym typeface="Helvetica Neue"/>
              </a:rPr>
              <a:t>.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55039209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Google Shape;1168;p210">
            <a:extLst>
              <a:ext uri="{FF2B5EF4-FFF2-40B4-BE49-F238E27FC236}">
                <a16:creationId xmlns:a16="http://schemas.microsoft.com/office/drawing/2014/main" id="{A60A64A7-D1BD-A243-AC27-97BAABC70872}"/>
              </a:ext>
            </a:extLst>
          </p:cNvPr>
          <p:cNvSpPr/>
          <p:nvPr userDrawn="1"/>
        </p:nvSpPr>
        <p:spPr>
          <a:xfrm>
            <a:off x="-664967" y="-787367"/>
            <a:ext cx="1791600" cy="1791600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1592C969-60A0-1E48-B85E-3C7B1B13C55E}"/>
              </a:ext>
            </a:extLst>
          </p:cNvPr>
          <p:cNvGrpSpPr/>
          <p:nvPr userDrawn="1"/>
        </p:nvGrpSpPr>
        <p:grpSpPr>
          <a:xfrm>
            <a:off x="4729169" y="1645400"/>
            <a:ext cx="7107233" cy="3773200"/>
            <a:chOff x="3546875" y="1216317"/>
            <a:chExt cx="5330425" cy="2829900"/>
          </a:xfrm>
        </p:grpSpPr>
        <p:sp>
          <p:nvSpPr>
            <p:cNvPr id="7" name="Google Shape;1170;p210">
              <a:extLst>
                <a:ext uri="{FF2B5EF4-FFF2-40B4-BE49-F238E27FC236}">
                  <a16:creationId xmlns:a16="http://schemas.microsoft.com/office/drawing/2014/main" id="{9D358E20-5CC6-C442-8D56-04BF302E5D19}"/>
                </a:ext>
              </a:extLst>
            </p:cNvPr>
            <p:cNvSpPr/>
            <p:nvPr/>
          </p:nvSpPr>
          <p:spPr>
            <a:xfrm>
              <a:off x="3546875" y="1287025"/>
              <a:ext cx="3938100" cy="745500"/>
            </a:xfrm>
            <a:prstGeom prst="rect">
              <a:avLst/>
            </a:prstGeom>
            <a:solidFill>
              <a:srgbClr val="BBCDDF">
                <a:alpha val="26670"/>
              </a:srgbClr>
            </a:solidFill>
            <a:ln>
              <a:noFill/>
            </a:ln>
          </p:spPr>
          <p:txBody>
            <a:bodyPr spcFirstLastPara="1" wrap="square" lIns="243000" tIns="34275" rIns="68575" bIns="34275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200"/>
                <a:buFont typeface="Arial"/>
                <a:buNone/>
              </a:pPr>
              <a:r>
                <a:rPr lang="en-US" sz="1600" u="none" strike="noStrike" cap="none">
                  <a:solidFill>
                    <a:schemeClr val="tx1"/>
                  </a:solidFill>
                  <a:latin typeface="CiscoSansTT ExtraLight" panose="020B0303020201020303" pitchFamily="34" charset="0"/>
                  <a:ea typeface="Helvetica Neue Light"/>
                  <a:cs typeface="CiscoSansTT ExtraLight" panose="020B0303020201020303" pitchFamily="34" charset="0"/>
                  <a:sym typeface="Helvetica Neue Light"/>
                </a:rPr>
                <a:t>Title</a:t>
              </a:r>
              <a:endParaRPr sz="1600" u="none" strike="noStrike" cap="none">
                <a:solidFill>
                  <a:schemeClr val="tx1"/>
                </a:solidFill>
                <a:latin typeface="CiscoSansTT ExtraLight" panose="020B0303020201020303" pitchFamily="34" charset="0"/>
                <a:ea typeface="Helvetica Neue Light"/>
                <a:cs typeface="CiscoSansTT ExtraLight" panose="020B0303020201020303" pitchFamily="34" charset="0"/>
                <a:sym typeface="Helvetica Neue Light"/>
              </a:endParaRPr>
            </a:p>
          </p:txBody>
        </p:sp>
        <p:sp>
          <p:nvSpPr>
            <p:cNvPr id="8" name="Google Shape;1171;p210">
              <a:extLst>
                <a:ext uri="{FF2B5EF4-FFF2-40B4-BE49-F238E27FC236}">
                  <a16:creationId xmlns:a16="http://schemas.microsoft.com/office/drawing/2014/main" id="{C5C1AE6E-CE7D-8D49-8581-2268C24A2BC8}"/>
                </a:ext>
              </a:extLst>
            </p:cNvPr>
            <p:cNvSpPr/>
            <p:nvPr/>
          </p:nvSpPr>
          <p:spPr>
            <a:xfrm>
              <a:off x="7459500" y="1287025"/>
              <a:ext cx="1417800" cy="745500"/>
            </a:xfrm>
            <a:prstGeom prst="rect">
              <a:avLst/>
            </a:prstGeom>
            <a:solidFill>
              <a:srgbClr val="1E4471"/>
            </a:solidFill>
            <a:ln>
              <a:noFill/>
            </a:ln>
          </p:spPr>
          <p:txBody>
            <a:bodyPr spcFirstLastPara="1" wrap="square" lIns="243000" tIns="34275" rIns="68575" bIns="34275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867" b="1" i="0" u="none" strike="noStrike" cap="none">
                <a:solidFill>
                  <a:srgbClr val="242524"/>
                </a:solidFill>
                <a:latin typeface="Source Sans Pro"/>
                <a:ea typeface="Source Sans Pro"/>
                <a:cs typeface="Source Sans Pro"/>
                <a:sym typeface="Source Sans Pro"/>
              </a:endParaRPr>
            </a:p>
          </p:txBody>
        </p:sp>
        <p:sp>
          <p:nvSpPr>
            <p:cNvPr id="9" name="Google Shape;1172;p210">
              <a:extLst>
                <a:ext uri="{FF2B5EF4-FFF2-40B4-BE49-F238E27FC236}">
                  <a16:creationId xmlns:a16="http://schemas.microsoft.com/office/drawing/2014/main" id="{1CA5275C-5E5A-0247-8D11-4A37C469E01C}"/>
                </a:ext>
              </a:extLst>
            </p:cNvPr>
            <p:cNvSpPr txBox="1"/>
            <p:nvPr/>
          </p:nvSpPr>
          <p:spPr>
            <a:xfrm>
              <a:off x="4962973" y="1462310"/>
              <a:ext cx="688200" cy="1842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34275" rIns="0" bIns="34275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900"/>
                <a:buFont typeface="Arial"/>
                <a:buNone/>
              </a:pPr>
              <a:r>
                <a:rPr lang="en-US" sz="1200" b="1" u="none" strike="noStrike" cap="none">
                  <a:solidFill>
                    <a:schemeClr val="tx1"/>
                  </a:solidFill>
                  <a:latin typeface="CiscoSansTT ExtraLight" panose="020B0303020201020303" pitchFamily="34" charset="0"/>
                  <a:ea typeface="Helvetica Neue"/>
                  <a:cs typeface="CiscoSansTT ExtraLight" panose="020B0303020201020303" pitchFamily="34" charset="0"/>
                  <a:sym typeface="Helvetica Neue"/>
                </a:rPr>
                <a:t>Heading</a:t>
              </a:r>
              <a:endParaRPr sz="1200" b="1" u="none" strike="noStrike" cap="none">
                <a:solidFill>
                  <a:schemeClr val="tx1"/>
                </a:solidFill>
                <a:latin typeface="CiscoSansTT ExtraLight" panose="020B0303020201020303" pitchFamily="34" charset="0"/>
                <a:ea typeface="Helvetica Neue"/>
                <a:cs typeface="CiscoSansTT ExtraLight" panose="020B0303020201020303" pitchFamily="34" charset="0"/>
                <a:sym typeface="Helvetica Neue"/>
              </a:endParaRPr>
            </a:p>
          </p:txBody>
        </p:sp>
        <p:sp>
          <p:nvSpPr>
            <p:cNvPr id="10" name="Google Shape;1173;p210">
              <a:extLst>
                <a:ext uri="{FF2B5EF4-FFF2-40B4-BE49-F238E27FC236}">
                  <a16:creationId xmlns:a16="http://schemas.microsoft.com/office/drawing/2014/main" id="{64CD8DC6-28CB-4B40-AE7C-A0C2B462A783}"/>
                </a:ext>
              </a:extLst>
            </p:cNvPr>
            <p:cNvSpPr txBox="1"/>
            <p:nvPr/>
          </p:nvSpPr>
          <p:spPr>
            <a:xfrm>
              <a:off x="4963003" y="1631883"/>
              <a:ext cx="1042800" cy="2604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34275" rIns="0" bIns="34275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200"/>
                <a:buFont typeface="Arial"/>
                <a:buNone/>
              </a:pPr>
              <a:r>
                <a:rPr lang="en-US" sz="1333" u="none" strike="noStrike" cap="none">
                  <a:solidFill>
                    <a:schemeClr val="tx1"/>
                  </a:solidFill>
                  <a:latin typeface="CiscoSansTT ExtraLight" panose="020B0303020201020303" pitchFamily="34" charset="0"/>
                  <a:ea typeface="Helvetica Neue Light"/>
                  <a:cs typeface="CiscoSansTT ExtraLight" panose="020B0303020201020303" pitchFamily="34" charset="0"/>
                  <a:sym typeface="Helvetica Neue Light"/>
                </a:rPr>
                <a:t>Lorem ipsum</a:t>
              </a:r>
              <a:endParaRPr sz="1333" u="none" strike="noStrike" cap="none">
                <a:solidFill>
                  <a:schemeClr val="tx1"/>
                </a:solidFill>
                <a:latin typeface="CiscoSansTT ExtraLight" panose="020B0303020201020303" pitchFamily="34" charset="0"/>
                <a:ea typeface="Helvetica Neue Light"/>
                <a:cs typeface="CiscoSansTT ExtraLight" panose="020B0303020201020303" pitchFamily="34" charset="0"/>
                <a:sym typeface="Helvetica Neue Light"/>
              </a:endParaRPr>
            </a:p>
          </p:txBody>
        </p:sp>
        <p:sp>
          <p:nvSpPr>
            <p:cNvPr id="11" name="Google Shape;1174;p210">
              <a:extLst>
                <a:ext uri="{FF2B5EF4-FFF2-40B4-BE49-F238E27FC236}">
                  <a16:creationId xmlns:a16="http://schemas.microsoft.com/office/drawing/2014/main" id="{F598C781-29D9-9140-A126-A20EF6B39961}"/>
                </a:ext>
              </a:extLst>
            </p:cNvPr>
            <p:cNvSpPr txBox="1"/>
            <p:nvPr/>
          </p:nvSpPr>
          <p:spPr>
            <a:xfrm>
              <a:off x="6295219" y="1462310"/>
              <a:ext cx="548400" cy="1842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34275" rIns="0" bIns="34275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900"/>
                <a:buFont typeface="Arial"/>
                <a:buNone/>
              </a:pPr>
              <a:r>
                <a:rPr lang="en-US" sz="1200" b="1" u="none" strike="noStrike" cap="none">
                  <a:solidFill>
                    <a:schemeClr val="tx1"/>
                  </a:solidFill>
                  <a:latin typeface="CiscoSansTT ExtraLight" panose="020B0303020201020303" pitchFamily="34" charset="0"/>
                  <a:ea typeface="Helvetica Neue"/>
                  <a:cs typeface="CiscoSansTT ExtraLight" panose="020B0303020201020303" pitchFamily="34" charset="0"/>
                  <a:sym typeface="Helvetica Neue"/>
                </a:rPr>
                <a:t>Heading</a:t>
              </a:r>
              <a:endParaRPr sz="1200" b="1" u="none" strike="noStrike" cap="none">
                <a:solidFill>
                  <a:schemeClr val="tx1"/>
                </a:solidFill>
                <a:latin typeface="CiscoSansTT ExtraLight" panose="020B0303020201020303" pitchFamily="34" charset="0"/>
                <a:ea typeface="Helvetica Neue"/>
                <a:cs typeface="CiscoSansTT ExtraLight" panose="020B0303020201020303" pitchFamily="34" charset="0"/>
                <a:sym typeface="Helvetica Neue"/>
              </a:endParaRPr>
            </a:p>
          </p:txBody>
        </p:sp>
        <p:sp>
          <p:nvSpPr>
            <p:cNvPr id="12" name="Google Shape;1175;p210">
              <a:extLst>
                <a:ext uri="{FF2B5EF4-FFF2-40B4-BE49-F238E27FC236}">
                  <a16:creationId xmlns:a16="http://schemas.microsoft.com/office/drawing/2014/main" id="{09D3E8D0-F1CA-3C41-93C1-EB443C9DC2E3}"/>
                </a:ext>
              </a:extLst>
            </p:cNvPr>
            <p:cNvSpPr txBox="1"/>
            <p:nvPr/>
          </p:nvSpPr>
          <p:spPr>
            <a:xfrm>
              <a:off x="6295217" y="1637241"/>
              <a:ext cx="607500" cy="2604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34275" rIns="0" bIns="34275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200"/>
                <a:buFont typeface="Arial"/>
                <a:buNone/>
              </a:pPr>
              <a:r>
                <a:rPr lang="en-US" sz="1600" u="none" strike="noStrike" cap="none">
                  <a:solidFill>
                    <a:schemeClr val="tx1"/>
                  </a:solidFill>
                  <a:latin typeface="CiscoSansTT ExtraLight" panose="020B0303020201020303" pitchFamily="34" charset="0"/>
                  <a:ea typeface="Helvetica Neue Light"/>
                  <a:cs typeface="CiscoSansTT ExtraLight" panose="020B0303020201020303" pitchFamily="34" charset="0"/>
                  <a:sym typeface="Helvetica Neue Light"/>
                </a:rPr>
                <a:t>-3.03%</a:t>
              </a:r>
              <a:endParaRPr sz="1600" u="none" strike="noStrike" cap="none">
                <a:solidFill>
                  <a:schemeClr val="tx1"/>
                </a:solidFill>
                <a:latin typeface="CiscoSansTT ExtraLight" panose="020B0303020201020303" pitchFamily="34" charset="0"/>
                <a:ea typeface="Helvetica Neue Light"/>
                <a:cs typeface="CiscoSansTT ExtraLight" panose="020B0303020201020303" pitchFamily="34" charset="0"/>
                <a:sym typeface="Helvetica Neue Light"/>
              </a:endParaRPr>
            </a:p>
          </p:txBody>
        </p:sp>
        <p:sp>
          <p:nvSpPr>
            <p:cNvPr id="13" name="Google Shape;1176;p210">
              <a:extLst>
                <a:ext uri="{FF2B5EF4-FFF2-40B4-BE49-F238E27FC236}">
                  <a16:creationId xmlns:a16="http://schemas.microsoft.com/office/drawing/2014/main" id="{EBBAE319-1D17-6049-AF19-8B69916B9482}"/>
                </a:ext>
              </a:extLst>
            </p:cNvPr>
            <p:cNvSpPr txBox="1"/>
            <p:nvPr/>
          </p:nvSpPr>
          <p:spPr>
            <a:xfrm>
              <a:off x="7637176" y="1462310"/>
              <a:ext cx="372900" cy="1842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34275" rIns="0" bIns="34275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900"/>
                <a:buFont typeface="Arial"/>
                <a:buNone/>
              </a:pPr>
              <a:r>
                <a:rPr lang="en-US" sz="1200" b="1" u="none" strike="noStrike" cap="none">
                  <a:solidFill>
                    <a:srgbClr val="FFFFFF"/>
                  </a:solidFill>
                  <a:latin typeface="CiscoSansTT ExtraLight" panose="020B0303020201020303" pitchFamily="34" charset="0"/>
                  <a:ea typeface="Helvetica Neue"/>
                  <a:cs typeface="CiscoSansTT ExtraLight" panose="020B0303020201020303" pitchFamily="34" charset="0"/>
                  <a:sym typeface="Helvetica Neue"/>
                </a:rPr>
                <a:t>Total</a:t>
              </a:r>
              <a:endParaRPr sz="1200" b="1" u="none" strike="noStrike" cap="none">
                <a:solidFill>
                  <a:srgbClr val="FFFFFF"/>
                </a:solidFill>
                <a:latin typeface="CiscoSansTT ExtraLight" panose="020B0303020201020303" pitchFamily="34" charset="0"/>
                <a:ea typeface="Helvetica Neue"/>
                <a:cs typeface="CiscoSansTT ExtraLight" panose="020B0303020201020303" pitchFamily="34" charset="0"/>
                <a:sym typeface="Helvetica Neue"/>
              </a:endParaRPr>
            </a:p>
          </p:txBody>
        </p:sp>
        <p:sp>
          <p:nvSpPr>
            <p:cNvPr id="14" name="Google Shape;1177;p210">
              <a:extLst>
                <a:ext uri="{FF2B5EF4-FFF2-40B4-BE49-F238E27FC236}">
                  <a16:creationId xmlns:a16="http://schemas.microsoft.com/office/drawing/2014/main" id="{233F7FEC-7E4C-B04B-8EBB-8A8F58E0A750}"/>
                </a:ext>
              </a:extLst>
            </p:cNvPr>
            <p:cNvSpPr txBox="1"/>
            <p:nvPr/>
          </p:nvSpPr>
          <p:spPr>
            <a:xfrm>
              <a:off x="7637209" y="1631874"/>
              <a:ext cx="516300" cy="2604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34275" rIns="0" bIns="34275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200"/>
                <a:buFont typeface="Arial"/>
                <a:buNone/>
              </a:pPr>
              <a:r>
                <a:rPr lang="en-US" sz="1600" u="none" strike="noStrike" cap="none">
                  <a:solidFill>
                    <a:srgbClr val="FFFFFF"/>
                  </a:solidFill>
                  <a:latin typeface="CiscoSansTT ExtraLight" panose="020B0303020201020303" pitchFamily="34" charset="0"/>
                  <a:ea typeface="Helvetica Neue Light"/>
                  <a:cs typeface="CiscoSansTT ExtraLight" panose="020B0303020201020303" pitchFamily="34" charset="0"/>
                  <a:sym typeface="Helvetica Neue Light"/>
                </a:rPr>
                <a:t>XX%</a:t>
              </a:r>
              <a:endParaRPr sz="1600" u="none" strike="noStrike" cap="none">
                <a:solidFill>
                  <a:srgbClr val="FFFFFF"/>
                </a:solidFill>
                <a:latin typeface="CiscoSansTT ExtraLight" panose="020B0303020201020303" pitchFamily="34" charset="0"/>
                <a:ea typeface="Helvetica Neue Light"/>
                <a:cs typeface="CiscoSansTT ExtraLight" panose="020B0303020201020303" pitchFamily="34" charset="0"/>
                <a:sym typeface="Helvetica Neue Light"/>
              </a:endParaRPr>
            </a:p>
          </p:txBody>
        </p:sp>
        <p:sp>
          <p:nvSpPr>
            <p:cNvPr id="15" name="Google Shape;1178;p210">
              <a:extLst>
                <a:ext uri="{FF2B5EF4-FFF2-40B4-BE49-F238E27FC236}">
                  <a16:creationId xmlns:a16="http://schemas.microsoft.com/office/drawing/2014/main" id="{77AA6322-E4FD-8848-9C8A-7D2B2DA36E06}"/>
                </a:ext>
              </a:extLst>
            </p:cNvPr>
            <p:cNvSpPr/>
            <p:nvPr/>
          </p:nvSpPr>
          <p:spPr>
            <a:xfrm>
              <a:off x="3546875" y="2232982"/>
              <a:ext cx="3938100" cy="745500"/>
            </a:xfrm>
            <a:prstGeom prst="rect">
              <a:avLst/>
            </a:prstGeom>
            <a:solidFill>
              <a:srgbClr val="BBCDDF">
                <a:alpha val="26670"/>
              </a:srgbClr>
            </a:solidFill>
            <a:ln>
              <a:noFill/>
            </a:ln>
          </p:spPr>
          <p:txBody>
            <a:bodyPr spcFirstLastPara="1" wrap="square" lIns="243000" tIns="34275" rIns="68575" bIns="34275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200"/>
                <a:buFont typeface="Arial"/>
                <a:buNone/>
              </a:pPr>
              <a:r>
                <a:rPr lang="en-US" sz="1600" u="none" strike="noStrike" cap="none">
                  <a:solidFill>
                    <a:schemeClr val="tx1"/>
                  </a:solidFill>
                  <a:latin typeface="CiscoSansTT ExtraLight" panose="020B0303020201020303" pitchFamily="34" charset="0"/>
                  <a:ea typeface="Helvetica Neue Light"/>
                  <a:cs typeface="CiscoSansTT ExtraLight" panose="020B0303020201020303" pitchFamily="34" charset="0"/>
                  <a:sym typeface="Helvetica Neue Light"/>
                </a:rPr>
                <a:t>Title</a:t>
              </a:r>
              <a:endParaRPr sz="1600" u="none" strike="noStrike" cap="none">
                <a:solidFill>
                  <a:schemeClr val="tx1"/>
                </a:solidFill>
                <a:latin typeface="CiscoSansTT ExtraLight" panose="020B0303020201020303" pitchFamily="34" charset="0"/>
                <a:ea typeface="Helvetica Neue Light"/>
                <a:cs typeface="CiscoSansTT ExtraLight" panose="020B0303020201020303" pitchFamily="34" charset="0"/>
                <a:sym typeface="Helvetica Neue Light"/>
              </a:endParaRPr>
            </a:p>
          </p:txBody>
        </p:sp>
        <p:sp>
          <p:nvSpPr>
            <p:cNvPr id="16" name="Google Shape;1179;p210">
              <a:extLst>
                <a:ext uri="{FF2B5EF4-FFF2-40B4-BE49-F238E27FC236}">
                  <a16:creationId xmlns:a16="http://schemas.microsoft.com/office/drawing/2014/main" id="{BF540065-8D34-E445-84A7-B3919BCC201A}"/>
                </a:ext>
              </a:extLst>
            </p:cNvPr>
            <p:cNvSpPr/>
            <p:nvPr/>
          </p:nvSpPr>
          <p:spPr>
            <a:xfrm>
              <a:off x="7444609" y="2232982"/>
              <a:ext cx="1417800" cy="745500"/>
            </a:xfrm>
            <a:prstGeom prst="rect">
              <a:avLst/>
            </a:prstGeom>
            <a:solidFill>
              <a:srgbClr val="1E4471"/>
            </a:solidFill>
            <a:ln>
              <a:noFill/>
            </a:ln>
          </p:spPr>
          <p:txBody>
            <a:bodyPr spcFirstLastPara="1" wrap="square" lIns="243000" tIns="34275" rIns="68575" bIns="34275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867" b="1" i="0" u="none" strike="noStrike" cap="none">
                <a:solidFill>
                  <a:schemeClr val="tx1"/>
                </a:solidFill>
                <a:latin typeface="Source Sans Pro"/>
                <a:ea typeface="Source Sans Pro"/>
                <a:cs typeface="Source Sans Pro"/>
                <a:sym typeface="Source Sans Pro"/>
              </a:endParaRPr>
            </a:p>
          </p:txBody>
        </p:sp>
        <p:sp>
          <p:nvSpPr>
            <p:cNvPr id="17" name="Google Shape;1180;p210">
              <a:extLst>
                <a:ext uri="{FF2B5EF4-FFF2-40B4-BE49-F238E27FC236}">
                  <a16:creationId xmlns:a16="http://schemas.microsoft.com/office/drawing/2014/main" id="{0E3C88C3-BA48-6C49-9E04-7D9B30D7C09C}"/>
                </a:ext>
              </a:extLst>
            </p:cNvPr>
            <p:cNvSpPr txBox="1"/>
            <p:nvPr/>
          </p:nvSpPr>
          <p:spPr>
            <a:xfrm>
              <a:off x="4962982" y="2404069"/>
              <a:ext cx="688200" cy="1800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34275" rIns="0" bIns="34275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900"/>
                <a:buFont typeface="Arial"/>
                <a:buNone/>
              </a:pPr>
              <a:r>
                <a:rPr lang="en-US" sz="1200" b="1" u="none" strike="noStrike" cap="none">
                  <a:solidFill>
                    <a:schemeClr val="tx1"/>
                  </a:solidFill>
                  <a:latin typeface="CiscoSansTT ExtraLight" panose="020B0303020201020303" pitchFamily="34" charset="0"/>
                  <a:ea typeface="Helvetica Neue"/>
                  <a:cs typeface="CiscoSansTT ExtraLight" panose="020B0303020201020303" pitchFamily="34" charset="0"/>
                  <a:sym typeface="Helvetica Neue"/>
                </a:rPr>
                <a:t>Volume</a:t>
              </a:r>
              <a:endParaRPr sz="1200" b="1" u="none" strike="noStrike" cap="none">
                <a:solidFill>
                  <a:schemeClr val="tx1"/>
                </a:solidFill>
                <a:latin typeface="CiscoSansTT ExtraLight" panose="020B0303020201020303" pitchFamily="34" charset="0"/>
                <a:ea typeface="Helvetica Neue"/>
                <a:cs typeface="CiscoSansTT ExtraLight" panose="020B0303020201020303" pitchFamily="34" charset="0"/>
                <a:sym typeface="Helvetica Neue"/>
              </a:endParaRPr>
            </a:p>
          </p:txBody>
        </p:sp>
        <p:sp>
          <p:nvSpPr>
            <p:cNvPr id="18" name="Google Shape;1181;p210">
              <a:extLst>
                <a:ext uri="{FF2B5EF4-FFF2-40B4-BE49-F238E27FC236}">
                  <a16:creationId xmlns:a16="http://schemas.microsoft.com/office/drawing/2014/main" id="{9BCA2BFE-ABC9-D04C-9569-69F9D50102EA}"/>
                </a:ext>
              </a:extLst>
            </p:cNvPr>
            <p:cNvSpPr txBox="1"/>
            <p:nvPr/>
          </p:nvSpPr>
          <p:spPr>
            <a:xfrm>
              <a:off x="4963003" y="2577840"/>
              <a:ext cx="1042800" cy="2604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34275" rIns="0" bIns="34275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200"/>
                <a:buFont typeface="Arial"/>
                <a:buNone/>
              </a:pPr>
              <a:r>
                <a:rPr lang="en-US" sz="1333" u="none" strike="noStrike" cap="none">
                  <a:solidFill>
                    <a:schemeClr val="tx1"/>
                  </a:solidFill>
                  <a:latin typeface="CiscoSansTT ExtraLight" panose="020B0303020201020303" pitchFamily="34" charset="0"/>
                  <a:ea typeface="Helvetica Neue Light"/>
                  <a:cs typeface="CiscoSansTT ExtraLight" panose="020B0303020201020303" pitchFamily="34" charset="0"/>
                  <a:sym typeface="Helvetica Neue Light"/>
                </a:rPr>
                <a:t>Lorem ipsum</a:t>
              </a:r>
              <a:endParaRPr sz="1333" u="none" strike="noStrike" cap="none">
                <a:solidFill>
                  <a:schemeClr val="tx1"/>
                </a:solidFill>
                <a:latin typeface="CiscoSansTT ExtraLight" panose="020B0303020201020303" pitchFamily="34" charset="0"/>
                <a:ea typeface="Helvetica Neue Light"/>
                <a:cs typeface="CiscoSansTT ExtraLight" panose="020B0303020201020303" pitchFamily="34" charset="0"/>
                <a:sym typeface="Helvetica Neue Light"/>
              </a:endParaRPr>
            </a:p>
          </p:txBody>
        </p:sp>
        <p:sp>
          <p:nvSpPr>
            <p:cNvPr id="19" name="Google Shape;1182;p210">
              <a:extLst>
                <a:ext uri="{FF2B5EF4-FFF2-40B4-BE49-F238E27FC236}">
                  <a16:creationId xmlns:a16="http://schemas.microsoft.com/office/drawing/2014/main" id="{4E3CD3A9-FDE0-A84C-835C-EA6E6BAEF93A}"/>
                </a:ext>
              </a:extLst>
            </p:cNvPr>
            <p:cNvSpPr txBox="1"/>
            <p:nvPr/>
          </p:nvSpPr>
          <p:spPr>
            <a:xfrm>
              <a:off x="6295220" y="2404059"/>
              <a:ext cx="548400" cy="1800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34275" rIns="0" bIns="34275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900"/>
                <a:buFont typeface="Arial"/>
                <a:buNone/>
              </a:pPr>
              <a:r>
                <a:rPr lang="en-US" sz="1200" b="1" u="none" strike="noStrike" cap="none">
                  <a:solidFill>
                    <a:schemeClr val="tx1"/>
                  </a:solidFill>
                  <a:latin typeface="CiscoSansTT ExtraLight" panose="020B0303020201020303" pitchFamily="34" charset="0"/>
                  <a:ea typeface="Helvetica Neue"/>
                  <a:cs typeface="CiscoSansTT ExtraLight" panose="020B0303020201020303" pitchFamily="34" charset="0"/>
                  <a:sym typeface="Helvetica Neue"/>
                </a:rPr>
                <a:t>Heading</a:t>
              </a:r>
              <a:endParaRPr sz="1200" b="1" u="none" strike="noStrike" cap="none">
                <a:solidFill>
                  <a:schemeClr val="tx1"/>
                </a:solidFill>
                <a:latin typeface="CiscoSansTT ExtraLight" panose="020B0303020201020303" pitchFamily="34" charset="0"/>
                <a:ea typeface="Helvetica Neue"/>
                <a:cs typeface="CiscoSansTT ExtraLight" panose="020B0303020201020303" pitchFamily="34" charset="0"/>
                <a:sym typeface="Helvetica Neue"/>
              </a:endParaRPr>
            </a:p>
          </p:txBody>
        </p:sp>
        <p:sp>
          <p:nvSpPr>
            <p:cNvPr id="20" name="Google Shape;1183;p210">
              <a:extLst>
                <a:ext uri="{FF2B5EF4-FFF2-40B4-BE49-F238E27FC236}">
                  <a16:creationId xmlns:a16="http://schemas.microsoft.com/office/drawing/2014/main" id="{D7F4D6BA-2305-C24A-AB6B-CC971385CA73}"/>
                </a:ext>
              </a:extLst>
            </p:cNvPr>
            <p:cNvSpPr txBox="1"/>
            <p:nvPr/>
          </p:nvSpPr>
          <p:spPr>
            <a:xfrm>
              <a:off x="6295217" y="2583198"/>
              <a:ext cx="607500" cy="2604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34275" rIns="0" bIns="34275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200"/>
                <a:buFont typeface="Arial"/>
                <a:buNone/>
              </a:pPr>
              <a:r>
                <a:rPr lang="en-US" sz="1600" u="none" strike="noStrike" cap="none">
                  <a:solidFill>
                    <a:schemeClr val="tx1"/>
                  </a:solidFill>
                  <a:latin typeface="CiscoSansTT ExtraLight" panose="020B0303020201020303" pitchFamily="34" charset="0"/>
                  <a:ea typeface="Helvetica Neue Light"/>
                  <a:cs typeface="CiscoSansTT ExtraLight" panose="020B0303020201020303" pitchFamily="34" charset="0"/>
                  <a:sym typeface="Helvetica Neue Light"/>
                </a:rPr>
                <a:t>-0.12%</a:t>
              </a:r>
              <a:endParaRPr sz="1600" u="none" strike="noStrike" cap="none">
                <a:solidFill>
                  <a:schemeClr val="tx1"/>
                </a:solidFill>
                <a:latin typeface="CiscoSansTT ExtraLight" panose="020B0303020201020303" pitchFamily="34" charset="0"/>
                <a:ea typeface="Helvetica Neue Light"/>
                <a:cs typeface="CiscoSansTT ExtraLight" panose="020B0303020201020303" pitchFamily="34" charset="0"/>
                <a:sym typeface="Helvetica Neue Light"/>
              </a:endParaRPr>
            </a:p>
          </p:txBody>
        </p:sp>
        <p:sp>
          <p:nvSpPr>
            <p:cNvPr id="21" name="Google Shape;1184;p210">
              <a:extLst>
                <a:ext uri="{FF2B5EF4-FFF2-40B4-BE49-F238E27FC236}">
                  <a16:creationId xmlns:a16="http://schemas.microsoft.com/office/drawing/2014/main" id="{6970ED06-CCC3-DE4F-AE08-89A56875F8AC}"/>
                </a:ext>
              </a:extLst>
            </p:cNvPr>
            <p:cNvSpPr txBox="1"/>
            <p:nvPr/>
          </p:nvSpPr>
          <p:spPr>
            <a:xfrm>
              <a:off x="7637187" y="2404059"/>
              <a:ext cx="372900" cy="1800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34275" rIns="0" bIns="34275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900"/>
                <a:buFont typeface="Arial"/>
                <a:buNone/>
              </a:pPr>
              <a:r>
                <a:rPr lang="en-US" sz="1200" b="1" u="none" strike="noStrike" cap="none">
                  <a:solidFill>
                    <a:srgbClr val="FFFFFF"/>
                  </a:solidFill>
                  <a:latin typeface="CiscoSansTT ExtraLight" panose="020B0303020201020303" pitchFamily="34" charset="0"/>
                  <a:ea typeface="Helvetica Neue"/>
                  <a:cs typeface="CiscoSansTT ExtraLight" panose="020B0303020201020303" pitchFamily="34" charset="0"/>
                  <a:sym typeface="Helvetica Neue"/>
                </a:rPr>
                <a:t>Total</a:t>
              </a:r>
              <a:endParaRPr sz="1200" b="1" u="none" strike="noStrike" cap="none">
                <a:solidFill>
                  <a:srgbClr val="FFFFFF"/>
                </a:solidFill>
                <a:latin typeface="CiscoSansTT ExtraLight" panose="020B0303020201020303" pitchFamily="34" charset="0"/>
                <a:ea typeface="Helvetica Neue"/>
                <a:cs typeface="CiscoSansTT ExtraLight" panose="020B0303020201020303" pitchFamily="34" charset="0"/>
                <a:sym typeface="Helvetica Neue"/>
              </a:endParaRPr>
            </a:p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900"/>
                <a:buFont typeface="Arial"/>
                <a:buNone/>
              </a:pPr>
              <a:endParaRPr sz="1200" b="1" u="none" strike="noStrike" cap="none">
                <a:solidFill>
                  <a:srgbClr val="FFFFFF"/>
                </a:solidFill>
                <a:latin typeface="CiscoSansTT ExtraLight" panose="020B0303020201020303" pitchFamily="34" charset="0"/>
                <a:ea typeface="Helvetica Neue"/>
                <a:cs typeface="CiscoSansTT ExtraLight" panose="020B0303020201020303" pitchFamily="34" charset="0"/>
                <a:sym typeface="Helvetica Neue"/>
              </a:endParaRPr>
            </a:p>
          </p:txBody>
        </p:sp>
        <p:sp>
          <p:nvSpPr>
            <p:cNvPr id="22" name="Google Shape;1185;p210">
              <a:extLst>
                <a:ext uri="{FF2B5EF4-FFF2-40B4-BE49-F238E27FC236}">
                  <a16:creationId xmlns:a16="http://schemas.microsoft.com/office/drawing/2014/main" id="{30650E26-1010-D54E-BE45-943E56314EB4}"/>
                </a:ext>
              </a:extLst>
            </p:cNvPr>
            <p:cNvSpPr txBox="1"/>
            <p:nvPr/>
          </p:nvSpPr>
          <p:spPr>
            <a:xfrm>
              <a:off x="7637209" y="2577831"/>
              <a:ext cx="419700" cy="2604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34275" rIns="0" bIns="34275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200"/>
                <a:buFont typeface="Arial"/>
                <a:buNone/>
              </a:pPr>
              <a:r>
                <a:rPr lang="en-US" sz="1600" u="none" strike="noStrike" cap="none">
                  <a:solidFill>
                    <a:srgbClr val="FFFFFF"/>
                  </a:solidFill>
                  <a:latin typeface="CiscoSansTT ExtraLight" panose="020B0303020201020303" pitchFamily="34" charset="0"/>
                  <a:ea typeface="Helvetica Neue Light"/>
                  <a:cs typeface="CiscoSansTT ExtraLight" panose="020B0303020201020303" pitchFamily="34" charset="0"/>
                  <a:sym typeface="Helvetica Neue Light"/>
                </a:rPr>
                <a:t>XX%</a:t>
              </a:r>
              <a:endParaRPr sz="1600" u="none" strike="noStrike" cap="none">
                <a:solidFill>
                  <a:srgbClr val="FFFFFF"/>
                </a:solidFill>
                <a:latin typeface="CiscoSansTT ExtraLight" panose="020B0303020201020303" pitchFamily="34" charset="0"/>
                <a:ea typeface="Helvetica Neue Light"/>
                <a:cs typeface="CiscoSansTT ExtraLight" panose="020B0303020201020303" pitchFamily="34" charset="0"/>
                <a:sym typeface="Helvetica Neue Light"/>
              </a:endParaRPr>
            </a:p>
          </p:txBody>
        </p:sp>
        <p:sp>
          <p:nvSpPr>
            <p:cNvPr id="23" name="Google Shape;1186;p210">
              <a:extLst>
                <a:ext uri="{FF2B5EF4-FFF2-40B4-BE49-F238E27FC236}">
                  <a16:creationId xmlns:a16="http://schemas.microsoft.com/office/drawing/2014/main" id="{2489BBDC-761E-204E-8835-37BAEAEF5C2D}"/>
                </a:ext>
              </a:extLst>
            </p:cNvPr>
            <p:cNvSpPr/>
            <p:nvPr/>
          </p:nvSpPr>
          <p:spPr>
            <a:xfrm>
              <a:off x="3546875" y="3179350"/>
              <a:ext cx="3938100" cy="745500"/>
            </a:xfrm>
            <a:prstGeom prst="rect">
              <a:avLst/>
            </a:prstGeom>
            <a:solidFill>
              <a:srgbClr val="BBCDDF">
                <a:alpha val="26670"/>
              </a:srgbClr>
            </a:solidFill>
            <a:ln>
              <a:noFill/>
            </a:ln>
          </p:spPr>
          <p:txBody>
            <a:bodyPr spcFirstLastPara="1" wrap="square" lIns="243000" tIns="34275" rIns="68575" bIns="34275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200"/>
                <a:buFont typeface="Arial"/>
                <a:buNone/>
              </a:pPr>
              <a:r>
                <a:rPr lang="en-US" sz="1600" u="none" strike="noStrike" cap="none">
                  <a:solidFill>
                    <a:schemeClr val="tx1"/>
                  </a:solidFill>
                  <a:latin typeface="CiscoSansTT ExtraLight" panose="020B0303020201020303" pitchFamily="34" charset="0"/>
                  <a:ea typeface="Helvetica Neue Light"/>
                  <a:cs typeface="CiscoSansTT ExtraLight" panose="020B0303020201020303" pitchFamily="34" charset="0"/>
                  <a:sym typeface="Helvetica Neue Light"/>
                </a:rPr>
                <a:t>Title</a:t>
              </a:r>
              <a:endParaRPr sz="1600" u="none" strike="noStrike" cap="none">
                <a:solidFill>
                  <a:schemeClr val="tx1"/>
                </a:solidFill>
                <a:latin typeface="CiscoSansTT ExtraLight" panose="020B0303020201020303" pitchFamily="34" charset="0"/>
                <a:ea typeface="Helvetica Neue Light"/>
                <a:cs typeface="CiscoSansTT ExtraLight" panose="020B0303020201020303" pitchFamily="34" charset="0"/>
                <a:sym typeface="Helvetica Neue Light"/>
              </a:endParaRPr>
            </a:p>
          </p:txBody>
        </p:sp>
        <p:sp>
          <p:nvSpPr>
            <p:cNvPr id="24" name="Google Shape;1187;p210">
              <a:extLst>
                <a:ext uri="{FF2B5EF4-FFF2-40B4-BE49-F238E27FC236}">
                  <a16:creationId xmlns:a16="http://schemas.microsoft.com/office/drawing/2014/main" id="{791A08F2-3C48-7441-BD30-CC8FA5E9006C}"/>
                </a:ext>
              </a:extLst>
            </p:cNvPr>
            <p:cNvSpPr/>
            <p:nvPr/>
          </p:nvSpPr>
          <p:spPr>
            <a:xfrm>
              <a:off x="7459500" y="3179350"/>
              <a:ext cx="1417800" cy="745500"/>
            </a:xfrm>
            <a:prstGeom prst="rect">
              <a:avLst/>
            </a:prstGeom>
            <a:solidFill>
              <a:srgbClr val="1E4471"/>
            </a:solidFill>
            <a:ln>
              <a:noFill/>
            </a:ln>
          </p:spPr>
          <p:txBody>
            <a:bodyPr spcFirstLastPara="1" wrap="square" lIns="243000" tIns="34275" rIns="68575" bIns="34275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</a:pPr>
              <a:endParaRPr sz="1867" b="1" i="0" u="none" strike="noStrike" cap="none">
                <a:solidFill>
                  <a:schemeClr val="tx1"/>
                </a:solidFill>
                <a:latin typeface="Source Sans Pro"/>
                <a:ea typeface="Source Sans Pro"/>
                <a:cs typeface="Source Sans Pro"/>
                <a:sym typeface="Source Sans Pro"/>
              </a:endParaRPr>
            </a:p>
          </p:txBody>
        </p:sp>
        <p:sp>
          <p:nvSpPr>
            <p:cNvPr id="25" name="Google Shape;1188;p210">
              <a:extLst>
                <a:ext uri="{FF2B5EF4-FFF2-40B4-BE49-F238E27FC236}">
                  <a16:creationId xmlns:a16="http://schemas.microsoft.com/office/drawing/2014/main" id="{88CFDDC9-8F8B-5141-B965-9C120949F0AA}"/>
                </a:ext>
              </a:extLst>
            </p:cNvPr>
            <p:cNvSpPr txBox="1"/>
            <p:nvPr/>
          </p:nvSpPr>
          <p:spPr>
            <a:xfrm>
              <a:off x="4962982" y="3350444"/>
              <a:ext cx="688200" cy="1800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34275" rIns="0" bIns="34275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900"/>
                <a:buFont typeface="Arial"/>
                <a:buNone/>
              </a:pPr>
              <a:r>
                <a:rPr lang="en-US" sz="1200" b="1" u="none" strike="noStrike" cap="none">
                  <a:solidFill>
                    <a:schemeClr val="tx1"/>
                  </a:solidFill>
                  <a:latin typeface="CiscoSansTT ExtraLight" panose="020B0303020201020303" pitchFamily="34" charset="0"/>
                  <a:ea typeface="Helvetica Neue"/>
                  <a:cs typeface="CiscoSansTT ExtraLight" panose="020B0303020201020303" pitchFamily="34" charset="0"/>
                  <a:sym typeface="Helvetica Neue"/>
                </a:rPr>
                <a:t>Volume</a:t>
              </a:r>
              <a:endParaRPr sz="1200" b="1" u="none" strike="noStrike" cap="none">
                <a:solidFill>
                  <a:schemeClr val="tx1"/>
                </a:solidFill>
                <a:latin typeface="CiscoSansTT ExtraLight" panose="020B0303020201020303" pitchFamily="34" charset="0"/>
                <a:ea typeface="Helvetica Neue"/>
                <a:cs typeface="CiscoSansTT ExtraLight" panose="020B0303020201020303" pitchFamily="34" charset="0"/>
                <a:sym typeface="Helvetica Neue"/>
              </a:endParaRPr>
            </a:p>
          </p:txBody>
        </p:sp>
        <p:sp>
          <p:nvSpPr>
            <p:cNvPr id="26" name="Google Shape;1189;p210">
              <a:extLst>
                <a:ext uri="{FF2B5EF4-FFF2-40B4-BE49-F238E27FC236}">
                  <a16:creationId xmlns:a16="http://schemas.microsoft.com/office/drawing/2014/main" id="{854918F7-25C4-9845-AC89-B9D2A5B1E533}"/>
                </a:ext>
              </a:extLst>
            </p:cNvPr>
            <p:cNvSpPr txBox="1"/>
            <p:nvPr/>
          </p:nvSpPr>
          <p:spPr>
            <a:xfrm>
              <a:off x="4963003" y="3524209"/>
              <a:ext cx="917700" cy="2604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34275" rIns="0" bIns="34275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200"/>
                <a:buFont typeface="Arial"/>
                <a:buNone/>
              </a:pPr>
              <a:r>
                <a:rPr lang="en-US" sz="1333" u="none" strike="noStrike" cap="none">
                  <a:solidFill>
                    <a:schemeClr val="tx1"/>
                  </a:solidFill>
                  <a:latin typeface="CiscoSansTT ExtraLight" panose="020B0303020201020303" pitchFamily="34" charset="0"/>
                  <a:ea typeface="Helvetica Neue Light"/>
                  <a:cs typeface="CiscoSansTT ExtraLight" panose="020B0303020201020303" pitchFamily="34" charset="0"/>
                  <a:sym typeface="Helvetica Neue Light"/>
                </a:rPr>
                <a:t>Lorem ipsum</a:t>
              </a:r>
              <a:endParaRPr sz="1333" u="none" strike="noStrike" cap="none">
                <a:solidFill>
                  <a:schemeClr val="tx1"/>
                </a:solidFill>
                <a:latin typeface="CiscoSansTT ExtraLight" panose="020B0303020201020303" pitchFamily="34" charset="0"/>
                <a:ea typeface="Helvetica Neue Light"/>
                <a:cs typeface="CiscoSansTT ExtraLight" panose="020B0303020201020303" pitchFamily="34" charset="0"/>
                <a:sym typeface="Helvetica Neue Light"/>
              </a:endParaRPr>
            </a:p>
          </p:txBody>
        </p:sp>
        <p:sp>
          <p:nvSpPr>
            <p:cNvPr id="27" name="Google Shape;1190;p210">
              <a:extLst>
                <a:ext uri="{FF2B5EF4-FFF2-40B4-BE49-F238E27FC236}">
                  <a16:creationId xmlns:a16="http://schemas.microsoft.com/office/drawing/2014/main" id="{FFD31931-1F3E-FA43-B4E7-F9B7C86AD5D5}"/>
                </a:ext>
              </a:extLst>
            </p:cNvPr>
            <p:cNvSpPr txBox="1"/>
            <p:nvPr/>
          </p:nvSpPr>
          <p:spPr>
            <a:xfrm>
              <a:off x="6295220" y="3350444"/>
              <a:ext cx="548400" cy="1800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34275" rIns="0" bIns="34275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900"/>
                <a:buFont typeface="Arial"/>
                <a:buNone/>
              </a:pPr>
              <a:r>
                <a:rPr lang="en-US" sz="1200" b="1" u="none" strike="noStrike" cap="none">
                  <a:solidFill>
                    <a:schemeClr val="tx1"/>
                  </a:solidFill>
                  <a:latin typeface="CiscoSansTT ExtraLight" panose="020B0303020201020303" pitchFamily="34" charset="0"/>
                  <a:ea typeface="Helvetica Neue"/>
                  <a:cs typeface="CiscoSansTT ExtraLight" panose="020B0303020201020303" pitchFamily="34" charset="0"/>
                  <a:sym typeface="Helvetica Neue"/>
                </a:rPr>
                <a:t>Heading</a:t>
              </a:r>
              <a:endParaRPr sz="1200" b="1" u="none" strike="noStrike" cap="none">
                <a:solidFill>
                  <a:schemeClr val="tx1"/>
                </a:solidFill>
                <a:latin typeface="CiscoSansTT ExtraLight" panose="020B0303020201020303" pitchFamily="34" charset="0"/>
                <a:ea typeface="Helvetica Neue"/>
                <a:cs typeface="CiscoSansTT ExtraLight" panose="020B0303020201020303" pitchFamily="34" charset="0"/>
                <a:sym typeface="Helvetica Neue"/>
              </a:endParaRPr>
            </a:p>
          </p:txBody>
        </p:sp>
        <p:sp>
          <p:nvSpPr>
            <p:cNvPr id="28" name="Google Shape;1191;p210">
              <a:extLst>
                <a:ext uri="{FF2B5EF4-FFF2-40B4-BE49-F238E27FC236}">
                  <a16:creationId xmlns:a16="http://schemas.microsoft.com/office/drawing/2014/main" id="{99D80EAE-1373-4F47-98F5-A2DEA9BC48BB}"/>
                </a:ext>
              </a:extLst>
            </p:cNvPr>
            <p:cNvSpPr txBox="1"/>
            <p:nvPr/>
          </p:nvSpPr>
          <p:spPr>
            <a:xfrm>
              <a:off x="6295217" y="3529567"/>
              <a:ext cx="607500" cy="2604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34275" rIns="0" bIns="34275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200"/>
                <a:buFont typeface="Arial"/>
                <a:buNone/>
              </a:pPr>
              <a:r>
                <a:rPr lang="en-US" sz="1600" u="none" strike="noStrike" cap="none">
                  <a:solidFill>
                    <a:schemeClr val="tx1"/>
                  </a:solidFill>
                  <a:latin typeface="CiscoSansTT ExtraLight" panose="020B0303020201020303" pitchFamily="34" charset="0"/>
                  <a:ea typeface="Helvetica Neue Light"/>
                  <a:cs typeface="CiscoSansTT ExtraLight" panose="020B0303020201020303" pitchFamily="34" charset="0"/>
                  <a:sym typeface="Helvetica Neue Light"/>
                </a:rPr>
                <a:t>-4.11%</a:t>
              </a:r>
              <a:endParaRPr sz="1600" u="none" strike="noStrike" cap="none">
                <a:solidFill>
                  <a:schemeClr val="tx1"/>
                </a:solidFill>
                <a:latin typeface="CiscoSansTT ExtraLight" panose="020B0303020201020303" pitchFamily="34" charset="0"/>
                <a:ea typeface="Helvetica Neue Light"/>
                <a:cs typeface="CiscoSansTT ExtraLight" panose="020B0303020201020303" pitchFamily="34" charset="0"/>
                <a:sym typeface="Helvetica Neue Light"/>
              </a:endParaRPr>
            </a:p>
          </p:txBody>
        </p:sp>
        <p:sp>
          <p:nvSpPr>
            <p:cNvPr id="29" name="Google Shape;1192;p210">
              <a:extLst>
                <a:ext uri="{FF2B5EF4-FFF2-40B4-BE49-F238E27FC236}">
                  <a16:creationId xmlns:a16="http://schemas.microsoft.com/office/drawing/2014/main" id="{1E0DF399-6C39-7E4A-9617-2A9D9329032E}"/>
                </a:ext>
              </a:extLst>
            </p:cNvPr>
            <p:cNvSpPr txBox="1"/>
            <p:nvPr/>
          </p:nvSpPr>
          <p:spPr>
            <a:xfrm>
              <a:off x="7637186" y="3350444"/>
              <a:ext cx="372900" cy="1800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34275" rIns="0" bIns="34275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900"/>
                <a:buFont typeface="Arial"/>
                <a:buNone/>
              </a:pPr>
              <a:r>
                <a:rPr lang="en-US" sz="1200" b="1" u="none" strike="noStrike" cap="none">
                  <a:solidFill>
                    <a:srgbClr val="FFFFFF"/>
                  </a:solidFill>
                  <a:latin typeface="CiscoSansTT ExtraLight" panose="020B0303020201020303" pitchFamily="34" charset="0"/>
                  <a:ea typeface="Helvetica Neue"/>
                  <a:cs typeface="CiscoSansTT ExtraLight" panose="020B0303020201020303" pitchFamily="34" charset="0"/>
                  <a:sym typeface="Helvetica Neue"/>
                </a:rPr>
                <a:t>Total</a:t>
              </a:r>
              <a:endParaRPr sz="1200" b="1" u="none" strike="noStrike" cap="none">
                <a:solidFill>
                  <a:srgbClr val="FFFFFF"/>
                </a:solidFill>
                <a:latin typeface="CiscoSansTT ExtraLight" panose="020B0303020201020303" pitchFamily="34" charset="0"/>
                <a:ea typeface="Helvetica Neue"/>
                <a:cs typeface="CiscoSansTT ExtraLight" panose="020B0303020201020303" pitchFamily="34" charset="0"/>
                <a:sym typeface="Helvetica Neue"/>
              </a:endParaRPr>
            </a:p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900"/>
                <a:buFont typeface="Arial"/>
                <a:buNone/>
              </a:pPr>
              <a:endParaRPr sz="1200" b="1" u="none" strike="noStrike" cap="none">
                <a:solidFill>
                  <a:srgbClr val="FFFFFF"/>
                </a:solidFill>
                <a:latin typeface="CiscoSansTT ExtraLight" panose="020B0303020201020303" pitchFamily="34" charset="0"/>
                <a:ea typeface="Helvetica Neue"/>
                <a:cs typeface="CiscoSansTT ExtraLight" panose="020B0303020201020303" pitchFamily="34" charset="0"/>
                <a:sym typeface="Helvetica Neue"/>
              </a:endParaRPr>
            </a:p>
          </p:txBody>
        </p:sp>
        <p:sp>
          <p:nvSpPr>
            <p:cNvPr id="30" name="Google Shape;1193;p210">
              <a:extLst>
                <a:ext uri="{FF2B5EF4-FFF2-40B4-BE49-F238E27FC236}">
                  <a16:creationId xmlns:a16="http://schemas.microsoft.com/office/drawing/2014/main" id="{BD594A4B-CBA8-2342-B684-69DF1BA8C921}"/>
                </a:ext>
              </a:extLst>
            </p:cNvPr>
            <p:cNvSpPr txBox="1"/>
            <p:nvPr/>
          </p:nvSpPr>
          <p:spPr>
            <a:xfrm>
              <a:off x="7637209" y="3524200"/>
              <a:ext cx="548400" cy="2604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34275" rIns="0" bIns="34275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200"/>
                <a:buFont typeface="Arial"/>
                <a:buNone/>
              </a:pPr>
              <a:r>
                <a:rPr lang="en-US" sz="1600" u="none" strike="noStrike" cap="none">
                  <a:solidFill>
                    <a:srgbClr val="FFFFFF"/>
                  </a:solidFill>
                  <a:latin typeface="CiscoSansTT ExtraLight" panose="020B0303020201020303" pitchFamily="34" charset="0"/>
                  <a:ea typeface="Helvetica Neue Light"/>
                  <a:cs typeface="CiscoSansTT ExtraLight" panose="020B0303020201020303" pitchFamily="34" charset="0"/>
                  <a:sym typeface="Helvetica Neue Light"/>
                </a:rPr>
                <a:t>XX%</a:t>
              </a:r>
              <a:endParaRPr sz="1600" u="none" strike="noStrike" cap="none">
                <a:solidFill>
                  <a:srgbClr val="FFFFFF"/>
                </a:solidFill>
                <a:latin typeface="CiscoSansTT ExtraLight" panose="020B0303020201020303" pitchFamily="34" charset="0"/>
                <a:ea typeface="Helvetica Neue Light"/>
                <a:cs typeface="CiscoSansTT ExtraLight" panose="020B0303020201020303" pitchFamily="34" charset="0"/>
                <a:sym typeface="Helvetica Neue Light"/>
              </a:endParaRPr>
            </a:p>
          </p:txBody>
        </p:sp>
        <p:cxnSp>
          <p:nvCxnSpPr>
            <p:cNvPr id="31" name="Google Shape;1194;p210">
              <a:extLst>
                <a:ext uri="{FF2B5EF4-FFF2-40B4-BE49-F238E27FC236}">
                  <a16:creationId xmlns:a16="http://schemas.microsoft.com/office/drawing/2014/main" id="{074F3B5B-D726-AB44-9FEF-A55E95B8383D}"/>
                </a:ext>
              </a:extLst>
            </p:cNvPr>
            <p:cNvCxnSpPr/>
            <p:nvPr/>
          </p:nvCxnSpPr>
          <p:spPr>
            <a:xfrm>
              <a:off x="4849160" y="1216317"/>
              <a:ext cx="0" cy="2829900"/>
            </a:xfrm>
            <a:prstGeom prst="straightConnector1">
              <a:avLst/>
            </a:prstGeom>
            <a:noFill/>
            <a:ln w="12700" cap="flat" cmpd="sng">
              <a:solidFill>
                <a:srgbClr val="FFFFFF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  <p:cxnSp>
          <p:nvCxnSpPr>
            <p:cNvPr id="32" name="Google Shape;1195;p210">
              <a:extLst>
                <a:ext uri="{FF2B5EF4-FFF2-40B4-BE49-F238E27FC236}">
                  <a16:creationId xmlns:a16="http://schemas.microsoft.com/office/drawing/2014/main" id="{56EC799F-F0CE-1C4A-88E4-D9B101D679D8}"/>
                </a:ext>
              </a:extLst>
            </p:cNvPr>
            <p:cNvCxnSpPr/>
            <p:nvPr/>
          </p:nvCxnSpPr>
          <p:spPr>
            <a:xfrm>
              <a:off x="6200375" y="1271000"/>
              <a:ext cx="0" cy="2769900"/>
            </a:xfrm>
            <a:prstGeom prst="straightConnector1">
              <a:avLst/>
            </a:prstGeom>
            <a:noFill/>
            <a:ln w="12700" cap="flat" cmpd="sng">
              <a:solidFill>
                <a:srgbClr val="FFFFFF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</p:grpSp>
      <p:sp>
        <p:nvSpPr>
          <p:cNvPr id="35" name="Text Placeholder 34">
            <a:extLst>
              <a:ext uri="{FF2B5EF4-FFF2-40B4-BE49-F238E27FC236}">
                <a16:creationId xmlns:a16="http://schemas.microsoft.com/office/drawing/2014/main" id="{104628BA-4C61-8440-A07A-B41A776F3B7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13835" y="3807885"/>
            <a:ext cx="3402084" cy="1791599"/>
          </a:xfrm>
          <a:prstGeom prst="rect">
            <a:avLst/>
          </a:prstGeom>
        </p:spPr>
        <p:txBody>
          <a:bodyPr/>
          <a:lstStyle>
            <a:lvl1pPr marL="0" marR="0" indent="0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 sz="1600" b="0" i="0">
                <a:solidFill>
                  <a:schemeClr val="tx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defRPr>
            </a:lvl1pPr>
          </a:lstStyle>
          <a:p>
            <a:pPr marL="0" marR="0" lvl="0" indent="0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lang="en-US" sz="1600">
                <a:solidFill>
                  <a:schemeClr val="tx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rPr>
              <a:t>Duis </a:t>
            </a:r>
            <a:r>
              <a:rPr lang="en-US" sz="1600" err="1">
                <a:solidFill>
                  <a:schemeClr val="tx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rPr>
              <a:t>viverra</a:t>
            </a:r>
            <a:r>
              <a:rPr lang="en-US" sz="1600">
                <a:solidFill>
                  <a:schemeClr val="tx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rPr>
              <a:t> ipsum </a:t>
            </a:r>
            <a:r>
              <a:rPr lang="en-US" sz="1600" err="1">
                <a:solidFill>
                  <a:schemeClr val="tx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rPr>
              <a:t>odio</a:t>
            </a:r>
            <a:r>
              <a:rPr lang="en-US" sz="1600">
                <a:solidFill>
                  <a:schemeClr val="tx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rPr>
              <a:t>, </a:t>
            </a:r>
            <a:r>
              <a:rPr lang="en-US" sz="1600" err="1">
                <a:solidFill>
                  <a:schemeClr val="tx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rPr>
              <a:t>efficitur</a:t>
            </a:r>
            <a:r>
              <a:rPr lang="en-US" sz="1600">
                <a:solidFill>
                  <a:schemeClr val="tx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rPr>
              <a:t> </a:t>
            </a:r>
            <a:r>
              <a:rPr lang="en-US" sz="1600" err="1">
                <a:solidFill>
                  <a:schemeClr val="tx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rPr>
              <a:t>suscipit</a:t>
            </a:r>
            <a:r>
              <a:rPr lang="en-US" sz="1600">
                <a:solidFill>
                  <a:schemeClr val="tx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rPr>
              <a:t> </a:t>
            </a:r>
            <a:r>
              <a:rPr lang="en-US" sz="1600" err="1">
                <a:solidFill>
                  <a:schemeClr val="tx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rPr>
              <a:t>quam</a:t>
            </a:r>
            <a:r>
              <a:rPr lang="en-US" sz="1600">
                <a:solidFill>
                  <a:schemeClr val="tx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rPr>
              <a:t> </a:t>
            </a:r>
            <a:r>
              <a:rPr lang="en-US" sz="1600" err="1">
                <a:solidFill>
                  <a:schemeClr val="tx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rPr>
              <a:t>molestie</a:t>
            </a:r>
            <a:r>
              <a:rPr lang="en-US" sz="1600">
                <a:solidFill>
                  <a:schemeClr val="tx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rPr>
              <a:t> non. </a:t>
            </a:r>
            <a:r>
              <a:rPr lang="en-US" sz="1600" err="1">
                <a:solidFill>
                  <a:schemeClr val="tx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rPr>
              <a:t>Quisque</a:t>
            </a:r>
            <a:r>
              <a:rPr lang="en-US" sz="1600">
                <a:solidFill>
                  <a:schemeClr val="tx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rPr>
              <a:t> </a:t>
            </a:r>
            <a:r>
              <a:rPr lang="en-US" sz="1600" err="1">
                <a:solidFill>
                  <a:schemeClr val="tx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rPr>
              <a:t>lobortis</a:t>
            </a:r>
            <a:r>
              <a:rPr lang="en-US" sz="1600">
                <a:solidFill>
                  <a:schemeClr val="tx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rPr>
              <a:t> ante </a:t>
            </a:r>
            <a:r>
              <a:rPr lang="en-US" sz="1600" err="1">
                <a:solidFill>
                  <a:schemeClr val="tx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rPr>
              <a:t>nec</a:t>
            </a:r>
            <a:r>
              <a:rPr lang="en-US" sz="1600">
                <a:solidFill>
                  <a:schemeClr val="tx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rPr>
              <a:t> </a:t>
            </a:r>
            <a:r>
              <a:rPr lang="en-US" sz="1600" err="1">
                <a:solidFill>
                  <a:schemeClr val="tx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rPr>
              <a:t>urna</a:t>
            </a:r>
            <a:r>
              <a:rPr lang="en-US" sz="1600">
                <a:solidFill>
                  <a:schemeClr val="tx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rPr>
              <a:t> </a:t>
            </a:r>
            <a:r>
              <a:rPr lang="en-US" sz="1600" err="1">
                <a:solidFill>
                  <a:schemeClr val="tx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rPr>
              <a:t>egestas</a:t>
            </a:r>
            <a:r>
              <a:rPr lang="en-US" sz="1600">
                <a:solidFill>
                  <a:schemeClr val="tx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rPr>
              <a:t> </a:t>
            </a:r>
            <a:r>
              <a:rPr lang="en-US" sz="1600" err="1">
                <a:solidFill>
                  <a:schemeClr val="tx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rPr>
              <a:t>viverra</a:t>
            </a:r>
            <a:r>
              <a:rPr lang="en-US" sz="1600">
                <a:solidFill>
                  <a:schemeClr val="tx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rPr>
              <a:t>. </a:t>
            </a:r>
            <a:br>
              <a:rPr lang="en-US" sz="1600">
                <a:solidFill>
                  <a:schemeClr val="tx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rPr>
            </a:br>
            <a:br>
              <a:rPr lang="en-US" sz="1600">
                <a:solidFill>
                  <a:schemeClr val="tx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rPr>
            </a:br>
            <a:r>
              <a:rPr lang="en-US" sz="1600">
                <a:solidFill>
                  <a:schemeClr val="tx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rPr>
              <a:t>Sed vel ipsum </a:t>
            </a:r>
            <a:r>
              <a:rPr lang="en-US" sz="1600" err="1">
                <a:solidFill>
                  <a:schemeClr val="tx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rPr>
              <a:t>metus</a:t>
            </a:r>
            <a:r>
              <a:rPr lang="en-US" sz="1600">
                <a:solidFill>
                  <a:schemeClr val="tx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rPr>
              <a:t> sed </a:t>
            </a:r>
            <a:r>
              <a:rPr lang="en-US" sz="1600" err="1">
                <a:solidFill>
                  <a:schemeClr val="tx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rPr>
              <a:t>consectetur</a:t>
            </a:r>
            <a:r>
              <a:rPr lang="en-US" sz="1600">
                <a:solidFill>
                  <a:schemeClr val="tx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rPr>
              <a:t>.</a:t>
            </a:r>
            <a:endParaRPr lang="en-US" sz="1600">
              <a:solidFill>
                <a:schemeClr val="tx1"/>
              </a:solidFill>
              <a:latin typeface="CiscoSansTT ExtraLight" panose="020B0303020201020303" pitchFamily="34" charset="0"/>
              <a:cs typeface="CiscoSansTT ExtraLight" panose="020B0303020201020303" pitchFamily="34" charset="0"/>
              <a:sym typeface="Helvetica Neue Light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lang="en-US" sz="1600" u="none" strike="noStrike" cap="none">
              <a:solidFill>
                <a:schemeClr val="tx1"/>
              </a:solidFill>
              <a:latin typeface="CiscoSansTT ExtraLight" panose="020B0303020201020303" pitchFamily="34" charset="0"/>
              <a:ea typeface="Helvetica Neue Light"/>
              <a:cs typeface="CiscoSansTT ExtraLight" panose="020B0303020201020303" pitchFamily="34" charset="0"/>
              <a:sym typeface="Helvetica Neue Light"/>
            </a:endParaRPr>
          </a:p>
        </p:txBody>
      </p:sp>
      <p:sp>
        <p:nvSpPr>
          <p:cNvPr id="37" name="Text Placeholder 9">
            <a:extLst>
              <a:ext uri="{FF2B5EF4-FFF2-40B4-BE49-F238E27FC236}">
                <a16:creationId xmlns:a16="http://schemas.microsoft.com/office/drawing/2014/main" id="{897549C3-E3D2-2C40-B8D9-D595297B9A7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83007" y="1973391"/>
            <a:ext cx="3564468" cy="1218588"/>
          </a:xfrm>
          <a:prstGeom prst="rect">
            <a:avLst/>
          </a:prstGeom>
        </p:spPr>
        <p:txBody>
          <a:bodyPr/>
          <a:lstStyle>
            <a:lvl1pPr>
              <a:defRPr sz="4000" b="0" i="0">
                <a:solidFill>
                  <a:schemeClr val="tx1"/>
                </a:solidFill>
                <a:latin typeface="+mj-lt"/>
                <a:cs typeface="CiscoSansTT ExtraLight" panose="020B0303020201020303" pitchFamily="34" charset="0"/>
              </a:defRPr>
            </a:lvl1pPr>
          </a:lstStyle>
          <a:p>
            <a:pPr lvl="0"/>
            <a:r>
              <a:rPr lang="en-GB"/>
              <a:t>Click to add text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86143367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1201;p211">
            <a:extLst>
              <a:ext uri="{FF2B5EF4-FFF2-40B4-BE49-F238E27FC236}">
                <a16:creationId xmlns:a16="http://schemas.microsoft.com/office/drawing/2014/main" id="{85F3A10C-9F12-C849-A4B1-EE083B63CEE7}"/>
              </a:ext>
            </a:extLst>
          </p:cNvPr>
          <p:cNvSpPr/>
          <p:nvPr userDrawn="1"/>
        </p:nvSpPr>
        <p:spPr>
          <a:xfrm>
            <a:off x="-703505" y="457867"/>
            <a:ext cx="1573600" cy="1573600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pic>
        <p:nvPicPr>
          <p:cNvPr id="6" name="Google Shape;1204;p211">
            <a:extLst>
              <a:ext uri="{FF2B5EF4-FFF2-40B4-BE49-F238E27FC236}">
                <a16:creationId xmlns:a16="http://schemas.microsoft.com/office/drawing/2014/main" id="{DDC5EB1F-5FE4-8847-ABBB-82817EEC7613}"/>
              </a:ext>
            </a:extLst>
          </p:cNvPr>
          <p:cNvPicPr preferRelativeResize="0"/>
          <p:nvPr userDrawn="1"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13134"/>
          <a:stretch/>
        </p:blipFill>
        <p:spPr>
          <a:xfrm>
            <a:off x="-2166267" y="996000"/>
            <a:ext cx="8012800" cy="4672800"/>
          </a:xfrm>
          <a:prstGeom prst="roundRect">
            <a:avLst>
              <a:gd name="adj" fmla="val 50000"/>
            </a:avLst>
          </a:prstGeom>
          <a:noFill/>
          <a:ln>
            <a:noFill/>
          </a:ln>
        </p:spPr>
      </p:pic>
      <p:sp>
        <p:nvSpPr>
          <p:cNvPr id="7" name="Google Shape;1205;p211">
            <a:extLst>
              <a:ext uri="{FF2B5EF4-FFF2-40B4-BE49-F238E27FC236}">
                <a16:creationId xmlns:a16="http://schemas.microsoft.com/office/drawing/2014/main" id="{99EA2C8F-4784-8B43-91E5-472CC39CC73C}"/>
              </a:ext>
            </a:extLst>
          </p:cNvPr>
          <p:cNvSpPr/>
          <p:nvPr userDrawn="1"/>
        </p:nvSpPr>
        <p:spPr>
          <a:xfrm>
            <a:off x="4118532" y="4803167"/>
            <a:ext cx="1120400" cy="1120400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8" name="Text Placeholder 34">
            <a:extLst>
              <a:ext uri="{FF2B5EF4-FFF2-40B4-BE49-F238E27FC236}">
                <a16:creationId xmlns:a16="http://schemas.microsoft.com/office/drawing/2014/main" id="{51001CE0-F65B-2E4E-AE64-C00B92C9DFD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957639" y="2760197"/>
            <a:ext cx="3402084" cy="1791599"/>
          </a:xfrm>
          <a:prstGeom prst="rect">
            <a:avLst/>
          </a:prstGeom>
        </p:spPr>
        <p:txBody>
          <a:bodyPr/>
          <a:lstStyle>
            <a:lvl1pPr marL="0" marR="0" indent="0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 sz="1600" b="0" i="0">
                <a:solidFill>
                  <a:schemeClr val="tx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defRPr>
            </a:lvl1pPr>
          </a:lstStyle>
          <a:p>
            <a:pPr marL="0" marR="0" lvl="0" indent="0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lang="en-US" sz="1600">
                <a:solidFill>
                  <a:schemeClr val="tx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rPr>
              <a:t>Duis </a:t>
            </a:r>
            <a:r>
              <a:rPr lang="en-US" sz="1600" err="1">
                <a:solidFill>
                  <a:schemeClr val="tx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rPr>
              <a:t>viverra</a:t>
            </a:r>
            <a:r>
              <a:rPr lang="en-US" sz="1600">
                <a:solidFill>
                  <a:schemeClr val="tx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rPr>
              <a:t> ipsum </a:t>
            </a:r>
            <a:r>
              <a:rPr lang="en-US" sz="1600" err="1">
                <a:solidFill>
                  <a:schemeClr val="tx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rPr>
              <a:t>odio</a:t>
            </a:r>
            <a:r>
              <a:rPr lang="en-US" sz="1600">
                <a:solidFill>
                  <a:schemeClr val="tx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rPr>
              <a:t>, </a:t>
            </a:r>
            <a:r>
              <a:rPr lang="en-US" sz="1600" err="1">
                <a:solidFill>
                  <a:schemeClr val="tx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rPr>
              <a:t>efficitur</a:t>
            </a:r>
            <a:r>
              <a:rPr lang="en-US" sz="1600">
                <a:solidFill>
                  <a:schemeClr val="tx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rPr>
              <a:t> </a:t>
            </a:r>
            <a:r>
              <a:rPr lang="en-US" sz="1600" err="1">
                <a:solidFill>
                  <a:schemeClr val="tx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rPr>
              <a:t>suscipit</a:t>
            </a:r>
            <a:r>
              <a:rPr lang="en-US" sz="1600">
                <a:solidFill>
                  <a:schemeClr val="tx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rPr>
              <a:t> </a:t>
            </a:r>
            <a:r>
              <a:rPr lang="en-US" sz="1600" err="1">
                <a:solidFill>
                  <a:schemeClr val="tx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rPr>
              <a:t>quam</a:t>
            </a:r>
            <a:r>
              <a:rPr lang="en-US" sz="1600">
                <a:solidFill>
                  <a:schemeClr val="tx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rPr>
              <a:t> </a:t>
            </a:r>
            <a:r>
              <a:rPr lang="en-US" sz="1600" err="1">
                <a:solidFill>
                  <a:schemeClr val="tx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rPr>
              <a:t>molestie</a:t>
            </a:r>
            <a:r>
              <a:rPr lang="en-US" sz="1600">
                <a:solidFill>
                  <a:schemeClr val="tx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rPr>
              <a:t> non. </a:t>
            </a:r>
            <a:r>
              <a:rPr lang="en-US" sz="1600" err="1">
                <a:solidFill>
                  <a:schemeClr val="tx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rPr>
              <a:t>Quisque</a:t>
            </a:r>
            <a:r>
              <a:rPr lang="en-US" sz="1600">
                <a:solidFill>
                  <a:schemeClr val="tx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rPr>
              <a:t> </a:t>
            </a:r>
            <a:r>
              <a:rPr lang="en-US" sz="1600" err="1">
                <a:solidFill>
                  <a:schemeClr val="tx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rPr>
              <a:t>lobortis</a:t>
            </a:r>
            <a:r>
              <a:rPr lang="en-US" sz="1600">
                <a:solidFill>
                  <a:schemeClr val="tx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rPr>
              <a:t> ante </a:t>
            </a:r>
            <a:r>
              <a:rPr lang="en-US" sz="1600" err="1">
                <a:solidFill>
                  <a:schemeClr val="tx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rPr>
              <a:t>nec</a:t>
            </a:r>
            <a:r>
              <a:rPr lang="en-US" sz="1600">
                <a:solidFill>
                  <a:schemeClr val="tx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rPr>
              <a:t> </a:t>
            </a:r>
            <a:r>
              <a:rPr lang="en-US" sz="1600" err="1">
                <a:solidFill>
                  <a:schemeClr val="tx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rPr>
              <a:t>urna</a:t>
            </a:r>
            <a:r>
              <a:rPr lang="en-US" sz="1600">
                <a:solidFill>
                  <a:schemeClr val="tx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rPr>
              <a:t> </a:t>
            </a:r>
            <a:r>
              <a:rPr lang="en-US" sz="1600" err="1">
                <a:solidFill>
                  <a:schemeClr val="tx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rPr>
              <a:t>egestas</a:t>
            </a:r>
            <a:r>
              <a:rPr lang="en-US" sz="1600">
                <a:solidFill>
                  <a:schemeClr val="tx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rPr>
              <a:t> </a:t>
            </a:r>
            <a:r>
              <a:rPr lang="en-US" sz="1600" err="1">
                <a:solidFill>
                  <a:schemeClr val="tx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rPr>
              <a:t>viverra</a:t>
            </a:r>
            <a:r>
              <a:rPr lang="en-US" sz="1600">
                <a:solidFill>
                  <a:schemeClr val="tx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rPr>
              <a:t>. </a:t>
            </a:r>
            <a:br>
              <a:rPr lang="en-US" sz="1600">
                <a:solidFill>
                  <a:schemeClr val="tx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rPr>
            </a:br>
            <a:br>
              <a:rPr lang="en-US" sz="1600">
                <a:solidFill>
                  <a:schemeClr val="tx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rPr>
            </a:br>
            <a:r>
              <a:rPr lang="en-US" sz="1600">
                <a:solidFill>
                  <a:schemeClr val="tx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rPr>
              <a:t>Sed vel ipsum </a:t>
            </a:r>
            <a:r>
              <a:rPr lang="en-US" sz="1600" err="1">
                <a:solidFill>
                  <a:schemeClr val="tx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rPr>
              <a:t>metus</a:t>
            </a:r>
            <a:r>
              <a:rPr lang="en-US" sz="1600">
                <a:solidFill>
                  <a:schemeClr val="tx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rPr>
              <a:t> sed </a:t>
            </a:r>
            <a:r>
              <a:rPr lang="en-US" sz="1600" err="1">
                <a:solidFill>
                  <a:schemeClr val="tx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rPr>
              <a:t>consectetur</a:t>
            </a:r>
            <a:r>
              <a:rPr lang="en-US" sz="1600">
                <a:solidFill>
                  <a:schemeClr val="tx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rPr>
              <a:t>.</a:t>
            </a:r>
            <a:endParaRPr lang="en-US" sz="1600">
              <a:solidFill>
                <a:schemeClr val="tx1"/>
              </a:solidFill>
              <a:latin typeface="CiscoSansTT ExtraLight" panose="020B0303020201020303" pitchFamily="34" charset="0"/>
              <a:cs typeface="CiscoSansTT ExtraLight" panose="020B0303020201020303" pitchFamily="34" charset="0"/>
              <a:sym typeface="Helvetica Neue Light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lang="en-US" sz="1600" u="none" strike="noStrike" cap="none">
              <a:solidFill>
                <a:schemeClr val="tx1"/>
              </a:solidFill>
              <a:latin typeface="CiscoSansTT ExtraLight" panose="020B0303020201020303" pitchFamily="34" charset="0"/>
              <a:ea typeface="Helvetica Neue Light"/>
              <a:cs typeface="CiscoSansTT ExtraLight" panose="020B0303020201020303" pitchFamily="34" charset="0"/>
              <a:sym typeface="Helvetica Neue Light"/>
            </a:endParaRP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7F88E966-67A3-774E-A25D-4F72AE08C37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957640" y="1813193"/>
            <a:ext cx="3528483" cy="718400"/>
          </a:xfrm>
          <a:prstGeom prst="rect">
            <a:avLst/>
          </a:prstGeom>
        </p:spPr>
        <p:txBody>
          <a:bodyPr/>
          <a:lstStyle>
            <a:lvl1pPr>
              <a:defRPr sz="2933" b="0" i="0">
                <a:solidFill>
                  <a:schemeClr val="tx1"/>
                </a:solidFill>
                <a:latin typeface="+mj-lt"/>
                <a:cs typeface="CiscoSansTT ExtraLight" panose="020B0303020201020303" pitchFamily="34" charset="0"/>
              </a:defRPr>
            </a:lvl1pPr>
            <a:lvl2pPr>
              <a:defRPr sz="2933" b="0" i="0">
                <a:solidFill>
                  <a:schemeClr val="tx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defRPr>
            </a:lvl2pPr>
            <a:lvl3pPr>
              <a:defRPr sz="2933" b="0" i="0">
                <a:solidFill>
                  <a:schemeClr val="tx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defRPr>
            </a:lvl3pPr>
            <a:lvl4pPr>
              <a:defRPr sz="2933" b="0" i="0">
                <a:solidFill>
                  <a:schemeClr val="tx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defRPr>
            </a:lvl4pPr>
            <a:lvl5pPr>
              <a:defRPr sz="2933" b="0" i="0">
                <a:solidFill>
                  <a:schemeClr val="tx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defRPr>
            </a:lvl5pPr>
          </a:lstStyle>
          <a:p>
            <a:pPr lvl="0"/>
            <a:r>
              <a:rPr lang="en-GB"/>
              <a:t>Lorem ipsum </a:t>
            </a:r>
            <a:r>
              <a:rPr lang="en-GB" err="1"/>
              <a:t>dolor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52914038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1212;p212">
            <a:extLst>
              <a:ext uri="{FF2B5EF4-FFF2-40B4-BE49-F238E27FC236}">
                <a16:creationId xmlns:a16="http://schemas.microsoft.com/office/drawing/2014/main" id="{E7A35B42-287D-E942-A613-3CC866B50A2E}"/>
              </a:ext>
            </a:extLst>
          </p:cNvPr>
          <p:cNvSpPr/>
          <p:nvPr userDrawn="1"/>
        </p:nvSpPr>
        <p:spPr>
          <a:xfrm>
            <a:off x="11290633" y="417933"/>
            <a:ext cx="1839600" cy="183960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pic>
        <p:nvPicPr>
          <p:cNvPr id="6" name="Google Shape;1215;p212">
            <a:extLst>
              <a:ext uri="{FF2B5EF4-FFF2-40B4-BE49-F238E27FC236}">
                <a16:creationId xmlns:a16="http://schemas.microsoft.com/office/drawing/2014/main" id="{59F8BF00-B2B2-3D4F-B8E4-C0930D2A82E0}"/>
              </a:ext>
            </a:extLst>
          </p:cNvPr>
          <p:cNvPicPr preferRelativeResize="0"/>
          <p:nvPr userDrawn="1"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38754"/>
          <a:stretch/>
        </p:blipFill>
        <p:spPr>
          <a:xfrm>
            <a:off x="5521433" y="1044900"/>
            <a:ext cx="10550400" cy="4874000"/>
          </a:xfrm>
          <a:prstGeom prst="roundRect">
            <a:avLst>
              <a:gd name="adj" fmla="val 50000"/>
            </a:avLst>
          </a:prstGeom>
          <a:noFill/>
          <a:ln>
            <a:noFill/>
          </a:ln>
        </p:spPr>
      </p:pic>
      <p:sp>
        <p:nvSpPr>
          <p:cNvPr id="7" name="Google Shape;1216;p212">
            <a:extLst>
              <a:ext uri="{FF2B5EF4-FFF2-40B4-BE49-F238E27FC236}">
                <a16:creationId xmlns:a16="http://schemas.microsoft.com/office/drawing/2014/main" id="{386EDC57-A09A-1840-A499-FB3821AE1AE5}"/>
              </a:ext>
            </a:extLst>
          </p:cNvPr>
          <p:cNvSpPr/>
          <p:nvPr userDrawn="1"/>
        </p:nvSpPr>
        <p:spPr>
          <a:xfrm>
            <a:off x="6403900" y="5064367"/>
            <a:ext cx="957600" cy="957600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8" name="Text Placeholder 34">
            <a:extLst>
              <a:ext uri="{FF2B5EF4-FFF2-40B4-BE49-F238E27FC236}">
                <a16:creationId xmlns:a16="http://schemas.microsoft.com/office/drawing/2014/main" id="{EC168973-AEAE-BA45-968A-BFC051822A8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39494" y="2235263"/>
            <a:ext cx="3883103" cy="3414688"/>
          </a:xfrm>
          <a:prstGeom prst="rect">
            <a:avLst/>
          </a:prstGeom>
        </p:spPr>
        <p:txBody>
          <a:bodyPr/>
          <a:lstStyle>
            <a:lvl1pPr marL="609570" marR="0" indent="-37251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ts val="800"/>
              <a:buFont typeface="Helvetica Neue Light"/>
              <a:buChar char="●"/>
              <a:tabLst/>
              <a:defRPr sz="1600" b="0" i="0">
                <a:solidFill>
                  <a:schemeClr val="tx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defRPr>
            </a:lvl1pPr>
          </a:lstStyle>
          <a:p>
            <a:pPr marL="609570" lvl="0" indent="-372515" rtl="0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ts val="800"/>
              <a:buFont typeface="Helvetica Neue Light"/>
              <a:buChar char="●"/>
            </a:pPr>
            <a:r>
              <a:rPr lang="en-US" sz="1600">
                <a:solidFill>
                  <a:schemeClr val="tx1"/>
                </a:solidFill>
                <a:latin typeface="CiscoSansTT ExtraLight" panose="020B0303020201020303" pitchFamily="34" charset="0"/>
                <a:ea typeface="Helvetica Neue Light"/>
                <a:cs typeface="CiscoSansTT ExtraLight" panose="020B0303020201020303" pitchFamily="34" charset="0"/>
                <a:sym typeface="Helvetica Neue Light"/>
              </a:rPr>
              <a:t>Lorem ipsum dolor sit </a:t>
            </a:r>
            <a:r>
              <a:rPr lang="en-US" sz="1600" err="1">
                <a:solidFill>
                  <a:schemeClr val="tx1"/>
                </a:solidFill>
                <a:latin typeface="CiscoSansTT ExtraLight" panose="020B0303020201020303" pitchFamily="34" charset="0"/>
                <a:ea typeface="Helvetica Neue Light"/>
                <a:cs typeface="CiscoSansTT ExtraLight" panose="020B0303020201020303" pitchFamily="34" charset="0"/>
                <a:sym typeface="Helvetica Neue Light"/>
              </a:rPr>
              <a:t>amet</a:t>
            </a:r>
            <a:r>
              <a:rPr lang="en-US" sz="1600">
                <a:solidFill>
                  <a:schemeClr val="tx1"/>
                </a:solidFill>
                <a:latin typeface="CiscoSansTT ExtraLight" panose="020B0303020201020303" pitchFamily="34" charset="0"/>
                <a:ea typeface="Helvetica Neue Light"/>
                <a:cs typeface="CiscoSansTT ExtraLight" panose="020B0303020201020303" pitchFamily="34" charset="0"/>
                <a:sym typeface="Helvetica Neue Light"/>
              </a:rPr>
              <a:t>, </a:t>
            </a:r>
            <a:r>
              <a:rPr lang="en-US" sz="1600" err="1">
                <a:solidFill>
                  <a:schemeClr val="tx1"/>
                </a:solidFill>
                <a:latin typeface="CiscoSansTT ExtraLight" panose="020B0303020201020303" pitchFamily="34" charset="0"/>
                <a:ea typeface="Helvetica Neue Light"/>
                <a:cs typeface="CiscoSansTT ExtraLight" panose="020B0303020201020303" pitchFamily="34" charset="0"/>
                <a:sym typeface="Helvetica Neue Light"/>
              </a:rPr>
              <a:t>consectetur</a:t>
            </a:r>
            <a:r>
              <a:rPr lang="en-US" sz="1600">
                <a:solidFill>
                  <a:schemeClr val="tx1"/>
                </a:solidFill>
                <a:latin typeface="CiscoSansTT ExtraLight" panose="020B0303020201020303" pitchFamily="34" charset="0"/>
                <a:ea typeface="Helvetica Neue Light"/>
                <a:cs typeface="CiscoSansTT ExtraLight" panose="020B0303020201020303" pitchFamily="34" charset="0"/>
                <a:sym typeface="Helvetica Neue Light"/>
              </a:rPr>
              <a:t> </a:t>
            </a:r>
            <a:r>
              <a:rPr lang="en-US" sz="1600" err="1">
                <a:solidFill>
                  <a:schemeClr val="tx1"/>
                </a:solidFill>
                <a:latin typeface="CiscoSansTT ExtraLight" panose="020B0303020201020303" pitchFamily="34" charset="0"/>
                <a:ea typeface="Helvetica Neue Light"/>
                <a:cs typeface="CiscoSansTT ExtraLight" panose="020B0303020201020303" pitchFamily="34" charset="0"/>
                <a:sym typeface="Helvetica Neue Light"/>
              </a:rPr>
              <a:t>adipiscing</a:t>
            </a:r>
            <a:r>
              <a:rPr lang="en-US" sz="1600">
                <a:solidFill>
                  <a:schemeClr val="tx1"/>
                </a:solidFill>
                <a:latin typeface="CiscoSansTT ExtraLight" panose="020B0303020201020303" pitchFamily="34" charset="0"/>
                <a:ea typeface="Helvetica Neue Light"/>
                <a:cs typeface="CiscoSansTT ExtraLight" panose="020B0303020201020303" pitchFamily="34" charset="0"/>
                <a:sym typeface="Helvetica Neue Light"/>
              </a:rPr>
              <a:t> </a:t>
            </a:r>
            <a:r>
              <a:rPr lang="en-US" sz="1600" err="1">
                <a:solidFill>
                  <a:schemeClr val="tx1"/>
                </a:solidFill>
                <a:latin typeface="CiscoSansTT ExtraLight" panose="020B0303020201020303" pitchFamily="34" charset="0"/>
                <a:ea typeface="Helvetica Neue Light"/>
                <a:cs typeface="CiscoSansTT ExtraLight" panose="020B0303020201020303" pitchFamily="34" charset="0"/>
                <a:sym typeface="Helvetica Neue Light"/>
              </a:rPr>
              <a:t>elit</a:t>
            </a:r>
            <a:r>
              <a:rPr lang="en-US" sz="1600">
                <a:solidFill>
                  <a:schemeClr val="tx1"/>
                </a:solidFill>
                <a:latin typeface="CiscoSansTT ExtraLight" panose="020B0303020201020303" pitchFamily="34" charset="0"/>
                <a:ea typeface="Helvetica Neue Light"/>
                <a:cs typeface="CiscoSansTT ExtraLight" panose="020B0303020201020303" pitchFamily="34" charset="0"/>
                <a:sym typeface="Helvetica Neue Light"/>
              </a:rPr>
              <a:t>. </a:t>
            </a:r>
          </a:p>
          <a:p>
            <a:pPr marL="609570" lvl="0" indent="0" rtl="0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None/>
            </a:pPr>
            <a:endParaRPr lang="en-US" sz="1600">
              <a:solidFill>
                <a:schemeClr val="tx1"/>
              </a:solidFill>
              <a:latin typeface="CiscoSansTT ExtraLight" panose="020B0303020201020303" pitchFamily="34" charset="0"/>
              <a:ea typeface="Helvetica Neue Light"/>
              <a:cs typeface="CiscoSansTT ExtraLight" panose="020B0303020201020303" pitchFamily="34" charset="0"/>
              <a:sym typeface="Helvetica Neue Light"/>
            </a:endParaRPr>
          </a:p>
          <a:p>
            <a:pPr marL="609570" lvl="0" indent="-372515" rtl="0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ts val="800"/>
              <a:buFont typeface="Helvetica Neue Light"/>
              <a:buChar char="●"/>
            </a:pPr>
            <a:r>
              <a:rPr lang="en-US" sz="1600" err="1">
                <a:solidFill>
                  <a:schemeClr val="tx1"/>
                </a:solidFill>
                <a:latin typeface="CiscoSansTT ExtraLight" panose="020B0303020201020303" pitchFamily="34" charset="0"/>
                <a:ea typeface="Helvetica Neue Light"/>
                <a:cs typeface="CiscoSansTT ExtraLight" panose="020B0303020201020303" pitchFamily="34" charset="0"/>
                <a:sym typeface="Helvetica Neue Light"/>
              </a:rPr>
              <a:t>Quisque</a:t>
            </a:r>
            <a:r>
              <a:rPr lang="en-US" sz="1600">
                <a:solidFill>
                  <a:schemeClr val="tx1"/>
                </a:solidFill>
                <a:latin typeface="CiscoSansTT ExtraLight" panose="020B0303020201020303" pitchFamily="34" charset="0"/>
                <a:ea typeface="Helvetica Neue Light"/>
                <a:cs typeface="CiscoSansTT ExtraLight" panose="020B0303020201020303" pitchFamily="34" charset="0"/>
                <a:sym typeface="Helvetica Neue Light"/>
              </a:rPr>
              <a:t> </a:t>
            </a:r>
            <a:r>
              <a:rPr lang="en-US" sz="1600" err="1">
                <a:solidFill>
                  <a:schemeClr val="tx1"/>
                </a:solidFill>
                <a:latin typeface="CiscoSansTT ExtraLight" panose="020B0303020201020303" pitchFamily="34" charset="0"/>
                <a:ea typeface="Helvetica Neue Light"/>
                <a:cs typeface="CiscoSansTT ExtraLight" panose="020B0303020201020303" pitchFamily="34" charset="0"/>
                <a:sym typeface="Helvetica Neue Light"/>
              </a:rPr>
              <a:t>varius</a:t>
            </a:r>
            <a:r>
              <a:rPr lang="en-US" sz="1600">
                <a:solidFill>
                  <a:schemeClr val="tx1"/>
                </a:solidFill>
                <a:latin typeface="CiscoSansTT ExtraLight" panose="020B0303020201020303" pitchFamily="34" charset="0"/>
                <a:ea typeface="Helvetica Neue Light"/>
                <a:cs typeface="CiscoSansTT ExtraLight" panose="020B0303020201020303" pitchFamily="34" charset="0"/>
                <a:sym typeface="Helvetica Neue Light"/>
              </a:rPr>
              <a:t> </a:t>
            </a:r>
            <a:r>
              <a:rPr lang="en-US" sz="1600" err="1">
                <a:solidFill>
                  <a:schemeClr val="tx1"/>
                </a:solidFill>
                <a:latin typeface="CiscoSansTT ExtraLight" panose="020B0303020201020303" pitchFamily="34" charset="0"/>
                <a:ea typeface="Helvetica Neue Light"/>
                <a:cs typeface="CiscoSansTT ExtraLight" panose="020B0303020201020303" pitchFamily="34" charset="0"/>
                <a:sym typeface="Helvetica Neue Light"/>
              </a:rPr>
              <a:t>luctus</a:t>
            </a:r>
            <a:r>
              <a:rPr lang="en-US" sz="1600">
                <a:solidFill>
                  <a:schemeClr val="tx1"/>
                </a:solidFill>
                <a:latin typeface="CiscoSansTT ExtraLight" panose="020B0303020201020303" pitchFamily="34" charset="0"/>
                <a:ea typeface="Helvetica Neue Light"/>
                <a:cs typeface="CiscoSansTT ExtraLight" panose="020B0303020201020303" pitchFamily="34" charset="0"/>
                <a:sym typeface="Helvetica Neue Light"/>
              </a:rPr>
              <a:t> </a:t>
            </a:r>
            <a:r>
              <a:rPr lang="en-US" sz="1600" err="1">
                <a:solidFill>
                  <a:schemeClr val="tx1"/>
                </a:solidFill>
                <a:latin typeface="CiscoSansTT ExtraLight" panose="020B0303020201020303" pitchFamily="34" charset="0"/>
                <a:ea typeface="Helvetica Neue Light"/>
                <a:cs typeface="CiscoSansTT ExtraLight" panose="020B0303020201020303" pitchFamily="34" charset="0"/>
                <a:sym typeface="Helvetica Neue Light"/>
              </a:rPr>
              <a:t>luctus</a:t>
            </a:r>
            <a:r>
              <a:rPr lang="en-US" sz="1600">
                <a:solidFill>
                  <a:schemeClr val="tx1"/>
                </a:solidFill>
                <a:latin typeface="CiscoSansTT ExtraLight" panose="020B0303020201020303" pitchFamily="34" charset="0"/>
                <a:ea typeface="Helvetica Neue Light"/>
                <a:cs typeface="CiscoSansTT ExtraLight" panose="020B0303020201020303" pitchFamily="34" charset="0"/>
                <a:sym typeface="Helvetica Neue Light"/>
              </a:rPr>
              <a:t>. Cras </a:t>
            </a:r>
            <a:r>
              <a:rPr lang="en-US" sz="1600" err="1">
                <a:solidFill>
                  <a:schemeClr val="tx1"/>
                </a:solidFill>
                <a:latin typeface="CiscoSansTT ExtraLight" panose="020B0303020201020303" pitchFamily="34" charset="0"/>
                <a:ea typeface="Helvetica Neue Light"/>
                <a:cs typeface="CiscoSansTT ExtraLight" panose="020B0303020201020303" pitchFamily="34" charset="0"/>
                <a:sym typeface="Helvetica Neue Light"/>
              </a:rPr>
              <a:t>mattis</a:t>
            </a:r>
            <a:r>
              <a:rPr lang="en-US" sz="1600">
                <a:solidFill>
                  <a:schemeClr val="tx1"/>
                </a:solidFill>
                <a:latin typeface="CiscoSansTT ExtraLight" panose="020B0303020201020303" pitchFamily="34" charset="0"/>
                <a:ea typeface="Helvetica Neue Light"/>
                <a:cs typeface="CiscoSansTT ExtraLight" panose="020B0303020201020303" pitchFamily="34" charset="0"/>
                <a:sym typeface="Helvetica Neue Light"/>
              </a:rPr>
              <a:t> mi </a:t>
            </a:r>
            <a:r>
              <a:rPr lang="en-US" sz="1600" err="1">
                <a:solidFill>
                  <a:schemeClr val="tx1"/>
                </a:solidFill>
                <a:latin typeface="CiscoSansTT ExtraLight" panose="020B0303020201020303" pitchFamily="34" charset="0"/>
                <a:ea typeface="Helvetica Neue Light"/>
                <a:cs typeface="CiscoSansTT ExtraLight" panose="020B0303020201020303" pitchFamily="34" charset="0"/>
                <a:sym typeface="Helvetica Neue Light"/>
              </a:rPr>
              <a:t>malesuada</a:t>
            </a:r>
            <a:r>
              <a:rPr lang="en-US" sz="1600">
                <a:solidFill>
                  <a:schemeClr val="tx1"/>
                </a:solidFill>
                <a:latin typeface="CiscoSansTT ExtraLight" panose="020B0303020201020303" pitchFamily="34" charset="0"/>
                <a:ea typeface="Helvetica Neue Light"/>
                <a:cs typeface="CiscoSansTT ExtraLight" panose="020B0303020201020303" pitchFamily="34" charset="0"/>
                <a:sym typeface="Helvetica Neue Light"/>
              </a:rPr>
              <a:t> libero</a:t>
            </a:r>
          </a:p>
          <a:p>
            <a:pPr marL="609570" lvl="0" indent="0" rtl="0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None/>
            </a:pPr>
            <a:endParaRPr lang="en-US" sz="1600">
              <a:solidFill>
                <a:schemeClr val="tx1"/>
              </a:solidFill>
              <a:latin typeface="CiscoSansTT ExtraLight" panose="020B0303020201020303" pitchFamily="34" charset="0"/>
              <a:ea typeface="Helvetica Neue Light"/>
              <a:cs typeface="CiscoSansTT ExtraLight" panose="020B0303020201020303" pitchFamily="34" charset="0"/>
              <a:sym typeface="Helvetica Neue Light"/>
            </a:endParaRPr>
          </a:p>
          <a:p>
            <a:pPr marL="609570" lvl="0" indent="-372515" rtl="0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ts val="800"/>
              <a:buFont typeface="Helvetica Neue Light"/>
              <a:buChar char="●"/>
            </a:pPr>
            <a:r>
              <a:rPr lang="en-US" sz="1600" err="1">
                <a:solidFill>
                  <a:schemeClr val="tx1"/>
                </a:solidFill>
                <a:latin typeface="CiscoSansTT ExtraLight" panose="020B0303020201020303" pitchFamily="34" charset="0"/>
                <a:ea typeface="Helvetica Neue Light"/>
                <a:cs typeface="CiscoSansTT ExtraLight" panose="020B0303020201020303" pitchFamily="34" charset="0"/>
                <a:sym typeface="Helvetica Neue Light"/>
              </a:rPr>
              <a:t>Consectetur</a:t>
            </a:r>
            <a:r>
              <a:rPr lang="en-US" sz="1600">
                <a:solidFill>
                  <a:schemeClr val="tx1"/>
                </a:solidFill>
                <a:latin typeface="CiscoSansTT ExtraLight" panose="020B0303020201020303" pitchFamily="34" charset="0"/>
                <a:ea typeface="Helvetica Neue Light"/>
                <a:cs typeface="CiscoSansTT ExtraLight" panose="020B0303020201020303" pitchFamily="34" charset="0"/>
                <a:sym typeface="Helvetica Neue Light"/>
              </a:rPr>
              <a:t> </a:t>
            </a:r>
            <a:r>
              <a:rPr lang="en-US" sz="1600" err="1">
                <a:solidFill>
                  <a:schemeClr val="tx1"/>
                </a:solidFill>
                <a:latin typeface="CiscoSansTT ExtraLight" panose="020B0303020201020303" pitchFamily="34" charset="0"/>
                <a:ea typeface="Helvetica Neue Light"/>
                <a:cs typeface="CiscoSansTT ExtraLight" panose="020B0303020201020303" pitchFamily="34" charset="0"/>
                <a:sym typeface="Helvetica Neue Light"/>
              </a:rPr>
              <a:t>mollis</a:t>
            </a:r>
            <a:r>
              <a:rPr lang="en-US" sz="1600">
                <a:solidFill>
                  <a:schemeClr val="tx1"/>
                </a:solidFill>
                <a:latin typeface="CiscoSansTT ExtraLight" panose="020B0303020201020303" pitchFamily="34" charset="0"/>
                <a:ea typeface="Helvetica Neue Light"/>
                <a:cs typeface="CiscoSansTT ExtraLight" panose="020B0303020201020303" pitchFamily="34" charset="0"/>
                <a:sym typeface="Helvetica Neue Light"/>
              </a:rPr>
              <a:t>. Duis </a:t>
            </a:r>
            <a:r>
              <a:rPr lang="en-US" sz="1600" err="1">
                <a:solidFill>
                  <a:schemeClr val="tx1"/>
                </a:solidFill>
                <a:latin typeface="CiscoSansTT ExtraLight" panose="020B0303020201020303" pitchFamily="34" charset="0"/>
                <a:ea typeface="Helvetica Neue Light"/>
                <a:cs typeface="CiscoSansTT ExtraLight" panose="020B0303020201020303" pitchFamily="34" charset="0"/>
                <a:sym typeface="Helvetica Neue Light"/>
              </a:rPr>
              <a:t>elit</a:t>
            </a:r>
            <a:r>
              <a:rPr lang="en-US" sz="1600">
                <a:solidFill>
                  <a:schemeClr val="tx1"/>
                </a:solidFill>
                <a:latin typeface="CiscoSansTT ExtraLight" panose="020B0303020201020303" pitchFamily="34" charset="0"/>
                <a:ea typeface="Helvetica Neue Light"/>
                <a:cs typeface="CiscoSansTT ExtraLight" panose="020B0303020201020303" pitchFamily="34" charset="0"/>
                <a:sym typeface="Helvetica Neue Light"/>
              </a:rPr>
              <a:t> magna, </a:t>
            </a:r>
            <a:r>
              <a:rPr lang="en-US" sz="1600" err="1">
                <a:solidFill>
                  <a:schemeClr val="tx1"/>
                </a:solidFill>
                <a:latin typeface="CiscoSansTT ExtraLight" panose="020B0303020201020303" pitchFamily="34" charset="0"/>
                <a:ea typeface="Helvetica Neue Light"/>
                <a:cs typeface="CiscoSansTT ExtraLight" panose="020B0303020201020303" pitchFamily="34" charset="0"/>
                <a:sym typeface="Helvetica Neue Light"/>
              </a:rPr>
              <a:t>aliquet</a:t>
            </a:r>
            <a:r>
              <a:rPr lang="en-US" sz="1600">
                <a:solidFill>
                  <a:schemeClr val="tx1"/>
                </a:solidFill>
                <a:latin typeface="CiscoSansTT ExtraLight" panose="020B0303020201020303" pitchFamily="34" charset="0"/>
                <a:ea typeface="Helvetica Neue Light"/>
                <a:cs typeface="CiscoSansTT ExtraLight" panose="020B0303020201020303" pitchFamily="34" charset="0"/>
                <a:sym typeface="Helvetica Neue Light"/>
              </a:rPr>
              <a:t> in dolor sed </a:t>
            </a:r>
            <a:r>
              <a:rPr lang="en-US" sz="1600" err="1">
                <a:solidFill>
                  <a:schemeClr val="tx1"/>
                </a:solidFill>
                <a:latin typeface="CiscoSansTT ExtraLight" panose="020B0303020201020303" pitchFamily="34" charset="0"/>
                <a:ea typeface="Helvetica Neue Light"/>
                <a:cs typeface="CiscoSansTT ExtraLight" panose="020B0303020201020303" pitchFamily="34" charset="0"/>
                <a:sym typeface="Helvetica Neue Light"/>
              </a:rPr>
              <a:t>sodales</a:t>
            </a:r>
            <a:r>
              <a:rPr lang="en-US" sz="1600">
                <a:solidFill>
                  <a:schemeClr val="tx1"/>
                </a:solidFill>
                <a:latin typeface="CiscoSansTT ExtraLight" panose="020B0303020201020303" pitchFamily="34" charset="0"/>
                <a:ea typeface="Helvetica Neue Light"/>
                <a:cs typeface="CiscoSansTT ExtraLight" panose="020B0303020201020303" pitchFamily="34" charset="0"/>
                <a:sym typeface="Helvetica Neue Light"/>
              </a:rPr>
              <a:t>.</a:t>
            </a:r>
          </a:p>
          <a:p>
            <a:pPr marL="609570" lvl="0" indent="0" rtl="0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None/>
            </a:pPr>
            <a:endParaRPr lang="en-US" sz="1600">
              <a:solidFill>
                <a:schemeClr val="tx1"/>
              </a:solidFill>
              <a:latin typeface="CiscoSansTT ExtraLight" panose="020B0303020201020303" pitchFamily="34" charset="0"/>
              <a:ea typeface="Helvetica Neue Light"/>
              <a:cs typeface="CiscoSansTT ExtraLight" panose="020B0303020201020303" pitchFamily="34" charset="0"/>
              <a:sym typeface="Helvetica Neue Light"/>
            </a:endParaRPr>
          </a:p>
          <a:p>
            <a:pPr marL="609570" lvl="0" indent="-372515" rtl="0"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ts val="800"/>
              <a:buFont typeface="Helvetica Neue Light"/>
              <a:buChar char="●"/>
            </a:pPr>
            <a:r>
              <a:rPr lang="en-US" sz="1600">
                <a:solidFill>
                  <a:schemeClr val="tx1"/>
                </a:solidFill>
                <a:latin typeface="CiscoSansTT ExtraLight" panose="020B0303020201020303" pitchFamily="34" charset="0"/>
                <a:ea typeface="Helvetica Neue Light"/>
                <a:cs typeface="CiscoSansTT ExtraLight" panose="020B0303020201020303" pitchFamily="34" charset="0"/>
                <a:sym typeface="Helvetica Neue Light"/>
              </a:rPr>
              <a:t>Nam </a:t>
            </a:r>
            <a:r>
              <a:rPr lang="en-US" sz="1600" err="1">
                <a:solidFill>
                  <a:schemeClr val="tx1"/>
                </a:solidFill>
                <a:latin typeface="CiscoSansTT ExtraLight" panose="020B0303020201020303" pitchFamily="34" charset="0"/>
                <a:ea typeface="Helvetica Neue Light"/>
                <a:cs typeface="CiscoSansTT ExtraLight" panose="020B0303020201020303" pitchFamily="34" charset="0"/>
                <a:sym typeface="Helvetica Neue Light"/>
              </a:rPr>
              <a:t>venenatis</a:t>
            </a:r>
            <a:r>
              <a:rPr lang="en-US" sz="1600">
                <a:solidFill>
                  <a:schemeClr val="tx1"/>
                </a:solidFill>
                <a:latin typeface="CiscoSansTT ExtraLight" panose="020B0303020201020303" pitchFamily="34" charset="0"/>
                <a:ea typeface="Helvetica Neue Light"/>
                <a:cs typeface="CiscoSansTT ExtraLight" panose="020B0303020201020303" pitchFamily="34" charset="0"/>
                <a:sym typeface="Helvetica Neue Light"/>
              </a:rPr>
              <a:t> mi </a:t>
            </a:r>
            <a:r>
              <a:rPr lang="en-US" sz="1600" err="1">
                <a:solidFill>
                  <a:schemeClr val="tx1"/>
                </a:solidFill>
                <a:latin typeface="CiscoSansTT ExtraLight" panose="020B0303020201020303" pitchFamily="34" charset="0"/>
                <a:ea typeface="Helvetica Neue Light"/>
                <a:cs typeface="CiscoSansTT ExtraLight" panose="020B0303020201020303" pitchFamily="34" charset="0"/>
                <a:sym typeface="Helvetica Neue Light"/>
              </a:rPr>
              <a:t>quis</a:t>
            </a:r>
            <a:r>
              <a:rPr lang="en-US" sz="1600">
                <a:solidFill>
                  <a:schemeClr val="tx1"/>
                </a:solidFill>
                <a:latin typeface="CiscoSansTT ExtraLight" panose="020B0303020201020303" pitchFamily="34" charset="0"/>
                <a:ea typeface="Helvetica Neue Light"/>
                <a:cs typeface="CiscoSansTT ExtraLight" panose="020B0303020201020303" pitchFamily="34" charset="0"/>
                <a:sym typeface="Helvetica Neue Light"/>
              </a:rPr>
              <a:t> </a:t>
            </a:r>
            <a:r>
              <a:rPr lang="en-US" sz="1600" err="1">
                <a:solidFill>
                  <a:schemeClr val="tx1"/>
                </a:solidFill>
                <a:latin typeface="CiscoSansTT ExtraLight" panose="020B0303020201020303" pitchFamily="34" charset="0"/>
                <a:ea typeface="Helvetica Neue Light"/>
                <a:cs typeface="CiscoSansTT ExtraLight" panose="020B0303020201020303" pitchFamily="34" charset="0"/>
                <a:sym typeface="Helvetica Neue Light"/>
              </a:rPr>
              <a:t>orci</a:t>
            </a:r>
            <a:r>
              <a:rPr lang="en-US" sz="1600">
                <a:solidFill>
                  <a:schemeClr val="tx1"/>
                </a:solidFill>
                <a:latin typeface="CiscoSansTT ExtraLight" panose="020B0303020201020303" pitchFamily="34" charset="0"/>
                <a:ea typeface="Helvetica Neue Light"/>
                <a:cs typeface="CiscoSansTT ExtraLight" panose="020B0303020201020303" pitchFamily="34" charset="0"/>
                <a:sym typeface="Helvetica Neue Light"/>
              </a:rPr>
              <a:t> </a:t>
            </a:r>
            <a:r>
              <a:rPr lang="en-US" sz="1600" err="1">
                <a:solidFill>
                  <a:schemeClr val="tx1"/>
                </a:solidFill>
                <a:latin typeface="CiscoSansTT ExtraLight" panose="020B0303020201020303" pitchFamily="34" charset="0"/>
                <a:ea typeface="Helvetica Neue Light"/>
                <a:cs typeface="CiscoSansTT ExtraLight" panose="020B0303020201020303" pitchFamily="34" charset="0"/>
                <a:sym typeface="Helvetica Neue Light"/>
              </a:rPr>
              <a:t>ultricies</a:t>
            </a:r>
            <a:r>
              <a:rPr lang="en-US" sz="1600">
                <a:solidFill>
                  <a:schemeClr val="tx1"/>
                </a:solidFill>
                <a:latin typeface="CiscoSansTT ExtraLight" panose="020B0303020201020303" pitchFamily="34" charset="0"/>
                <a:ea typeface="Helvetica Neue Light"/>
                <a:cs typeface="CiscoSansTT ExtraLight" panose="020B0303020201020303" pitchFamily="34" charset="0"/>
                <a:sym typeface="Helvetica Neue Light"/>
              </a:rPr>
              <a:t>, </a:t>
            </a:r>
            <a:r>
              <a:rPr lang="en-US" sz="1600" err="1">
                <a:solidFill>
                  <a:schemeClr val="tx1"/>
                </a:solidFill>
                <a:latin typeface="CiscoSansTT ExtraLight" panose="020B0303020201020303" pitchFamily="34" charset="0"/>
                <a:ea typeface="Helvetica Neue Light"/>
                <a:cs typeface="CiscoSansTT ExtraLight" panose="020B0303020201020303" pitchFamily="34" charset="0"/>
                <a:sym typeface="Helvetica Neue Light"/>
              </a:rPr>
              <a:t>ut</a:t>
            </a:r>
            <a:r>
              <a:rPr lang="en-US" sz="1600">
                <a:solidFill>
                  <a:schemeClr val="tx1"/>
                </a:solidFill>
                <a:latin typeface="CiscoSansTT ExtraLight" panose="020B0303020201020303" pitchFamily="34" charset="0"/>
                <a:ea typeface="Helvetica Neue Light"/>
                <a:cs typeface="CiscoSansTT ExtraLight" panose="020B0303020201020303" pitchFamily="34" charset="0"/>
                <a:sym typeface="Helvetica Neue Light"/>
              </a:rPr>
              <a:t> pulvinar </a:t>
            </a:r>
            <a:r>
              <a:rPr lang="en-US" sz="1600" err="1">
                <a:solidFill>
                  <a:schemeClr val="tx1"/>
                </a:solidFill>
                <a:latin typeface="CiscoSansTT ExtraLight" panose="020B0303020201020303" pitchFamily="34" charset="0"/>
                <a:ea typeface="Helvetica Neue Light"/>
                <a:cs typeface="CiscoSansTT ExtraLight" panose="020B0303020201020303" pitchFamily="34" charset="0"/>
                <a:sym typeface="Helvetica Neue Light"/>
              </a:rPr>
              <a:t>elit</a:t>
            </a:r>
            <a:r>
              <a:rPr lang="en-US" sz="1600">
                <a:solidFill>
                  <a:schemeClr val="tx1"/>
                </a:solidFill>
                <a:latin typeface="CiscoSansTT ExtraLight" panose="020B0303020201020303" pitchFamily="34" charset="0"/>
                <a:ea typeface="Helvetica Neue Light"/>
                <a:cs typeface="CiscoSansTT ExtraLight" panose="020B0303020201020303" pitchFamily="34" charset="0"/>
                <a:sym typeface="Helvetica Neue Light"/>
              </a:rPr>
              <a:t> </a:t>
            </a:r>
            <a:r>
              <a:rPr lang="en-US" sz="1600" err="1">
                <a:solidFill>
                  <a:schemeClr val="tx1"/>
                </a:solidFill>
                <a:latin typeface="CiscoSansTT ExtraLight" panose="020B0303020201020303" pitchFamily="34" charset="0"/>
                <a:ea typeface="Helvetica Neue Light"/>
                <a:cs typeface="CiscoSansTT ExtraLight" panose="020B0303020201020303" pitchFamily="34" charset="0"/>
                <a:sym typeface="Helvetica Neue Light"/>
              </a:rPr>
              <a:t>rutrum</a:t>
            </a:r>
            <a:r>
              <a:rPr lang="en-US" sz="1600">
                <a:solidFill>
                  <a:schemeClr val="tx1"/>
                </a:solidFill>
                <a:latin typeface="CiscoSansTT ExtraLight" panose="020B0303020201020303" pitchFamily="34" charset="0"/>
                <a:ea typeface="Helvetica Neue Light"/>
                <a:cs typeface="CiscoSansTT ExtraLight" panose="020B0303020201020303" pitchFamily="34" charset="0"/>
                <a:sym typeface="Helvetica Neue Light"/>
              </a:rPr>
              <a:t>. 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0FEE3079-46E1-6240-BC16-3C9EFE1AA90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48645" y="1208050"/>
            <a:ext cx="4062379" cy="1218588"/>
          </a:xfrm>
          <a:prstGeom prst="rect">
            <a:avLst/>
          </a:prstGeom>
        </p:spPr>
        <p:txBody>
          <a:bodyPr/>
          <a:lstStyle>
            <a:lvl1pPr>
              <a:defRPr sz="4000" b="0" i="0">
                <a:solidFill>
                  <a:schemeClr val="tx1"/>
                </a:solidFill>
                <a:latin typeface="+mj-lt"/>
                <a:cs typeface="CiscoSansTT ExtraLight" panose="020B0303020201020303" pitchFamily="34" charset="0"/>
              </a:defRPr>
            </a:lvl1pPr>
          </a:lstStyle>
          <a:p>
            <a:pPr lvl="0"/>
            <a:r>
              <a:rPr lang="en-GB"/>
              <a:t>Click to add text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9806736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int Lis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 Placeholder 13">
            <a:extLst>
              <a:ext uri="{FF2B5EF4-FFF2-40B4-BE49-F238E27FC236}">
                <a16:creationId xmlns:a16="http://schemas.microsoft.com/office/drawing/2014/main" id="{283383B7-A0E5-3B4C-B4FC-5AE6D6C06DE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559494" y="4965810"/>
            <a:ext cx="3155949" cy="361951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2000" b="0" i="0">
                <a:solidFill>
                  <a:schemeClr val="tx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defRPr>
            </a:lvl1pPr>
            <a:lvl2pPr>
              <a:defRPr sz="2133"/>
            </a:lvl2pPr>
            <a:lvl3pPr>
              <a:defRPr sz="2133"/>
            </a:lvl3pPr>
            <a:lvl4pPr>
              <a:defRPr sz="2133"/>
            </a:lvl4pPr>
            <a:lvl5pPr>
              <a:defRPr sz="2133"/>
            </a:lvl5pPr>
          </a:lstStyle>
          <a:p>
            <a:endParaRPr lang="en-US" sz="2133">
              <a:solidFill>
                <a:schemeClr val="tx1"/>
              </a:solidFill>
              <a:latin typeface="CiscoSansTT ExtraLight" panose="020B0303020201020303" pitchFamily="34" charset="0"/>
              <a:cs typeface="CiscoSansTT ExtraLight" panose="020B0303020201020303" pitchFamily="34" charset="0"/>
            </a:endParaRPr>
          </a:p>
        </p:txBody>
      </p:sp>
      <p:sp>
        <p:nvSpPr>
          <p:cNvPr id="15" name="Text Placeholder 13">
            <a:extLst>
              <a:ext uri="{FF2B5EF4-FFF2-40B4-BE49-F238E27FC236}">
                <a16:creationId xmlns:a16="http://schemas.microsoft.com/office/drawing/2014/main" id="{0E1A1A50-E09C-BC41-BEB2-5590491B06A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7559494" y="3289410"/>
            <a:ext cx="3155949" cy="361951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2000" b="0" i="0">
                <a:solidFill>
                  <a:schemeClr val="tx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defRPr>
            </a:lvl1pPr>
            <a:lvl2pPr>
              <a:defRPr sz="2133"/>
            </a:lvl2pPr>
            <a:lvl3pPr>
              <a:defRPr sz="2133"/>
            </a:lvl3pPr>
            <a:lvl4pPr>
              <a:defRPr sz="2133"/>
            </a:lvl4pPr>
            <a:lvl5pPr>
              <a:defRPr sz="2133"/>
            </a:lvl5pPr>
          </a:lstStyle>
          <a:p>
            <a:endParaRPr lang="en-US" sz="2133">
              <a:solidFill>
                <a:schemeClr val="tx1"/>
              </a:solidFill>
              <a:latin typeface="CiscoSansTT ExtraLight" panose="020B0303020201020303" pitchFamily="34" charset="0"/>
              <a:cs typeface="CiscoSansTT ExtraLight" panose="020B0303020201020303" pitchFamily="34" charset="0"/>
            </a:endParaRPr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719A126E-1EB3-EF42-BC33-C1F2B52F3F8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559494" y="1581259"/>
            <a:ext cx="3155949" cy="361951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2000" b="0" i="0">
                <a:solidFill>
                  <a:schemeClr val="tx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defRPr>
            </a:lvl1pPr>
            <a:lvl2pPr>
              <a:defRPr sz="2133"/>
            </a:lvl2pPr>
            <a:lvl3pPr>
              <a:defRPr sz="2133"/>
            </a:lvl3pPr>
            <a:lvl4pPr>
              <a:defRPr sz="2133"/>
            </a:lvl4pPr>
            <a:lvl5pPr>
              <a:defRPr sz="2133"/>
            </a:lvl5pPr>
          </a:lstStyle>
          <a:p>
            <a:endParaRPr lang="en-US" sz="2133">
              <a:solidFill>
                <a:schemeClr val="tx1"/>
              </a:solidFill>
              <a:latin typeface="CiscoSansTT ExtraLight" panose="020B0303020201020303" pitchFamily="34" charset="0"/>
              <a:cs typeface="CiscoSansTT ExtraLight" panose="020B0303020201020303" pitchFamily="34" charset="0"/>
            </a:endParaRPr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683FEB4F-58F8-4354-899B-D9018B1F3352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196667" y="1308100"/>
            <a:ext cx="908267" cy="908267"/>
          </a:xfrm>
          <a:prstGeom prst="ellipse">
            <a:avLst/>
          </a:prstGeom>
          <a:solidFill>
            <a:schemeClr val="bg1"/>
          </a:solidFill>
          <a:ln w="101600">
            <a:solidFill>
              <a:srgbClr val="EDF1F6"/>
            </a:solidFill>
          </a:ln>
        </p:spPr>
        <p:txBody>
          <a:bodyPr>
            <a:noAutofit/>
          </a:bodyPr>
          <a:lstStyle>
            <a:lvl1pPr>
              <a:defRPr>
                <a:noFill/>
              </a:defRPr>
            </a:lvl1pPr>
          </a:lstStyle>
          <a:p>
            <a:endParaRPr lang="en-US"/>
          </a:p>
        </p:txBody>
      </p:sp>
      <p:sp>
        <p:nvSpPr>
          <p:cNvPr id="17" name="Picture Placeholder 3">
            <a:extLst>
              <a:ext uri="{FF2B5EF4-FFF2-40B4-BE49-F238E27FC236}">
                <a16:creationId xmlns:a16="http://schemas.microsoft.com/office/drawing/2014/main" id="{B9C52DC1-92ED-4A1C-8323-59E017948D65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96667" y="3016251"/>
            <a:ext cx="908267" cy="908267"/>
          </a:xfrm>
          <a:prstGeom prst="ellipse">
            <a:avLst/>
          </a:prstGeom>
          <a:solidFill>
            <a:schemeClr val="bg1"/>
          </a:solidFill>
          <a:ln w="101600">
            <a:solidFill>
              <a:srgbClr val="EDF1F6"/>
            </a:solidFill>
          </a:ln>
        </p:spPr>
        <p:txBody>
          <a:bodyPr>
            <a:noAutofit/>
          </a:bodyPr>
          <a:lstStyle>
            <a:lvl1pPr>
              <a:defRPr>
                <a:noFill/>
              </a:defRPr>
            </a:lvl1pPr>
          </a:lstStyle>
          <a:p>
            <a:endParaRPr lang="en-US"/>
          </a:p>
        </p:txBody>
      </p:sp>
      <p:sp>
        <p:nvSpPr>
          <p:cNvPr id="18" name="Picture Placeholder 3">
            <a:extLst>
              <a:ext uri="{FF2B5EF4-FFF2-40B4-BE49-F238E27FC236}">
                <a16:creationId xmlns:a16="http://schemas.microsoft.com/office/drawing/2014/main" id="{76BB0C0A-8B0F-4ADD-8E7B-B5EA9F5B3EA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196667" y="4692651"/>
            <a:ext cx="908267" cy="908267"/>
          </a:xfrm>
          <a:prstGeom prst="ellipse">
            <a:avLst/>
          </a:prstGeom>
          <a:solidFill>
            <a:schemeClr val="bg1"/>
          </a:solidFill>
          <a:ln w="101600">
            <a:solidFill>
              <a:srgbClr val="EDF1F6"/>
            </a:solidFill>
          </a:ln>
        </p:spPr>
        <p:txBody>
          <a:bodyPr>
            <a:noAutofit/>
          </a:bodyPr>
          <a:lstStyle>
            <a:lvl1pPr>
              <a:defRPr>
                <a:noFill/>
              </a:defRPr>
            </a:lvl1pPr>
          </a:lstStyle>
          <a:p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F7DBFB5-9577-4ABC-B732-55CCAD4F755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667" y="2070101"/>
            <a:ext cx="4131733" cy="1358900"/>
          </a:xfrm>
        </p:spPr>
        <p:txBody>
          <a:bodyPr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21EB2C73-2A86-43AD-B83E-621B8E97D29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19667" y="3429000"/>
            <a:ext cx="4138082" cy="2692400"/>
          </a:xfr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843401363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" name="Google Shape;1224;p213">
            <a:extLst>
              <a:ext uri="{FF2B5EF4-FFF2-40B4-BE49-F238E27FC236}">
                <a16:creationId xmlns:a16="http://schemas.microsoft.com/office/drawing/2014/main" id="{68C67C1E-F7FA-5548-8B9F-05D1053DB46A}"/>
              </a:ext>
            </a:extLst>
          </p:cNvPr>
          <p:cNvCxnSpPr/>
          <p:nvPr userDrawn="1"/>
        </p:nvCxnSpPr>
        <p:spPr>
          <a:xfrm>
            <a:off x="5776725" y="1210075"/>
            <a:ext cx="638000" cy="0"/>
          </a:xfrm>
          <a:prstGeom prst="straightConnector1">
            <a:avLst/>
          </a:prstGeom>
          <a:noFill/>
          <a:ln w="28575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7" name="Google Shape;1225;p213">
            <a:extLst>
              <a:ext uri="{FF2B5EF4-FFF2-40B4-BE49-F238E27FC236}">
                <a16:creationId xmlns:a16="http://schemas.microsoft.com/office/drawing/2014/main" id="{8CD68CCC-B1A9-A140-8EFB-7883416C6797}"/>
              </a:ext>
            </a:extLst>
          </p:cNvPr>
          <p:cNvSpPr/>
          <p:nvPr userDrawn="1"/>
        </p:nvSpPr>
        <p:spPr>
          <a:xfrm>
            <a:off x="11102859" y="-662632"/>
            <a:ext cx="1791600" cy="1791600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sp>
        <p:nvSpPr>
          <p:cNvPr id="10" name="Google Shape;1228;p213">
            <a:extLst>
              <a:ext uri="{FF2B5EF4-FFF2-40B4-BE49-F238E27FC236}">
                <a16:creationId xmlns:a16="http://schemas.microsoft.com/office/drawing/2014/main" id="{7B0A185C-F9A6-B541-AD7F-5451017CEA93}"/>
              </a:ext>
            </a:extLst>
          </p:cNvPr>
          <p:cNvSpPr/>
          <p:nvPr userDrawn="1"/>
        </p:nvSpPr>
        <p:spPr>
          <a:xfrm>
            <a:off x="-965492" y="6333693"/>
            <a:ext cx="1791600" cy="179160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/>
          </a:p>
        </p:txBody>
      </p:sp>
      <p:cxnSp>
        <p:nvCxnSpPr>
          <p:cNvPr id="11" name="Google Shape;1229;p213">
            <a:extLst>
              <a:ext uri="{FF2B5EF4-FFF2-40B4-BE49-F238E27FC236}">
                <a16:creationId xmlns:a16="http://schemas.microsoft.com/office/drawing/2014/main" id="{FE8EF11A-BCE2-694B-9DCE-BD54298E5B40}"/>
              </a:ext>
            </a:extLst>
          </p:cNvPr>
          <p:cNvCxnSpPr/>
          <p:nvPr userDrawn="1"/>
        </p:nvCxnSpPr>
        <p:spPr>
          <a:xfrm>
            <a:off x="5776725" y="2922775"/>
            <a:ext cx="638000" cy="0"/>
          </a:xfrm>
          <a:prstGeom prst="straightConnector1">
            <a:avLst/>
          </a:prstGeom>
          <a:noFill/>
          <a:ln w="28575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</p:cxnSp>
      <p:cxnSp>
        <p:nvCxnSpPr>
          <p:cNvPr id="14" name="Google Shape;1232;p213">
            <a:extLst>
              <a:ext uri="{FF2B5EF4-FFF2-40B4-BE49-F238E27FC236}">
                <a16:creationId xmlns:a16="http://schemas.microsoft.com/office/drawing/2014/main" id="{0F2D8CEA-50AD-7A40-AAC6-CB9E1325E5C3}"/>
              </a:ext>
            </a:extLst>
          </p:cNvPr>
          <p:cNvCxnSpPr/>
          <p:nvPr userDrawn="1"/>
        </p:nvCxnSpPr>
        <p:spPr>
          <a:xfrm>
            <a:off x="5776725" y="4635475"/>
            <a:ext cx="638000" cy="0"/>
          </a:xfrm>
          <a:prstGeom prst="straightConnector1">
            <a:avLst/>
          </a:prstGeom>
          <a:noFill/>
          <a:ln w="28575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16" name="Google Shape;1234;p213">
            <a:extLst>
              <a:ext uri="{FF2B5EF4-FFF2-40B4-BE49-F238E27FC236}">
                <a16:creationId xmlns:a16="http://schemas.microsoft.com/office/drawing/2014/main" id="{56FE52CA-3D09-7043-BB96-2C620A473201}"/>
              </a:ext>
            </a:extLst>
          </p:cNvPr>
          <p:cNvSpPr txBox="1"/>
          <p:nvPr userDrawn="1"/>
        </p:nvSpPr>
        <p:spPr>
          <a:xfrm>
            <a:off x="5707275" y="4746675"/>
            <a:ext cx="2057200" cy="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91433" rIns="91433" bIns="91433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2400" b="1">
                <a:solidFill>
                  <a:schemeClr val="tx1"/>
                </a:solidFill>
                <a:latin typeface="CiscoSansTT" panose="020B0503020201020303" pitchFamily="34" charset="0"/>
                <a:ea typeface="Helvetica Neue"/>
                <a:cs typeface="CiscoSansTT" panose="020B0503020201020303" pitchFamily="34" charset="0"/>
                <a:sym typeface="Helvetica Neue"/>
              </a:rPr>
              <a:t>Lorem</a:t>
            </a:r>
            <a:endParaRPr sz="1867" b="1">
              <a:solidFill>
                <a:schemeClr val="tx1"/>
              </a:solidFill>
              <a:latin typeface="CiscoSansTT" panose="020B0503020201020303" pitchFamily="34" charset="0"/>
              <a:cs typeface="CiscoSansTT" panose="020B0503020201020303" pitchFamily="34" charset="0"/>
            </a:endParaRPr>
          </a:p>
        </p:txBody>
      </p:sp>
      <p:cxnSp>
        <p:nvCxnSpPr>
          <p:cNvPr id="17" name="Google Shape;1235;p213">
            <a:extLst>
              <a:ext uri="{FF2B5EF4-FFF2-40B4-BE49-F238E27FC236}">
                <a16:creationId xmlns:a16="http://schemas.microsoft.com/office/drawing/2014/main" id="{C0F4385B-5632-1248-B982-AE73BA738930}"/>
              </a:ext>
            </a:extLst>
          </p:cNvPr>
          <p:cNvCxnSpPr/>
          <p:nvPr userDrawn="1"/>
        </p:nvCxnSpPr>
        <p:spPr>
          <a:xfrm>
            <a:off x="8423713" y="1210075"/>
            <a:ext cx="638000" cy="0"/>
          </a:xfrm>
          <a:prstGeom prst="straightConnector1">
            <a:avLst/>
          </a:prstGeom>
          <a:noFill/>
          <a:ln w="28575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</p:cxnSp>
      <p:cxnSp>
        <p:nvCxnSpPr>
          <p:cNvPr id="20" name="Google Shape;1238;p213">
            <a:extLst>
              <a:ext uri="{FF2B5EF4-FFF2-40B4-BE49-F238E27FC236}">
                <a16:creationId xmlns:a16="http://schemas.microsoft.com/office/drawing/2014/main" id="{EEF9B179-41FC-8140-81B8-5373ECB284D4}"/>
              </a:ext>
            </a:extLst>
          </p:cNvPr>
          <p:cNvCxnSpPr/>
          <p:nvPr userDrawn="1"/>
        </p:nvCxnSpPr>
        <p:spPr>
          <a:xfrm>
            <a:off x="8423713" y="2922775"/>
            <a:ext cx="638000" cy="0"/>
          </a:xfrm>
          <a:prstGeom prst="straightConnector1">
            <a:avLst/>
          </a:prstGeom>
          <a:noFill/>
          <a:ln w="28575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</p:cxnSp>
      <p:grpSp>
        <p:nvGrpSpPr>
          <p:cNvPr id="23" name="Google Shape;1241;p213">
            <a:extLst>
              <a:ext uri="{FF2B5EF4-FFF2-40B4-BE49-F238E27FC236}">
                <a16:creationId xmlns:a16="http://schemas.microsoft.com/office/drawing/2014/main" id="{38BEDEBC-AD22-E441-AE4A-2B84E592DB53}"/>
              </a:ext>
            </a:extLst>
          </p:cNvPr>
          <p:cNvGrpSpPr/>
          <p:nvPr userDrawn="1"/>
        </p:nvGrpSpPr>
        <p:grpSpPr>
          <a:xfrm>
            <a:off x="9545039" y="949699"/>
            <a:ext cx="586172" cy="520676"/>
            <a:chOff x="191182" y="796095"/>
            <a:chExt cx="544500" cy="483600"/>
          </a:xfrm>
        </p:grpSpPr>
        <p:sp>
          <p:nvSpPr>
            <p:cNvPr id="24" name="Google Shape;1242;p213">
              <a:extLst>
                <a:ext uri="{FF2B5EF4-FFF2-40B4-BE49-F238E27FC236}">
                  <a16:creationId xmlns:a16="http://schemas.microsoft.com/office/drawing/2014/main" id="{F4669924-7701-D242-A763-B70BAAFE1A87}"/>
                </a:ext>
              </a:extLst>
            </p:cNvPr>
            <p:cNvSpPr/>
            <p:nvPr/>
          </p:nvSpPr>
          <p:spPr>
            <a:xfrm>
              <a:off x="221629" y="796095"/>
              <a:ext cx="483600" cy="483600"/>
            </a:xfrm>
            <a:prstGeom prst="ellipse">
              <a:avLst/>
            </a:prstGeom>
            <a:solidFill>
              <a:schemeClr val="accent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 b="1">
                <a:latin typeface="CiscoSansTT" panose="020B0503020201020303" pitchFamily="34" charset="0"/>
                <a:cs typeface="CiscoSansTT" panose="020B0503020201020303" pitchFamily="34" charset="0"/>
              </a:endParaRPr>
            </a:p>
          </p:txBody>
        </p:sp>
        <p:sp>
          <p:nvSpPr>
            <p:cNvPr id="25" name="Google Shape;1243;p213">
              <a:extLst>
                <a:ext uri="{FF2B5EF4-FFF2-40B4-BE49-F238E27FC236}">
                  <a16:creationId xmlns:a16="http://schemas.microsoft.com/office/drawing/2014/main" id="{AEFB5B31-9ED3-6B40-BC61-E089C17E93A6}"/>
                </a:ext>
              </a:extLst>
            </p:cNvPr>
            <p:cNvSpPr txBox="1"/>
            <p:nvPr/>
          </p:nvSpPr>
          <p:spPr>
            <a:xfrm>
              <a:off x="191182" y="843050"/>
              <a:ext cx="544500" cy="2673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t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sz="1067" b="1">
                  <a:solidFill>
                    <a:srgbClr val="FFFFFF"/>
                  </a:solidFill>
                  <a:latin typeface="CiscoSansTT" panose="020B0503020201020303" pitchFamily="34" charset="0"/>
                  <a:cs typeface="CiscoSansTT" panose="020B0503020201020303" pitchFamily="34" charset="0"/>
                </a:rPr>
                <a:t>New</a:t>
              </a:r>
              <a:endParaRPr sz="1067" b="1">
                <a:solidFill>
                  <a:srgbClr val="FFFFFF"/>
                </a:solidFill>
                <a:latin typeface="CiscoSansTT" panose="020B0503020201020303" pitchFamily="34" charset="0"/>
                <a:cs typeface="CiscoSansTT" panose="020B0503020201020303" pitchFamily="34" charset="0"/>
              </a:endParaRPr>
            </a:p>
          </p:txBody>
        </p:sp>
      </p:grpSp>
      <p:grpSp>
        <p:nvGrpSpPr>
          <p:cNvPr id="26" name="Google Shape;1244;p213">
            <a:extLst>
              <a:ext uri="{FF2B5EF4-FFF2-40B4-BE49-F238E27FC236}">
                <a16:creationId xmlns:a16="http://schemas.microsoft.com/office/drawing/2014/main" id="{209EA95E-7BED-A64D-B250-F147B20AA981}"/>
              </a:ext>
            </a:extLst>
          </p:cNvPr>
          <p:cNvGrpSpPr/>
          <p:nvPr userDrawn="1"/>
        </p:nvGrpSpPr>
        <p:grpSpPr>
          <a:xfrm>
            <a:off x="9545039" y="2662399"/>
            <a:ext cx="586172" cy="520676"/>
            <a:chOff x="191182" y="796095"/>
            <a:chExt cx="544500" cy="483600"/>
          </a:xfrm>
        </p:grpSpPr>
        <p:sp>
          <p:nvSpPr>
            <p:cNvPr id="27" name="Google Shape;1245;p213">
              <a:extLst>
                <a:ext uri="{FF2B5EF4-FFF2-40B4-BE49-F238E27FC236}">
                  <a16:creationId xmlns:a16="http://schemas.microsoft.com/office/drawing/2014/main" id="{B661860E-2964-DB4F-A1F6-42162D19A6C5}"/>
                </a:ext>
              </a:extLst>
            </p:cNvPr>
            <p:cNvSpPr/>
            <p:nvPr/>
          </p:nvSpPr>
          <p:spPr>
            <a:xfrm>
              <a:off x="221629" y="796095"/>
              <a:ext cx="483600" cy="483600"/>
            </a:xfrm>
            <a:prstGeom prst="ellipse">
              <a:avLst/>
            </a:prstGeom>
            <a:solidFill>
              <a:schemeClr val="accent5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 b="1">
                <a:latin typeface="CiscoSansTT" panose="020B0503020201020303" pitchFamily="34" charset="0"/>
                <a:cs typeface="CiscoSansTT" panose="020B0503020201020303" pitchFamily="34" charset="0"/>
              </a:endParaRPr>
            </a:p>
          </p:txBody>
        </p:sp>
        <p:sp>
          <p:nvSpPr>
            <p:cNvPr id="28" name="Google Shape;1246;p213">
              <a:extLst>
                <a:ext uri="{FF2B5EF4-FFF2-40B4-BE49-F238E27FC236}">
                  <a16:creationId xmlns:a16="http://schemas.microsoft.com/office/drawing/2014/main" id="{538EA7EA-3F6E-6A46-9447-FB9E858F3CCA}"/>
                </a:ext>
              </a:extLst>
            </p:cNvPr>
            <p:cNvSpPr txBox="1"/>
            <p:nvPr/>
          </p:nvSpPr>
          <p:spPr>
            <a:xfrm>
              <a:off x="191182" y="843050"/>
              <a:ext cx="544500" cy="2673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t" anchorCtr="0">
              <a:noAutofit/>
            </a:bodyPr>
            <a:lstStyle/>
            <a:p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sz="1067" b="1">
                  <a:solidFill>
                    <a:srgbClr val="FFFFFF"/>
                  </a:solidFill>
                  <a:latin typeface="CiscoSansTT" panose="020B0503020201020303" pitchFamily="34" charset="0"/>
                  <a:cs typeface="CiscoSansTT" panose="020B0503020201020303" pitchFamily="34" charset="0"/>
                </a:rPr>
                <a:t>New</a:t>
              </a:r>
              <a:endParaRPr sz="1067" b="1">
                <a:solidFill>
                  <a:srgbClr val="FFFFFF"/>
                </a:solidFill>
                <a:latin typeface="CiscoSansTT" panose="020B0503020201020303" pitchFamily="34" charset="0"/>
                <a:cs typeface="CiscoSansTT" panose="020B0503020201020303" pitchFamily="34" charset="0"/>
              </a:endParaRPr>
            </a:p>
          </p:txBody>
        </p:sp>
      </p:grpSp>
      <p:sp>
        <p:nvSpPr>
          <p:cNvPr id="30" name="Text Placeholder 9">
            <a:extLst>
              <a:ext uri="{FF2B5EF4-FFF2-40B4-BE49-F238E27FC236}">
                <a16:creationId xmlns:a16="http://schemas.microsoft.com/office/drawing/2014/main" id="{D53930A4-4CFC-6A41-A3F3-DF815D80A9D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91733" y="2604037"/>
            <a:ext cx="4525755" cy="709075"/>
          </a:xfrm>
          <a:prstGeom prst="rect">
            <a:avLst/>
          </a:prstGeom>
        </p:spPr>
        <p:txBody>
          <a:bodyPr/>
          <a:lstStyle>
            <a:lvl1pPr>
              <a:defRPr sz="4000" b="0" i="0">
                <a:solidFill>
                  <a:schemeClr val="tx1"/>
                </a:solidFill>
                <a:latin typeface="+mj-lt"/>
                <a:cs typeface="CiscoSansTT ExtraLight" panose="020B0303020201020303" pitchFamily="34" charset="0"/>
              </a:defRPr>
            </a:lvl1pPr>
          </a:lstStyle>
          <a:p>
            <a:pPr lvl="0"/>
            <a:r>
              <a:rPr lang="en-GB"/>
              <a:t>Click to add title</a:t>
            </a:r>
            <a:endParaRPr lang="en-US"/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7C86FEC3-9BE1-6841-B3F0-E62CA4E287F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91734" y="3500359"/>
            <a:ext cx="2916767" cy="709084"/>
          </a:xfrm>
          <a:prstGeom prst="rect">
            <a:avLst/>
          </a:prstGeom>
        </p:spPr>
        <p:txBody>
          <a:bodyPr/>
          <a:lstStyle>
            <a:lvl1pPr marL="0" marR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600">
                <a:latin typeface="+mj-lt"/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r>
              <a:rPr lang="en-US" sz="1600">
                <a:solidFill>
                  <a:srgbClr val="00BCEB"/>
                </a:solidFill>
                <a:latin typeface="CiscoSansTT ExtraLight" panose="020B0303020201020303" pitchFamily="34" charset="0"/>
                <a:ea typeface="Helvetica Neue Light"/>
                <a:cs typeface="CiscoSansTT ExtraLight" panose="020B0303020201020303" pitchFamily="34" charset="0"/>
                <a:sym typeface="Helvetica Neue Light"/>
              </a:rPr>
              <a:t>Lorem ipsum dolor sit </a:t>
            </a:r>
            <a:r>
              <a:rPr lang="en-US" sz="1600" err="1">
                <a:solidFill>
                  <a:srgbClr val="00BCEB"/>
                </a:solidFill>
                <a:latin typeface="CiscoSansTT ExtraLight" panose="020B0303020201020303" pitchFamily="34" charset="0"/>
                <a:ea typeface="Helvetica Neue Light"/>
                <a:cs typeface="CiscoSansTT ExtraLight" panose="020B0303020201020303" pitchFamily="34" charset="0"/>
                <a:sym typeface="Helvetica Neue Light"/>
              </a:rPr>
              <a:t>amet</a:t>
            </a:r>
            <a:r>
              <a:rPr lang="en-US" sz="1600">
                <a:solidFill>
                  <a:srgbClr val="00BCEB"/>
                </a:solidFill>
                <a:latin typeface="CiscoSansTT ExtraLight" panose="020B0303020201020303" pitchFamily="34" charset="0"/>
                <a:ea typeface="Helvetica Neue Light"/>
                <a:cs typeface="CiscoSansTT ExtraLight" panose="020B0303020201020303" pitchFamily="34" charset="0"/>
                <a:sym typeface="Helvetica Neue Light"/>
              </a:rPr>
              <a:t> </a:t>
            </a:r>
            <a:r>
              <a:rPr lang="en-US" sz="1600" err="1">
                <a:solidFill>
                  <a:srgbClr val="00BCEB"/>
                </a:solidFill>
                <a:latin typeface="CiscoSansTT ExtraLight" panose="020B0303020201020303" pitchFamily="34" charset="0"/>
                <a:ea typeface="Helvetica Neue Light"/>
                <a:cs typeface="CiscoSansTT ExtraLight" panose="020B0303020201020303" pitchFamily="34" charset="0"/>
                <a:sym typeface="Helvetica Neue Light"/>
              </a:rPr>
              <a:t>consectetur</a:t>
            </a:r>
            <a:r>
              <a:rPr lang="en-US" sz="1600">
                <a:solidFill>
                  <a:srgbClr val="00BCEB"/>
                </a:solidFill>
                <a:latin typeface="CiscoSansTT ExtraLight" panose="020B0303020201020303" pitchFamily="34" charset="0"/>
                <a:ea typeface="Helvetica Neue Light"/>
                <a:cs typeface="CiscoSansTT ExtraLight" panose="020B0303020201020303" pitchFamily="34" charset="0"/>
                <a:sym typeface="Helvetica Neue Light"/>
              </a:rPr>
              <a:t> </a:t>
            </a:r>
            <a:r>
              <a:rPr lang="en-US" sz="1600" err="1">
                <a:solidFill>
                  <a:srgbClr val="00BCEB"/>
                </a:solidFill>
                <a:latin typeface="CiscoSansTT ExtraLight" panose="020B0303020201020303" pitchFamily="34" charset="0"/>
                <a:ea typeface="Helvetica Neue Light"/>
                <a:cs typeface="CiscoSansTT ExtraLight" panose="020B0303020201020303" pitchFamily="34" charset="0"/>
                <a:sym typeface="Helvetica Neue Light"/>
              </a:rPr>
              <a:t>adipiscing</a:t>
            </a:r>
            <a:r>
              <a:rPr lang="en-US" sz="1600">
                <a:solidFill>
                  <a:srgbClr val="00BCEB"/>
                </a:solidFill>
                <a:latin typeface="CiscoSansTT ExtraLight" panose="020B0303020201020303" pitchFamily="34" charset="0"/>
                <a:ea typeface="Helvetica Neue Light"/>
                <a:cs typeface="CiscoSansTT ExtraLight" panose="020B0303020201020303" pitchFamily="34" charset="0"/>
                <a:sym typeface="Helvetica Neue Light"/>
              </a:rPr>
              <a:t> </a:t>
            </a:r>
            <a:r>
              <a:rPr lang="en-US" sz="1600" err="1">
                <a:solidFill>
                  <a:srgbClr val="00BCEB"/>
                </a:solidFill>
                <a:latin typeface="CiscoSansTT ExtraLight" panose="020B0303020201020303" pitchFamily="34" charset="0"/>
                <a:ea typeface="Helvetica Neue Light"/>
                <a:cs typeface="CiscoSansTT ExtraLight" panose="020B0303020201020303" pitchFamily="34" charset="0"/>
                <a:sym typeface="Helvetica Neue Light"/>
              </a:rPr>
              <a:t>elit</a:t>
            </a:r>
            <a:endParaRPr lang="en-US" sz="1600" u="none" strike="noStrike" cap="none">
              <a:solidFill>
                <a:srgbClr val="00BCEB"/>
              </a:solidFill>
              <a:latin typeface="CiscoSansTT ExtraLight" panose="020B0303020201020303" pitchFamily="34" charset="0"/>
              <a:ea typeface="Helvetica Neue Light"/>
              <a:cs typeface="CiscoSansTT ExtraLight" panose="020B0303020201020303" pitchFamily="34" charset="0"/>
              <a:sym typeface="Helvetica Neue Light"/>
            </a:endParaRPr>
          </a:p>
        </p:txBody>
      </p:sp>
      <p:sp>
        <p:nvSpPr>
          <p:cNvPr id="34" name="Text Placeholder 33">
            <a:extLst>
              <a:ext uri="{FF2B5EF4-FFF2-40B4-BE49-F238E27FC236}">
                <a16:creationId xmlns:a16="http://schemas.microsoft.com/office/drawing/2014/main" id="{E4F1703F-FD14-2747-80D3-F176B49F55A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674492" y="1361227"/>
            <a:ext cx="1974851" cy="383116"/>
          </a:xfrm>
          <a:prstGeom prst="rect">
            <a:avLst/>
          </a:prstGeom>
        </p:spPr>
        <p:txBody>
          <a:bodyPr/>
          <a:lstStyle>
            <a:lvl1pPr>
              <a:defRPr b="1" i="0">
                <a:solidFill>
                  <a:schemeClr val="tx1"/>
                </a:solidFill>
                <a:latin typeface="CiscoSansTT" panose="020B0503020201020303" pitchFamily="34" charset="0"/>
                <a:cs typeface="CiscoSansTT" panose="020B0503020201020303" pitchFamily="34" charset="0"/>
              </a:defRPr>
            </a:lvl1pPr>
          </a:lstStyle>
          <a:p>
            <a:pPr lvl="0"/>
            <a:r>
              <a:rPr lang="en-GB"/>
              <a:t>Lorem</a:t>
            </a:r>
            <a:endParaRPr lang="en-US"/>
          </a:p>
        </p:txBody>
      </p:sp>
      <p:sp>
        <p:nvSpPr>
          <p:cNvPr id="36" name="Text Placeholder 33">
            <a:extLst>
              <a:ext uri="{FF2B5EF4-FFF2-40B4-BE49-F238E27FC236}">
                <a16:creationId xmlns:a16="http://schemas.microsoft.com/office/drawing/2014/main" id="{738D0011-FE5C-6641-AED1-0F6D9B42410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344525" y="1355874"/>
            <a:ext cx="1974851" cy="383116"/>
          </a:xfrm>
          <a:prstGeom prst="rect">
            <a:avLst/>
          </a:prstGeom>
        </p:spPr>
        <p:txBody>
          <a:bodyPr/>
          <a:lstStyle>
            <a:lvl1pPr>
              <a:defRPr b="1" i="0">
                <a:solidFill>
                  <a:schemeClr val="tx1"/>
                </a:solidFill>
                <a:latin typeface="CiscoSansTT" panose="020B0503020201020303" pitchFamily="34" charset="0"/>
                <a:cs typeface="CiscoSansTT" panose="020B0503020201020303" pitchFamily="34" charset="0"/>
              </a:defRPr>
            </a:lvl1pPr>
          </a:lstStyle>
          <a:p>
            <a:pPr lvl="0"/>
            <a:r>
              <a:rPr lang="en-GB"/>
              <a:t>Lorem</a:t>
            </a:r>
            <a:endParaRPr lang="en-US"/>
          </a:p>
        </p:txBody>
      </p:sp>
      <p:sp>
        <p:nvSpPr>
          <p:cNvPr id="37" name="Text Placeholder 33">
            <a:extLst>
              <a:ext uri="{FF2B5EF4-FFF2-40B4-BE49-F238E27FC236}">
                <a16:creationId xmlns:a16="http://schemas.microsoft.com/office/drawing/2014/main" id="{0C772D10-64AC-0A46-AC66-15F55CB301D4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674492" y="3072615"/>
            <a:ext cx="1974851" cy="383116"/>
          </a:xfrm>
          <a:prstGeom prst="rect">
            <a:avLst/>
          </a:prstGeom>
        </p:spPr>
        <p:txBody>
          <a:bodyPr/>
          <a:lstStyle>
            <a:lvl1pPr>
              <a:defRPr b="1" i="0">
                <a:solidFill>
                  <a:schemeClr val="tx1"/>
                </a:solidFill>
                <a:latin typeface="CiscoSansTT" panose="020B0503020201020303" pitchFamily="34" charset="0"/>
                <a:cs typeface="CiscoSansTT" panose="020B0503020201020303" pitchFamily="34" charset="0"/>
              </a:defRPr>
            </a:lvl1pPr>
          </a:lstStyle>
          <a:p>
            <a:pPr lvl="0"/>
            <a:r>
              <a:rPr lang="en-GB"/>
              <a:t>Lorem</a:t>
            </a:r>
            <a:endParaRPr lang="en-US"/>
          </a:p>
        </p:txBody>
      </p:sp>
      <p:sp>
        <p:nvSpPr>
          <p:cNvPr id="38" name="Text Placeholder 33">
            <a:extLst>
              <a:ext uri="{FF2B5EF4-FFF2-40B4-BE49-F238E27FC236}">
                <a16:creationId xmlns:a16="http://schemas.microsoft.com/office/drawing/2014/main" id="{AFD5C6FC-1D6D-804C-B9DB-5C348B87BB43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344525" y="3067259"/>
            <a:ext cx="1974851" cy="383116"/>
          </a:xfrm>
          <a:prstGeom prst="rect">
            <a:avLst/>
          </a:prstGeom>
        </p:spPr>
        <p:txBody>
          <a:bodyPr/>
          <a:lstStyle>
            <a:lvl1pPr>
              <a:defRPr b="1" i="0">
                <a:solidFill>
                  <a:schemeClr val="tx1"/>
                </a:solidFill>
                <a:latin typeface="CiscoSansTT" panose="020B0503020201020303" pitchFamily="34" charset="0"/>
                <a:cs typeface="CiscoSansTT" panose="020B0503020201020303" pitchFamily="34" charset="0"/>
              </a:defRPr>
            </a:lvl1pPr>
          </a:lstStyle>
          <a:p>
            <a:pPr lvl="0"/>
            <a:r>
              <a:rPr lang="en-GB"/>
              <a:t>Lorem</a:t>
            </a:r>
            <a:endParaRPr lang="en-US"/>
          </a:p>
        </p:txBody>
      </p:sp>
      <p:sp>
        <p:nvSpPr>
          <p:cNvPr id="40" name="Text Placeholder 39">
            <a:extLst>
              <a:ext uri="{FF2B5EF4-FFF2-40B4-BE49-F238E27FC236}">
                <a16:creationId xmlns:a16="http://schemas.microsoft.com/office/drawing/2014/main" id="{75C611E1-F971-A442-A55E-2A1060215033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671060" y="1758477"/>
            <a:ext cx="1974557" cy="757767"/>
          </a:xfrm>
          <a:prstGeom prst="rect">
            <a:avLst/>
          </a:prstGeom>
        </p:spPr>
        <p:txBody>
          <a:bodyPr/>
          <a:lstStyle>
            <a:lvl1pPr marL="0" indent="0" algn="l" rtl="0">
              <a:spcBef>
                <a:spcPts val="0"/>
              </a:spcBef>
              <a:spcAft>
                <a:spcPts val="0"/>
              </a:spcAft>
              <a:buNone/>
              <a:defRPr sz="1200" b="0" i="0">
                <a:solidFill>
                  <a:schemeClr val="tx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defRPr>
            </a:lvl1pPr>
            <a:lvl2pPr>
              <a:defRPr sz="1200" b="0" i="0">
                <a:solidFill>
                  <a:schemeClr val="tx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defRPr>
            </a:lvl2pPr>
            <a:lvl3pPr>
              <a:defRPr sz="1200" b="0" i="0">
                <a:solidFill>
                  <a:schemeClr val="tx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defRPr>
            </a:lvl3pPr>
            <a:lvl4pPr>
              <a:defRPr sz="1200" b="0" i="0">
                <a:solidFill>
                  <a:schemeClr val="tx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defRPr>
            </a:lvl4pPr>
            <a:lvl5pPr>
              <a:defRPr sz="1200" b="0" i="0">
                <a:solidFill>
                  <a:schemeClr val="tx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defRPr>
            </a:lvl5pPr>
          </a:lstStyle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200">
                <a:solidFill>
                  <a:schemeClr val="tx1"/>
                </a:solidFill>
                <a:latin typeface="CiscoSansTT ExtraLight" panose="020B0303020201020303" pitchFamily="34" charset="0"/>
                <a:ea typeface="Helvetica Neue Light"/>
                <a:cs typeface="CiscoSansTT ExtraLight" panose="020B0303020201020303" pitchFamily="34" charset="0"/>
                <a:sym typeface="Helvetica Neue Light"/>
              </a:rPr>
              <a:t>Lorem ipsum dolor sit </a:t>
            </a:r>
            <a:r>
              <a:rPr lang="en-US" sz="1200" err="1">
                <a:solidFill>
                  <a:schemeClr val="tx1"/>
                </a:solidFill>
                <a:latin typeface="CiscoSansTT ExtraLight" panose="020B0303020201020303" pitchFamily="34" charset="0"/>
                <a:ea typeface="Helvetica Neue Light"/>
                <a:cs typeface="CiscoSansTT ExtraLight" panose="020B0303020201020303" pitchFamily="34" charset="0"/>
                <a:sym typeface="Helvetica Neue Light"/>
              </a:rPr>
              <a:t>amet</a:t>
            </a:r>
            <a:r>
              <a:rPr lang="en-US" sz="1200">
                <a:solidFill>
                  <a:schemeClr val="tx1"/>
                </a:solidFill>
                <a:latin typeface="CiscoSansTT ExtraLight" panose="020B0303020201020303" pitchFamily="34" charset="0"/>
                <a:ea typeface="Helvetica Neue Light"/>
                <a:cs typeface="CiscoSansTT ExtraLight" panose="020B0303020201020303" pitchFamily="34" charset="0"/>
                <a:sym typeface="Helvetica Neue Light"/>
              </a:rPr>
              <a:t> </a:t>
            </a:r>
            <a:r>
              <a:rPr lang="en-US" sz="1200" err="1">
                <a:solidFill>
                  <a:schemeClr val="tx1"/>
                </a:solidFill>
                <a:latin typeface="CiscoSansTT ExtraLight" panose="020B0303020201020303" pitchFamily="34" charset="0"/>
                <a:ea typeface="Helvetica Neue Light"/>
                <a:cs typeface="CiscoSansTT ExtraLight" panose="020B0303020201020303" pitchFamily="34" charset="0"/>
                <a:sym typeface="Helvetica Neue Light"/>
              </a:rPr>
              <a:t>consectetur</a:t>
            </a:r>
            <a:r>
              <a:rPr lang="en-US" sz="1200">
                <a:solidFill>
                  <a:schemeClr val="tx1"/>
                </a:solidFill>
                <a:latin typeface="CiscoSansTT ExtraLight" panose="020B0303020201020303" pitchFamily="34" charset="0"/>
                <a:ea typeface="Helvetica Neue Light"/>
                <a:cs typeface="CiscoSansTT ExtraLight" panose="020B0303020201020303" pitchFamily="34" charset="0"/>
                <a:sym typeface="Helvetica Neue Light"/>
              </a:rPr>
              <a:t> </a:t>
            </a:r>
            <a:r>
              <a:rPr lang="en-US" sz="1200" err="1">
                <a:solidFill>
                  <a:schemeClr val="tx1"/>
                </a:solidFill>
                <a:latin typeface="CiscoSansTT ExtraLight" panose="020B0303020201020303" pitchFamily="34" charset="0"/>
                <a:ea typeface="Helvetica Neue Light"/>
                <a:cs typeface="CiscoSansTT ExtraLight" panose="020B0303020201020303" pitchFamily="34" charset="0"/>
                <a:sym typeface="Helvetica Neue Light"/>
              </a:rPr>
              <a:t>adipiscing</a:t>
            </a:r>
            <a:r>
              <a:rPr lang="en-US" sz="1200">
                <a:solidFill>
                  <a:schemeClr val="tx1"/>
                </a:solidFill>
                <a:latin typeface="CiscoSansTT ExtraLight" panose="020B0303020201020303" pitchFamily="34" charset="0"/>
                <a:ea typeface="Helvetica Neue Light"/>
                <a:cs typeface="CiscoSansTT ExtraLight" panose="020B0303020201020303" pitchFamily="34" charset="0"/>
                <a:sym typeface="Helvetica Neue Light"/>
              </a:rPr>
              <a:t> </a:t>
            </a:r>
            <a:r>
              <a:rPr lang="en-US" sz="1200" err="1">
                <a:solidFill>
                  <a:schemeClr val="tx1"/>
                </a:solidFill>
                <a:latin typeface="CiscoSansTT ExtraLight" panose="020B0303020201020303" pitchFamily="34" charset="0"/>
                <a:ea typeface="Helvetica Neue Light"/>
                <a:cs typeface="CiscoSansTT ExtraLight" panose="020B0303020201020303" pitchFamily="34" charset="0"/>
                <a:sym typeface="Helvetica Neue Light"/>
              </a:rPr>
              <a:t>elit</a:t>
            </a:r>
            <a:endParaRPr lang="en-US" sz="1200">
              <a:solidFill>
                <a:schemeClr val="tx1"/>
              </a:solidFill>
              <a:latin typeface="CiscoSansTT ExtraLight" panose="020B0303020201020303" pitchFamily="34" charset="0"/>
              <a:ea typeface="Helvetica Neue Light"/>
              <a:cs typeface="CiscoSansTT ExtraLight" panose="020B0303020201020303" pitchFamily="34" charset="0"/>
              <a:sym typeface="Helvetica Neue Light"/>
            </a:endParaRP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lang="en-US" sz="1200">
              <a:solidFill>
                <a:schemeClr val="tx1"/>
              </a:solidFill>
              <a:latin typeface="CiscoSansTT ExtraLight" panose="020B0303020201020303" pitchFamily="34" charset="0"/>
              <a:ea typeface="Helvetica Neue Light"/>
              <a:cs typeface="CiscoSansTT ExtraLight" panose="020B0303020201020303" pitchFamily="34" charset="0"/>
              <a:sym typeface="Helvetica Neue Light"/>
            </a:endParaRPr>
          </a:p>
        </p:txBody>
      </p:sp>
      <p:sp>
        <p:nvSpPr>
          <p:cNvPr id="41" name="Text Placeholder 39">
            <a:extLst>
              <a:ext uri="{FF2B5EF4-FFF2-40B4-BE49-F238E27FC236}">
                <a16:creationId xmlns:a16="http://schemas.microsoft.com/office/drawing/2014/main" id="{30A3C0E0-993B-A247-8F10-FF5570956410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340800" y="1757565"/>
            <a:ext cx="1974557" cy="757767"/>
          </a:xfrm>
          <a:prstGeom prst="rect">
            <a:avLst/>
          </a:prstGeom>
        </p:spPr>
        <p:txBody>
          <a:bodyPr/>
          <a:lstStyle>
            <a:lvl1pPr marL="0" indent="0" algn="l" rtl="0">
              <a:spcBef>
                <a:spcPts val="0"/>
              </a:spcBef>
              <a:spcAft>
                <a:spcPts val="0"/>
              </a:spcAft>
              <a:buNone/>
              <a:defRPr sz="1200" b="0" i="0">
                <a:solidFill>
                  <a:schemeClr val="tx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defRPr>
            </a:lvl1pPr>
            <a:lvl2pPr>
              <a:defRPr sz="1200" b="0" i="0">
                <a:solidFill>
                  <a:schemeClr val="tx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defRPr>
            </a:lvl2pPr>
            <a:lvl3pPr>
              <a:defRPr sz="1200" b="0" i="0">
                <a:solidFill>
                  <a:schemeClr val="tx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defRPr>
            </a:lvl3pPr>
            <a:lvl4pPr>
              <a:defRPr sz="1200" b="0" i="0">
                <a:solidFill>
                  <a:schemeClr val="tx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defRPr>
            </a:lvl4pPr>
            <a:lvl5pPr>
              <a:defRPr sz="1200" b="0" i="0">
                <a:solidFill>
                  <a:schemeClr val="tx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defRPr>
            </a:lvl5pPr>
          </a:lstStyle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200">
                <a:solidFill>
                  <a:schemeClr val="tx1"/>
                </a:solidFill>
                <a:latin typeface="CiscoSansTT ExtraLight" panose="020B0303020201020303" pitchFamily="34" charset="0"/>
                <a:ea typeface="Helvetica Neue Light"/>
                <a:cs typeface="CiscoSansTT ExtraLight" panose="020B0303020201020303" pitchFamily="34" charset="0"/>
                <a:sym typeface="Helvetica Neue Light"/>
              </a:rPr>
              <a:t>Lorem ipsum dolor sit </a:t>
            </a:r>
            <a:r>
              <a:rPr lang="en-US" sz="1200" err="1">
                <a:solidFill>
                  <a:schemeClr val="tx1"/>
                </a:solidFill>
                <a:latin typeface="CiscoSansTT ExtraLight" panose="020B0303020201020303" pitchFamily="34" charset="0"/>
                <a:ea typeface="Helvetica Neue Light"/>
                <a:cs typeface="CiscoSansTT ExtraLight" panose="020B0303020201020303" pitchFamily="34" charset="0"/>
                <a:sym typeface="Helvetica Neue Light"/>
              </a:rPr>
              <a:t>amet</a:t>
            </a:r>
            <a:r>
              <a:rPr lang="en-US" sz="1200">
                <a:solidFill>
                  <a:schemeClr val="tx1"/>
                </a:solidFill>
                <a:latin typeface="CiscoSansTT ExtraLight" panose="020B0303020201020303" pitchFamily="34" charset="0"/>
                <a:ea typeface="Helvetica Neue Light"/>
                <a:cs typeface="CiscoSansTT ExtraLight" panose="020B0303020201020303" pitchFamily="34" charset="0"/>
                <a:sym typeface="Helvetica Neue Light"/>
              </a:rPr>
              <a:t> </a:t>
            </a:r>
            <a:r>
              <a:rPr lang="en-US" sz="1200" err="1">
                <a:solidFill>
                  <a:schemeClr val="tx1"/>
                </a:solidFill>
                <a:latin typeface="CiscoSansTT ExtraLight" panose="020B0303020201020303" pitchFamily="34" charset="0"/>
                <a:ea typeface="Helvetica Neue Light"/>
                <a:cs typeface="CiscoSansTT ExtraLight" panose="020B0303020201020303" pitchFamily="34" charset="0"/>
                <a:sym typeface="Helvetica Neue Light"/>
              </a:rPr>
              <a:t>consectetur</a:t>
            </a:r>
            <a:r>
              <a:rPr lang="en-US" sz="1200">
                <a:solidFill>
                  <a:schemeClr val="tx1"/>
                </a:solidFill>
                <a:latin typeface="CiscoSansTT ExtraLight" panose="020B0303020201020303" pitchFamily="34" charset="0"/>
                <a:ea typeface="Helvetica Neue Light"/>
                <a:cs typeface="CiscoSansTT ExtraLight" panose="020B0303020201020303" pitchFamily="34" charset="0"/>
                <a:sym typeface="Helvetica Neue Light"/>
              </a:rPr>
              <a:t> </a:t>
            </a:r>
            <a:r>
              <a:rPr lang="en-US" sz="1200" err="1">
                <a:solidFill>
                  <a:schemeClr val="tx1"/>
                </a:solidFill>
                <a:latin typeface="CiscoSansTT ExtraLight" panose="020B0303020201020303" pitchFamily="34" charset="0"/>
                <a:ea typeface="Helvetica Neue Light"/>
                <a:cs typeface="CiscoSansTT ExtraLight" panose="020B0303020201020303" pitchFamily="34" charset="0"/>
                <a:sym typeface="Helvetica Neue Light"/>
              </a:rPr>
              <a:t>adipiscing</a:t>
            </a:r>
            <a:r>
              <a:rPr lang="en-US" sz="1200">
                <a:solidFill>
                  <a:schemeClr val="tx1"/>
                </a:solidFill>
                <a:latin typeface="CiscoSansTT ExtraLight" panose="020B0303020201020303" pitchFamily="34" charset="0"/>
                <a:ea typeface="Helvetica Neue Light"/>
                <a:cs typeface="CiscoSansTT ExtraLight" panose="020B0303020201020303" pitchFamily="34" charset="0"/>
                <a:sym typeface="Helvetica Neue Light"/>
              </a:rPr>
              <a:t> </a:t>
            </a:r>
            <a:r>
              <a:rPr lang="en-US" sz="1200" err="1">
                <a:solidFill>
                  <a:schemeClr val="tx1"/>
                </a:solidFill>
                <a:latin typeface="CiscoSansTT ExtraLight" panose="020B0303020201020303" pitchFamily="34" charset="0"/>
                <a:ea typeface="Helvetica Neue Light"/>
                <a:cs typeface="CiscoSansTT ExtraLight" panose="020B0303020201020303" pitchFamily="34" charset="0"/>
                <a:sym typeface="Helvetica Neue Light"/>
              </a:rPr>
              <a:t>elit</a:t>
            </a:r>
            <a:endParaRPr lang="en-US" sz="1200">
              <a:solidFill>
                <a:schemeClr val="tx1"/>
              </a:solidFill>
              <a:latin typeface="CiscoSansTT ExtraLight" panose="020B0303020201020303" pitchFamily="34" charset="0"/>
              <a:ea typeface="Helvetica Neue Light"/>
              <a:cs typeface="CiscoSansTT ExtraLight" panose="020B0303020201020303" pitchFamily="34" charset="0"/>
              <a:sym typeface="Helvetica Neue Light"/>
            </a:endParaRP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lang="en-US" sz="1200">
              <a:solidFill>
                <a:schemeClr val="tx1"/>
              </a:solidFill>
              <a:latin typeface="CiscoSansTT ExtraLight" panose="020B0303020201020303" pitchFamily="34" charset="0"/>
              <a:ea typeface="Helvetica Neue Light"/>
              <a:cs typeface="CiscoSansTT ExtraLight" panose="020B0303020201020303" pitchFamily="34" charset="0"/>
              <a:sym typeface="Helvetica Neue Light"/>
            </a:endParaRPr>
          </a:p>
        </p:txBody>
      </p:sp>
      <p:sp>
        <p:nvSpPr>
          <p:cNvPr id="44" name="Text Placeholder 39">
            <a:extLst>
              <a:ext uri="{FF2B5EF4-FFF2-40B4-BE49-F238E27FC236}">
                <a16:creationId xmlns:a16="http://schemas.microsoft.com/office/drawing/2014/main" id="{B4A71F95-4B93-464A-9C8D-6FBE935C4950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5671060" y="3478414"/>
            <a:ext cx="1974557" cy="757767"/>
          </a:xfrm>
          <a:prstGeom prst="rect">
            <a:avLst/>
          </a:prstGeom>
        </p:spPr>
        <p:txBody>
          <a:bodyPr/>
          <a:lstStyle>
            <a:lvl1pPr marL="0" indent="0" algn="l" rtl="0">
              <a:spcBef>
                <a:spcPts val="0"/>
              </a:spcBef>
              <a:spcAft>
                <a:spcPts val="0"/>
              </a:spcAft>
              <a:buNone/>
              <a:defRPr sz="1200" b="0" i="0">
                <a:solidFill>
                  <a:schemeClr val="tx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defRPr>
            </a:lvl1pPr>
            <a:lvl2pPr>
              <a:defRPr sz="1200" b="0" i="0">
                <a:solidFill>
                  <a:schemeClr val="tx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defRPr>
            </a:lvl2pPr>
            <a:lvl3pPr>
              <a:defRPr sz="1200" b="0" i="0">
                <a:solidFill>
                  <a:schemeClr val="tx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defRPr>
            </a:lvl3pPr>
            <a:lvl4pPr>
              <a:defRPr sz="1200" b="0" i="0">
                <a:solidFill>
                  <a:schemeClr val="tx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defRPr>
            </a:lvl4pPr>
            <a:lvl5pPr>
              <a:defRPr sz="1200" b="0" i="0">
                <a:solidFill>
                  <a:schemeClr val="tx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defRPr>
            </a:lvl5pPr>
          </a:lstStyle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200">
                <a:solidFill>
                  <a:schemeClr val="tx1"/>
                </a:solidFill>
                <a:latin typeface="CiscoSansTT ExtraLight" panose="020B0303020201020303" pitchFamily="34" charset="0"/>
                <a:ea typeface="Helvetica Neue Light"/>
                <a:cs typeface="CiscoSansTT ExtraLight" panose="020B0303020201020303" pitchFamily="34" charset="0"/>
                <a:sym typeface="Helvetica Neue Light"/>
              </a:rPr>
              <a:t>Lorem ipsum dolor sit </a:t>
            </a:r>
            <a:r>
              <a:rPr lang="en-US" sz="1200" err="1">
                <a:solidFill>
                  <a:schemeClr val="tx1"/>
                </a:solidFill>
                <a:latin typeface="CiscoSansTT ExtraLight" panose="020B0303020201020303" pitchFamily="34" charset="0"/>
                <a:ea typeface="Helvetica Neue Light"/>
                <a:cs typeface="CiscoSansTT ExtraLight" panose="020B0303020201020303" pitchFamily="34" charset="0"/>
                <a:sym typeface="Helvetica Neue Light"/>
              </a:rPr>
              <a:t>amet</a:t>
            </a:r>
            <a:r>
              <a:rPr lang="en-US" sz="1200">
                <a:solidFill>
                  <a:schemeClr val="tx1"/>
                </a:solidFill>
                <a:latin typeface="CiscoSansTT ExtraLight" panose="020B0303020201020303" pitchFamily="34" charset="0"/>
                <a:ea typeface="Helvetica Neue Light"/>
                <a:cs typeface="CiscoSansTT ExtraLight" panose="020B0303020201020303" pitchFamily="34" charset="0"/>
                <a:sym typeface="Helvetica Neue Light"/>
              </a:rPr>
              <a:t> </a:t>
            </a:r>
            <a:r>
              <a:rPr lang="en-US" sz="1200" err="1">
                <a:solidFill>
                  <a:schemeClr val="tx1"/>
                </a:solidFill>
                <a:latin typeface="CiscoSansTT ExtraLight" panose="020B0303020201020303" pitchFamily="34" charset="0"/>
                <a:ea typeface="Helvetica Neue Light"/>
                <a:cs typeface="CiscoSansTT ExtraLight" panose="020B0303020201020303" pitchFamily="34" charset="0"/>
                <a:sym typeface="Helvetica Neue Light"/>
              </a:rPr>
              <a:t>consectetur</a:t>
            </a:r>
            <a:r>
              <a:rPr lang="en-US" sz="1200">
                <a:solidFill>
                  <a:schemeClr val="tx1"/>
                </a:solidFill>
                <a:latin typeface="CiscoSansTT ExtraLight" panose="020B0303020201020303" pitchFamily="34" charset="0"/>
                <a:ea typeface="Helvetica Neue Light"/>
                <a:cs typeface="CiscoSansTT ExtraLight" panose="020B0303020201020303" pitchFamily="34" charset="0"/>
                <a:sym typeface="Helvetica Neue Light"/>
              </a:rPr>
              <a:t> </a:t>
            </a:r>
            <a:r>
              <a:rPr lang="en-US" sz="1200" err="1">
                <a:solidFill>
                  <a:schemeClr val="tx1"/>
                </a:solidFill>
                <a:latin typeface="CiscoSansTT ExtraLight" panose="020B0303020201020303" pitchFamily="34" charset="0"/>
                <a:ea typeface="Helvetica Neue Light"/>
                <a:cs typeface="CiscoSansTT ExtraLight" panose="020B0303020201020303" pitchFamily="34" charset="0"/>
                <a:sym typeface="Helvetica Neue Light"/>
              </a:rPr>
              <a:t>adipiscing</a:t>
            </a:r>
            <a:r>
              <a:rPr lang="en-US" sz="1200">
                <a:solidFill>
                  <a:schemeClr val="tx1"/>
                </a:solidFill>
                <a:latin typeface="CiscoSansTT ExtraLight" panose="020B0303020201020303" pitchFamily="34" charset="0"/>
                <a:ea typeface="Helvetica Neue Light"/>
                <a:cs typeface="CiscoSansTT ExtraLight" panose="020B0303020201020303" pitchFamily="34" charset="0"/>
                <a:sym typeface="Helvetica Neue Light"/>
              </a:rPr>
              <a:t> </a:t>
            </a:r>
            <a:r>
              <a:rPr lang="en-US" sz="1200" err="1">
                <a:solidFill>
                  <a:schemeClr val="tx1"/>
                </a:solidFill>
                <a:latin typeface="CiscoSansTT ExtraLight" panose="020B0303020201020303" pitchFamily="34" charset="0"/>
                <a:ea typeface="Helvetica Neue Light"/>
                <a:cs typeface="CiscoSansTT ExtraLight" panose="020B0303020201020303" pitchFamily="34" charset="0"/>
                <a:sym typeface="Helvetica Neue Light"/>
              </a:rPr>
              <a:t>elit</a:t>
            </a:r>
            <a:endParaRPr lang="en-US" sz="1200">
              <a:solidFill>
                <a:schemeClr val="tx1"/>
              </a:solidFill>
              <a:latin typeface="CiscoSansTT ExtraLight" panose="020B0303020201020303" pitchFamily="34" charset="0"/>
              <a:ea typeface="Helvetica Neue Light"/>
              <a:cs typeface="CiscoSansTT ExtraLight" panose="020B0303020201020303" pitchFamily="34" charset="0"/>
              <a:sym typeface="Helvetica Neue Light"/>
            </a:endParaRP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lang="en-US" sz="1200">
              <a:solidFill>
                <a:schemeClr val="tx1"/>
              </a:solidFill>
              <a:latin typeface="CiscoSansTT ExtraLight" panose="020B0303020201020303" pitchFamily="34" charset="0"/>
              <a:ea typeface="Helvetica Neue Light"/>
              <a:cs typeface="CiscoSansTT ExtraLight" panose="020B0303020201020303" pitchFamily="34" charset="0"/>
              <a:sym typeface="Helvetica Neue Light"/>
            </a:endParaRPr>
          </a:p>
        </p:txBody>
      </p:sp>
      <p:sp>
        <p:nvSpPr>
          <p:cNvPr id="45" name="Text Placeholder 39">
            <a:extLst>
              <a:ext uri="{FF2B5EF4-FFF2-40B4-BE49-F238E27FC236}">
                <a16:creationId xmlns:a16="http://schemas.microsoft.com/office/drawing/2014/main" id="{58E4658F-7CC8-4041-BBE3-C4200556636A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8340800" y="3477502"/>
            <a:ext cx="1974557" cy="757767"/>
          </a:xfrm>
          <a:prstGeom prst="rect">
            <a:avLst/>
          </a:prstGeom>
        </p:spPr>
        <p:txBody>
          <a:bodyPr/>
          <a:lstStyle>
            <a:lvl1pPr marL="0" indent="0" algn="l" rtl="0">
              <a:spcBef>
                <a:spcPts val="0"/>
              </a:spcBef>
              <a:spcAft>
                <a:spcPts val="0"/>
              </a:spcAft>
              <a:buNone/>
              <a:defRPr sz="1200" b="0" i="0">
                <a:solidFill>
                  <a:schemeClr val="tx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defRPr>
            </a:lvl1pPr>
            <a:lvl2pPr>
              <a:defRPr sz="1200" b="0" i="0">
                <a:solidFill>
                  <a:schemeClr val="tx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defRPr>
            </a:lvl2pPr>
            <a:lvl3pPr>
              <a:defRPr sz="1200" b="0" i="0">
                <a:solidFill>
                  <a:schemeClr val="tx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defRPr>
            </a:lvl3pPr>
            <a:lvl4pPr>
              <a:defRPr sz="1200" b="0" i="0">
                <a:solidFill>
                  <a:schemeClr val="tx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defRPr>
            </a:lvl4pPr>
            <a:lvl5pPr>
              <a:defRPr sz="1200" b="0" i="0">
                <a:solidFill>
                  <a:schemeClr val="tx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defRPr>
            </a:lvl5pPr>
          </a:lstStyle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200">
                <a:solidFill>
                  <a:schemeClr val="tx1"/>
                </a:solidFill>
                <a:latin typeface="CiscoSansTT ExtraLight" panose="020B0303020201020303" pitchFamily="34" charset="0"/>
                <a:ea typeface="Helvetica Neue Light"/>
                <a:cs typeface="CiscoSansTT ExtraLight" panose="020B0303020201020303" pitchFamily="34" charset="0"/>
                <a:sym typeface="Helvetica Neue Light"/>
              </a:rPr>
              <a:t>Lorem ipsum dolor sit </a:t>
            </a:r>
            <a:r>
              <a:rPr lang="en-US" sz="1200" err="1">
                <a:solidFill>
                  <a:schemeClr val="tx1"/>
                </a:solidFill>
                <a:latin typeface="CiscoSansTT ExtraLight" panose="020B0303020201020303" pitchFamily="34" charset="0"/>
                <a:ea typeface="Helvetica Neue Light"/>
                <a:cs typeface="CiscoSansTT ExtraLight" panose="020B0303020201020303" pitchFamily="34" charset="0"/>
                <a:sym typeface="Helvetica Neue Light"/>
              </a:rPr>
              <a:t>amet</a:t>
            </a:r>
            <a:r>
              <a:rPr lang="en-US" sz="1200">
                <a:solidFill>
                  <a:schemeClr val="tx1"/>
                </a:solidFill>
                <a:latin typeface="CiscoSansTT ExtraLight" panose="020B0303020201020303" pitchFamily="34" charset="0"/>
                <a:ea typeface="Helvetica Neue Light"/>
                <a:cs typeface="CiscoSansTT ExtraLight" panose="020B0303020201020303" pitchFamily="34" charset="0"/>
                <a:sym typeface="Helvetica Neue Light"/>
              </a:rPr>
              <a:t> </a:t>
            </a:r>
            <a:r>
              <a:rPr lang="en-US" sz="1200" err="1">
                <a:solidFill>
                  <a:schemeClr val="tx1"/>
                </a:solidFill>
                <a:latin typeface="CiscoSansTT ExtraLight" panose="020B0303020201020303" pitchFamily="34" charset="0"/>
                <a:ea typeface="Helvetica Neue Light"/>
                <a:cs typeface="CiscoSansTT ExtraLight" panose="020B0303020201020303" pitchFamily="34" charset="0"/>
                <a:sym typeface="Helvetica Neue Light"/>
              </a:rPr>
              <a:t>consectetur</a:t>
            </a:r>
            <a:r>
              <a:rPr lang="en-US" sz="1200">
                <a:solidFill>
                  <a:schemeClr val="tx1"/>
                </a:solidFill>
                <a:latin typeface="CiscoSansTT ExtraLight" panose="020B0303020201020303" pitchFamily="34" charset="0"/>
                <a:ea typeface="Helvetica Neue Light"/>
                <a:cs typeface="CiscoSansTT ExtraLight" panose="020B0303020201020303" pitchFamily="34" charset="0"/>
                <a:sym typeface="Helvetica Neue Light"/>
              </a:rPr>
              <a:t> </a:t>
            </a:r>
            <a:r>
              <a:rPr lang="en-US" sz="1200" err="1">
                <a:solidFill>
                  <a:schemeClr val="tx1"/>
                </a:solidFill>
                <a:latin typeface="CiscoSansTT ExtraLight" panose="020B0303020201020303" pitchFamily="34" charset="0"/>
                <a:ea typeface="Helvetica Neue Light"/>
                <a:cs typeface="CiscoSansTT ExtraLight" panose="020B0303020201020303" pitchFamily="34" charset="0"/>
                <a:sym typeface="Helvetica Neue Light"/>
              </a:rPr>
              <a:t>adipiscing</a:t>
            </a:r>
            <a:r>
              <a:rPr lang="en-US" sz="1200">
                <a:solidFill>
                  <a:schemeClr val="tx1"/>
                </a:solidFill>
                <a:latin typeface="CiscoSansTT ExtraLight" panose="020B0303020201020303" pitchFamily="34" charset="0"/>
                <a:ea typeface="Helvetica Neue Light"/>
                <a:cs typeface="CiscoSansTT ExtraLight" panose="020B0303020201020303" pitchFamily="34" charset="0"/>
                <a:sym typeface="Helvetica Neue Light"/>
              </a:rPr>
              <a:t> </a:t>
            </a:r>
            <a:r>
              <a:rPr lang="en-US" sz="1200" err="1">
                <a:solidFill>
                  <a:schemeClr val="tx1"/>
                </a:solidFill>
                <a:latin typeface="CiscoSansTT ExtraLight" panose="020B0303020201020303" pitchFamily="34" charset="0"/>
                <a:ea typeface="Helvetica Neue Light"/>
                <a:cs typeface="CiscoSansTT ExtraLight" panose="020B0303020201020303" pitchFamily="34" charset="0"/>
                <a:sym typeface="Helvetica Neue Light"/>
              </a:rPr>
              <a:t>elit</a:t>
            </a:r>
            <a:endParaRPr lang="en-US" sz="1200">
              <a:solidFill>
                <a:schemeClr val="tx1"/>
              </a:solidFill>
              <a:latin typeface="CiscoSansTT ExtraLight" panose="020B0303020201020303" pitchFamily="34" charset="0"/>
              <a:ea typeface="Helvetica Neue Light"/>
              <a:cs typeface="CiscoSansTT ExtraLight" panose="020B0303020201020303" pitchFamily="34" charset="0"/>
              <a:sym typeface="Helvetica Neue Light"/>
            </a:endParaRP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lang="en-US" sz="1200">
              <a:solidFill>
                <a:schemeClr val="tx1"/>
              </a:solidFill>
              <a:latin typeface="CiscoSansTT ExtraLight" panose="020B0303020201020303" pitchFamily="34" charset="0"/>
              <a:ea typeface="Helvetica Neue Light"/>
              <a:cs typeface="CiscoSansTT ExtraLight" panose="020B0303020201020303" pitchFamily="34" charset="0"/>
              <a:sym typeface="Helvetica Neue Light"/>
            </a:endParaRPr>
          </a:p>
        </p:txBody>
      </p:sp>
      <p:sp>
        <p:nvSpPr>
          <p:cNvPr id="47" name="Text Placeholder 39">
            <a:extLst>
              <a:ext uri="{FF2B5EF4-FFF2-40B4-BE49-F238E27FC236}">
                <a16:creationId xmlns:a16="http://schemas.microsoft.com/office/drawing/2014/main" id="{DDC0FFB8-5F75-4E48-BE04-EF4B80D5AA6C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5671060" y="5212483"/>
            <a:ext cx="1974557" cy="757767"/>
          </a:xfrm>
          <a:prstGeom prst="rect">
            <a:avLst/>
          </a:prstGeom>
        </p:spPr>
        <p:txBody>
          <a:bodyPr/>
          <a:lstStyle>
            <a:lvl1pPr marL="0" indent="0" algn="l" rtl="0">
              <a:spcBef>
                <a:spcPts val="0"/>
              </a:spcBef>
              <a:spcAft>
                <a:spcPts val="0"/>
              </a:spcAft>
              <a:buNone/>
              <a:defRPr sz="1200" b="0" i="0">
                <a:solidFill>
                  <a:schemeClr val="tx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defRPr>
            </a:lvl1pPr>
            <a:lvl2pPr>
              <a:defRPr sz="1200" b="0" i="0">
                <a:solidFill>
                  <a:schemeClr val="tx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defRPr>
            </a:lvl2pPr>
            <a:lvl3pPr>
              <a:defRPr sz="1200" b="0" i="0">
                <a:solidFill>
                  <a:schemeClr val="tx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defRPr>
            </a:lvl3pPr>
            <a:lvl4pPr>
              <a:defRPr sz="1200" b="0" i="0">
                <a:solidFill>
                  <a:schemeClr val="tx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defRPr>
            </a:lvl4pPr>
            <a:lvl5pPr>
              <a:defRPr sz="1200" b="0" i="0">
                <a:solidFill>
                  <a:schemeClr val="tx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defRPr>
            </a:lvl5pPr>
          </a:lstStyle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200">
                <a:solidFill>
                  <a:schemeClr val="tx1"/>
                </a:solidFill>
                <a:latin typeface="CiscoSansTT ExtraLight" panose="020B0303020201020303" pitchFamily="34" charset="0"/>
                <a:ea typeface="Helvetica Neue Light"/>
                <a:cs typeface="CiscoSansTT ExtraLight" panose="020B0303020201020303" pitchFamily="34" charset="0"/>
                <a:sym typeface="Helvetica Neue Light"/>
              </a:rPr>
              <a:t>Lorem ipsum dolor sit </a:t>
            </a:r>
            <a:r>
              <a:rPr lang="en-US" sz="1200" err="1">
                <a:solidFill>
                  <a:schemeClr val="tx1"/>
                </a:solidFill>
                <a:latin typeface="CiscoSansTT ExtraLight" panose="020B0303020201020303" pitchFamily="34" charset="0"/>
                <a:ea typeface="Helvetica Neue Light"/>
                <a:cs typeface="CiscoSansTT ExtraLight" panose="020B0303020201020303" pitchFamily="34" charset="0"/>
                <a:sym typeface="Helvetica Neue Light"/>
              </a:rPr>
              <a:t>amet</a:t>
            </a:r>
            <a:r>
              <a:rPr lang="en-US" sz="1200">
                <a:solidFill>
                  <a:schemeClr val="tx1"/>
                </a:solidFill>
                <a:latin typeface="CiscoSansTT ExtraLight" panose="020B0303020201020303" pitchFamily="34" charset="0"/>
                <a:ea typeface="Helvetica Neue Light"/>
                <a:cs typeface="CiscoSansTT ExtraLight" panose="020B0303020201020303" pitchFamily="34" charset="0"/>
                <a:sym typeface="Helvetica Neue Light"/>
              </a:rPr>
              <a:t> </a:t>
            </a:r>
            <a:r>
              <a:rPr lang="en-US" sz="1200" err="1">
                <a:solidFill>
                  <a:schemeClr val="tx1"/>
                </a:solidFill>
                <a:latin typeface="CiscoSansTT ExtraLight" panose="020B0303020201020303" pitchFamily="34" charset="0"/>
                <a:ea typeface="Helvetica Neue Light"/>
                <a:cs typeface="CiscoSansTT ExtraLight" panose="020B0303020201020303" pitchFamily="34" charset="0"/>
                <a:sym typeface="Helvetica Neue Light"/>
              </a:rPr>
              <a:t>consectetur</a:t>
            </a:r>
            <a:r>
              <a:rPr lang="en-US" sz="1200">
                <a:solidFill>
                  <a:schemeClr val="tx1"/>
                </a:solidFill>
                <a:latin typeface="CiscoSansTT ExtraLight" panose="020B0303020201020303" pitchFamily="34" charset="0"/>
                <a:ea typeface="Helvetica Neue Light"/>
                <a:cs typeface="CiscoSansTT ExtraLight" panose="020B0303020201020303" pitchFamily="34" charset="0"/>
                <a:sym typeface="Helvetica Neue Light"/>
              </a:rPr>
              <a:t> </a:t>
            </a:r>
            <a:r>
              <a:rPr lang="en-US" sz="1200" err="1">
                <a:solidFill>
                  <a:schemeClr val="tx1"/>
                </a:solidFill>
                <a:latin typeface="CiscoSansTT ExtraLight" panose="020B0303020201020303" pitchFamily="34" charset="0"/>
                <a:ea typeface="Helvetica Neue Light"/>
                <a:cs typeface="CiscoSansTT ExtraLight" panose="020B0303020201020303" pitchFamily="34" charset="0"/>
                <a:sym typeface="Helvetica Neue Light"/>
              </a:rPr>
              <a:t>adipiscing</a:t>
            </a:r>
            <a:r>
              <a:rPr lang="en-US" sz="1200">
                <a:solidFill>
                  <a:schemeClr val="tx1"/>
                </a:solidFill>
                <a:latin typeface="CiscoSansTT ExtraLight" panose="020B0303020201020303" pitchFamily="34" charset="0"/>
                <a:ea typeface="Helvetica Neue Light"/>
                <a:cs typeface="CiscoSansTT ExtraLight" panose="020B0303020201020303" pitchFamily="34" charset="0"/>
                <a:sym typeface="Helvetica Neue Light"/>
              </a:rPr>
              <a:t> </a:t>
            </a:r>
            <a:r>
              <a:rPr lang="en-US" sz="1200" err="1">
                <a:solidFill>
                  <a:schemeClr val="tx1"/>
                </a:solidFill>
                <a:latin typeface="CiscoSansTT ExtraLight" panose="020B0303020201020303" pitchFamily="34" charset="0"/>
                <a:ea typeface="Helvetica Neue Light"/>
                <a:cs typeface="CiscoSansTT ExtraLight" panose="020B0303020201020303" pitchFamily="34" charset="0"/>
                <a:sym typeface="Helvetica Neue Light"/>
              </a:rPr>
              <a:t>elit</a:t>
            </a:r>
            <a:endParaRPr lang="en-US" sz="1200">
              <a:solidFill>
                <a:schemeClr val="tx1"/>
              </a:solidFill>
              <a:latin typeface="CiscoSansTT ExtraLight" panose="020B0303020201020303" pitchFamily="34" charset="0"/>
              <a:ea typeface="Helvetica Neue Light"/>
              <a:cs typeface="CiscoSansTT ExtraLight" panose="020B0303020201020303" pitchFamily="34" charset="0"/>
              <a:sym typeface="Helvetica Neue Light"/>
            </a:endParaRP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lang="en-US" sz="1200">
              <a:solidFill>
                <a:schemeClr val="tx1"/>
              </a:solidFill>
              <a:latin typeface="CiscoSansTT ExtraLight" panose="020B0303020201020303" pitchFamily="34" charset="0"/>
              <a:ea typeface="Helvetica Neue Light"/>
              <a:cs typeface="CiscoSansTT ExtraLight" panose="020B0303020201020303" pitchFamily="34" charset="0"/>
              <a:sym typeface="Helvetica Neue Light"/>
            </a:endParaRPr>
          </a:p>
        </p:txBody>
      </p:sp>
    </p:spTree>
    <p:extLst>
      <p:ext uri="{BB962C8B-B14F-4D97-AF65-F5344CB8AC3E}">
        <p14:creationId xmlns:p14="http://schemas.microsoft.com/office/powerpoint/2010/main" val="598652073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Closing Slide" preserve="1">
  <p:cSld name="Closing Slide">
    <p:bg>
      <p:bgRef idx="1001">
        <a:schemeClr val="bg2"/>
      </p:bgRef>
    </p:bg>
    <p:spTree>
      <p:nvGrpSpPr>
        <p:cNvPr id="1" name="Shape 17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2135;p235">
            <a:extLst>
              <a:ext uri="{FF2B5EF4-FFF2-40B4-BE49-F238E27FC236}">
                <a16:creationId xmlns:a16="http://schemas.microsoft.com/office/drawing/2014/main" id="{F6763160-F953-2447-8F73-DD12E674ED38}"/>
              </a:ext>
            </a:extLst>
          </p:cNvPr>
          <p:cNvSpPr/>
          <p:nvPr userDrawn="1"/>
        </p:nvSpPr>
        <p:spPr>
          <a:xfrm>
            <a:off x="5168268" y="2918968"/>
            <a:ext cx="1855469" cy="985701"/>
          </a:xfrm>
          <a:custGeom>
            <a:avLst/>
            <a:gdLst/>
            <a:ahLst/>
            <a:cxnLst/>
            <a:rect l="l" t="t" r="r" b="b"/>
            <a:pathLst>
              <a:path w="3456" h="1834" extrusionOk="0">
                <a:moveTo>
                  <a:pt x="2828" y="1362"/>
                </a:moveTo>
                <a:lnTo>
                  <a:pt x="2798" y="1364"/>
                </a:lnTo>
                <a:lnTo>
                  <a:pt x="2771" y="1371"/>
                </a:lnTo>
                <a:lnTo>
                  <a:pt x="2747" y="1384"/>
                </a:lnTo>
                <a:lnTo>
                  <a:pt x="2725" y="1400"/>
                </a:lnTo>
                <a:lnTo>
                  <a:pt x="2706" y="1419"/>
                </a:lnTo>
                <a:lnTo>
                  <a:pt x="2691" y="1441"/>
                </a:lnTo>
                <a:lnTo>
                  <a:pt x="2680" y="1465"/>
                </a:lnTo>
                <a:lnTo>
                  <a:pt x="2674" y="1492"/>
                </a:lnTo>
                <a:lnTo>
                  <a:pt x="2671" y="1521"/>
                </a:lnTo>
                <a:lnTo>
                  <a:pt x="2674" y="1549"/>
                </a:lnTo>
                <a:lnTo>
                  <a:pt x="2680" y="1577"/>
                </a:lnTo>
                <a:lnTo>
                  <a:pt x="2691" y="1601"/>
                </a:lnTo>
                <a:lnTo>
                  <a:pt x="2706" y="1623"/>
                </a:lnTo>
                <a:lnTo>
                  <a:pt x="2725" y="1642"/>
                </a:lnTo>
                <a:lnTo>
                  <a:pt x="2747" y="1658"/>
                </a:lnTo>
                <a:lnTo>
                  <a:pt x="2771" y="1669"/>
                </a:lnTo>
                <a:lnTo>
                  <a:pt x="2798" y="1677"/>
                </a:lnTo>
                <a:lnTo>
                  <a:pt x="2828" y="1680"/>
                </a:lnTo>
                <a:lnTo>
                  <a:pt x="2857" y="1677"/>
                </a:lnTo>
                <a:lnTo>
                  <a:pt x="2883" y="1669"/>
                </a:lnTo>
                <a:lnTo>
                  <a:pt x="2908" y="1658"/>
                </a:lnTo>
                <a:lnTo>
                  <a:pt x="2930" y="1642"/>
                </a:lnTo>
                <a:lnTo>
                  <a:pt x="2948" y="1623"/>
                </a:lnTo>
                <a:lnTo>
                  <a:pt x="2964" y="1601"/>
                </a:lnTo>
                <a:lnTo>
                  <a:pt x="2975" y="1577"/>
                </a:lnTo>
                <a:lnTo>
                  <a:pt x="2982" y="1549"/>
                </a:lnTo>
                <a:lnTo>
                  <a:pt x="2985" y="1521"/>
                </a:lnTo>
                <a:lnTo>
                  <a:pt x="2982" y="1492"/>
                </a:lnTo>
                <a:lnTo>
                  <a:pt x="2975" y="1465"/>
                </a:lnTo>
                <a:lnTo>
                  <a:pt x="2964" y="1441"/>
                </a:lnTo>
                <a:lnTo>
                  <a:pt x="2948" y="1419"/>
                </a:lnTo>
                <a:lnTo>
                  <a:pt x="2930" y="1400"/>
                </a:lnTo>
                <a:lnTo>
                  <a:pt x="2908" y="1384"/>
                </a:lnTo>
                <a:lnTo>
                  <a:pt x="2883" y="1371"/>
                </a:lnTo>
                <a:lnTo>
                  <a:pt x="2857" y="1364"/>
                </a:lnTo>
                <a:lnTo>
                  <a:pt x="2828" y="1362"/>
                </a:lnTo>
                <a:close/>
                <a:moveTo>
                  <a:pt x="977" y="1218"/>
                </a:moveTo>
                <a:lnTo>
                  <a:pt x="1129" y="1218"/>
                </a:lnTo>
                <a:lnTo>
                  <a:pt x="1129" y="1823"/>
                </a:lnTo>
                <a:lnTo>
                  <a:pt x="977" y="1823"/>
                </a:lnTo>
                <a:lnTo>
                  <a:pt x="977" y="1218"/>
                </a:lnTo>
                <a:close/>
                <a:moveTo>
                  <a:pt x="2828" y="1208"/>
                </a:moveTo>
                <a:lnTo>
                  <a:pt x="2873" y="1211"/>
                </a:lnTo>
                <a:lnTo>
                  <a:pt x="2916" y="1219"/>
                </a:lnTo>
                <a:lnTo>
                  <a:pt x="2955" y="1232"/>
                </a:lnTo>
                <a:lnTo>
                  <a:pt x="2992" y="1251"/>
                </a:lnTo>
                <a:lnTo>
                  <a:pt x="3026" y="1273"/>
                </a:lnTo>
                <a:lnTo>
                  <a:pt x="3056" y="1299"/>
                </a:lnTo>
                <a:lnTo>
                  <a:pt x="3082" y="1330"/>
                </a:lnTo>
                <a:lnTo>
                  <a:pt x="3104" y="1363"/>
                </a:lnTo>
                <a:lnTo>
                  <a:pt x="3121" y="1398"/>
                </a:lnTo>
                <a:lnTo>
                  <a:pt x="3134" y="1437"/>
                </a:lnTo>
                <a:lnTo>
                  <a:pt x="3142" y="1479"/>
                </a:lnTo>
                <a:lnTo>
                  <a:pt x="3145" y="1521"/>
                </a:lnTo>
                <a:lnTo>
                  <a:pt x="3142" y="1563"/>
                </a:lnTo>
                <a:lnTo>
                  <a:pt x="3134" y="1604"/>
                </a:lnTo>
                <a:lnTo>
                  <a:pt x="3121" y="1642"/>
                </a:lnTo>
                <a:lnTo>
                  <a:pt x="3104" y="1679"/>
                </a:lnTo>
                <a:lnTo>
                  <a:pt x="3082" y="1712"/>
                </a:lnTo>
                <a:lnTo>
                  <a:pt x="3056" y="1742"/>
                </a:lnTo>
                <a:lnTo>
                  <a:pt x="3026" y="1769"/>
                </a:lnTo>
                <a:lnTo>
                  <a:pt x="2992" y="1791"/>
                </a:lnTo>
                <a:lnTo>
                  <a:pt x="2955" y="1809"/>
                </a:lnTo>
                <a:lnTo>
                  <a:pt x="2916" y="1822"/>
                </a:lnTo>
                <a:lnTo>
                  <a:pt x="2873" y="1831"/>
                </a:lnTo>
                <a:lnTo>
                  <a:pt x="2828" y="1834"/>
                </a:lnTo>
                <a:lnTo>
                  <a:pt x="2783" y="1831"/>
                </a:lnTo>
                <a:lnTo>
                  <a:pt x="2740" y="1822"/>
                </a:lnTo>
                <a:lnTo>
                  <a:pt x="2700" y="1809"/>
                </a:lnTo>
                <a:lnTo>
                  <a:pt x="2663" y="1791"/>
                </a:lnTo>
                <a:lnTo>
                  <a:pt x="2630" y="1769"/>
                </a:lnTo>
                <a:lnTo>
                  <a:pt x="2599" y="1742"/>
                </a:lnTo>
                <a:lnTo>
                  <a:pt x="2573" y="1712"/>
                </a:lnTo>
                <a:lnTo>
                  <a:pt x="2551" y="1679"/>
                </a:lnTo>
                <a:lnTo>
                  <a:pt x="2534" y="1642"/>
                </a:lnTo>
                <a:lnTo>
                  <a:pt x="2521" y="1604"/>
                </a:lnTo>
                <a:lnTo>
                  <a:pt x="2513" y="1563"/>
                </a:lnTo>
                <a:lnTo>
                  <a:pt x="2510" y="1521"/>
                </a:lnTo>
                <a:lnTo>
                  <a:pt x="2513" y="1479"/>
                </a:lnTo>
                <a:lnTo>
                  <a:pt x="2521" y="1437"/>
                </a:lnTo>
                <a:lnTo>
                  <a:pt x="2534" y="1398"/>
                </a:lnTo>
                <a:lnTo>
                  <a:pt x="2551" y="1363"/>
                </a:lnTo>
                <a:lnTo>
                  <a:pt x="2573" y="1330"/>
                </a:lnTo>
                <a:lnTo>
                  <a:pt x="2599" y="1299"/>
                </a:lnTo>
                <a:lnTo>
                  <a:pt x="2630" y="1273"/>
                </a:lnTo>
                <a:lnTo>
                  <a:pt x="2663" y="1251"/>
                </a:lnTo>
                <a:lnTo>
                  <a:pt x="2700" y="1232"/>
                </a:lnTo>
                <a:lnTo>
                  <a:pt x="2740" y="1219"/>
                </a:lnTo>
                <a:lnTo>
                  <a:pt x="2783" y="1211"/>
                </a:lnTo>
                <a:lnTo>
                  <a:pt x="2828" y="1208"/>
                </a:lnTo>
                <a:close/>
                <a:moveTo>
                  <a:pt x="2213" y="1208"/>
                </a:moveTo>
                <a:lnTo>
                  <a:pt x="2242" y="1209"/>
                </a:lnTo>
                <a:lnTo>
                  <a:pt x="2268" y="1211"/>
                </a:lnTo>
                <a:lnTo>
                  <a:pt x="2292" y="1215"/>
                </a:lnTo>
                <a:lnTo>
                  <a:pt x="2312" y="1219"/>
                </a:lnTo>
                <a:lnTo>
                  <a:pt x="2329" y="1223"/>
                </a:lnTo>
                <a:lnTo>
                  <a:pt x="2343" y="1227"/>
                </a:lnTo>
                <a:lnTo>
                  <a:pt x="2351" y="1230"/>
                </a:lnTo>
                <a:lnTo>
                  <a:pt x="2351" y="1392"/>
                </a:lnTo>
                <a:lnTo>
                  <a:pt x="2346" y="1389"/>
                </a:lnTo>
                <a:lnTo>
                  <a:pt x="2335" y="1384"/>
                </a:lnTo>
                <a:lnTo>
                  <a:pt x="2321" y="1377"/>
                </a:lnTo>
                <a:lnTo>
                  <a:pt x="2302" y="1371"/>
                </a:lnTo>
                <a:lnTo>
                  <a:pt x="2279" y="1365"/>
                </a:lnTo>
                <a:lnTo>
                  <a:pt x="2253" y="1360"/>
                </a:lnTo>
                <a:lnTo>
                  <a:pt x="2223" y="1359"/>
                </a:lnTo>
                <a:lnTo>
                  <a:pt x="2192" y="1362"/>
                </a:lnTo>
                <a:lnTo>
                  <a:pt x="2163" y="1369"/>
                </a:lnTo>
                <a:lnTo>
                  <a:pt x="2136" y="1381"/>
                </a:lnTo>
                <a:lnTo>
                  <a:pt x="2113" y="1396"/>
                </a:lnTo>
                <a:lnTo>
                  <a:pt x="2095" y="1415"/>
                </a:lnTo>
                <a:lnTo>
                  <a:pt x="2079" y="1437"/>
                </a:lnTo>
                <a:lnTo>
                  <a:pt x="2067" y="1463"/>
                </a:lnTo>
                <a:lnTo>
                  <a:pt x="2060" y="1490"/>
                </a:lnTo>
                <a:lnTo>
                  <a:pt x="2058" y="1521"/>
                </a:lnTo>
                <a:lnTo>
                  <a:pt x="2060" y="1550"/>
                </a:lnTo>
                <a:lnTo>
                  <a:pt x="2066" y="1578"/>
                </a:lnTo>
                <a:lnTo>
                  <a:pt x="2078" y="1602"/>
                </a:lnTo>
                <a:lnTo>
                  <a:pt x="2093" y="1625"/>
                </a:lnTo>
                <a:lnTo>
                  <a:pt x="2112" y="1644"/>
                </a:lnTo>
                <a:lnTo>
                  <a:pt x="2135" y="1660"/>
                </a:lnTo>
                <a:lnTo>
                  <a:pt x="2162" y="1672"/>
                </a:lnTo>
                <a:lnTo>
                  <a:pt x="2191" y="1679"/>
                </a:lnTo>
                <a:lnTo>
                  <a:pt x="2223" y="1682"/>
                </a:lnTo>
                <a:lnTo>
                  <a:pt x="2253" y="1680"/>
                </a:lnTo>
                <a:lnTo>
                  <a:pt x="2279" y="1676"/>
                </a:lnTo>
                <a:lnTo>
                  <a:pt x="2301" y="1671"/>
                </a:lnTo>
                <a:lnTo>
                  <a:pt x="2321" y="1664"/>
                </a:lnTo>
                <a:lnTo>
                  <a:pt x="2335" y="1658"/>
                </a:lnTo>
                <a:lnTo>
                  <a:pt x="2346" y="1653"/>
                </a:lnTo>
                <a:lnTo>
                  <a:pt x="2351" y="1649"/>
                </a:lnTo>
                <a:lnTo>
                  <a:pt x="2351" y="1812"/>
                </a:lnTo>
                <a:lnTo>
                  <a:pt x="2339" y="1816"/>
                </a:lnTo>
                <a:lnTo>
                  <a:pt x="2322" y="1820"/>
                </a:lnTo>
                <a:lnTo>
                  <a:pt x="2300" y="1826"/>
                </a:lnTo>
                <a:lnTo>
                  <a:pt x="2275" y="1830"/>
                </a:lnTo>
                <a:lnTo>
                  <a:pt x="2245" y="1833"/>
                </a:lnTo>
                <a:lnTo>
                  <a:pt x="2213" y="1834"/>
                </a:lnTo>
                <a:lnTo>
                  <a:pt x="2174" y="1832"/>
                </a:lnTo>
                <a:lnTo>
                  <a:pt x="2136" y="1826"/>
                </a:lnTo>
                <a:lnTo>
                  <a:pt x="2100" y="1815"/>
                </a:lnTo>
                <a:lnTo>
                  <a:pt x="2065" y="1801"/>
                </a:lnTo>
                <a:lnTo>
                  <a:pt x="2033" y="1783"/>
                </a:lnTo>
                <a:lnTo>
                  <a:pt x="2002" y="1762"/>
                </a:lnTo>
                <a:lnTo>
                  <a:pt x="1975" y="1737"/>
                </a:lnTo>
                <a:lnTo>
                  <a:pt x="1952" y="1710"/>
                </a:lnTo>
                <a:lnTo>
                  <a:pt x="1931" y="1678"/>
                </a:lnTo>
                <a:lnTo>
                  <a:pt x="1915" y="1643"/>
                </a:lnTo>
                <a:lnTo>
                  <a:pt x="1903" y="1605"/>
                </a:lnTo>
                <a:lnTo>
                  <a:pt x="1896" y="1564"/>
                </a:lnTo>
                <a:lnTo>
                  <a:pt x="1892" y="1521"/>
                </a:lnTo>
                <a:lnTo>
                  <a:pt x="1896" y="1477"/>
                </a:lnTo>
                <a:lnTo>
                  <a:pt x="1904" y="1434"/>
                </a:lnTo>
                <a:lnTo>
                  <a:pt x="1917" y="1395"/>
                </a:lnTo>
                <a:lnTo>
                  <a:pt x="1934" y="1359"/>
                </a:lnTo>
                <a:lnTo>
                  <a:pt x="1957" y="1326"/>
                </a:lnTo>
                <a:lnTo>
                  <a:pt x="1984" y="1296"/>
                </a:lnTo>
                <a:lnTo>
                  <a:pt x="2014" y="1271"/>
                </a:lnTo>
                <a:lnTo>
                  <a:pt x="2047" y="1249"/>
                </a:lnTo>
                <a:lnTo>
                  <a:pt x="2085" y="1231"/>
                </a:lnTo>
                <a:lnTo>
                  <a:pt x="2125" y="1218"/>
                </a:lnTo>
                <a:lnTo>
                  <a:pt x="2168" y="1211"/>
                </a:lnTo>
                <a:lnTo>
                  <a:pt x="2213" y="1208"/>
                </a:lnTo>
                <a:close/>
                <a:moveTo>
                  <a:pt x="630" y="1208"/>
                </a:moveTo>
                <a:lnTo>
                  <a:pt x="660" y="1209"/>
                </a:lnTo>
                <a:lnTo>
                  <a:pt x="687" y="1211"/>
                </a:lnTo>
                <a:lnTo>
                  <a:pt x="711" y="1215"/>
                </a:lnTo>
                <a:lnTo>
                  <a:pt x="731" y="1219"/>
                </a:lnTo>
                <a:lnTo>
                  <a:pt x="748" y="1223"/>
                </a:lnTo>
                <a:lnTo>
                  <a:pt x="760" y="1227"/>
                </a:lnTo>
                <a:lnTo>
                  <a:pt x="769" y="1230"/>
                </a:lnTo>
                <a:lnTo>
                  <a:pt x="769" y="1392"/>
                </a:lnTo>
                <a:lnTo>
                  <a:pt x="763" y="1389"/>
                </a:lnTo>
                <a:lnTo>
                  <a:pt x="754" y="1384"/>
                </a:lnTo>
                <a:lnTo>
                  <a:pt x="739" y="1377"/>
                </a:lnTo>
                <a:lnTo>
                  <a:pt x="721" y="1371"/>
                </a:lnTo>
                <a:lnTo>
                  <a:pt x="697" y="1365"/>
                </a:lnTo>
                <a:lnTo>
                  <a:pt x="671" y="1360"/>
                </a:lnTo>
                <a:lnTo>
                  <a:pt x="642" y="1359"/>
                </a:lnTo>
                <a:lnTo>
                  <a:pt x="611" y="1362"/>
                </a:lnTo>
                <a:lnTo>
                  <a:pt x="581" y="1369"/>
                </a:lnTo>
                <a:lnTo>
                  <a:pt x="555" y="1381"/>
                </a:lnTo>
                <a:lnTo>
                  <a:pt x="532" y="1396"/>
                </a:lnTo>
                <a:lnTo>
                  <a:pt x="513" y="1415"/>
                </a:lnTo>
                <a:lnTo>
                  <a:pt x="497" y="1437"/>
                </a:lnTo>
                <a:lnTo>
                  <a:pt x="485" y="1463"/>
                </a:lnTo>
                <a:lnTo>
                  <a:pt x="479" y="1490"/>
                </a:lnTo>
                <a:lnTo>
                  <a:pt x="475" y="1521"/>
                </a:lnTo>
                <a:lnTo>
                  <a:pt x="479" y="1550"/>
                </a:lnTo>
                <a:lnTo>
                  <a:pt x="485" y="1578"/>
                </a:lnTo>
                <a:lnTo>
                  <a:pt x="496" y="1602"/>
                </a:lnTo>
                <a:lnTo>
                  <a:pt x="512" y="1625"/>
                </a:lnTo>
                <a:lnTo>
                  <a:pt x="531" y="1644"/>
                </a:lnTo>
                <a:lnTo>
                  <a:pt x="554" y="1660"/>
                </a:lnTo>
                <a:lnTo>
                  <a:pt x="580" y="1672"/>
                </a:lnTo>
                <a:lnTo>
                  <a:pt x="610" y="1679"/>
                </a:lnTo>
                <a:lnTo>
                  <a:pt x="642" y="1682"/>
                </a:lnTo>
                <a:lnTo>
                  <a:pt x="671" y="1680"/>
                </a:lnTo>
                <a:lnTo>
                  <a:pt x="697" y="1676"/>
                </a:lnTo>
                <a:lnTo>
                  <a:pt x="719" y="1671"/>
                </a:lnTo>
                <a:lnTo>
                  <a:pt x="738" y="1664"/>
                </a:lnTo>
                <a:lnTo>
                  <a:pt x="753" y="1658"/>
                </a:lnTo>
                <a:lnTo>
                  <a:pt x="763" y="1653"/>
                </a:lnTo>
                <a:lnTo>
                  <a:pt x="769" y="1649"/>
                </a:lnTo>
                <a:lnTo>
                  <a:pt x="769" y="1812"/>
                </a:lnTo>
                <a:lnTo>
                  <a:pt x="757" y="1816"/>
                </a:lnTo>
                <a:lnTo>
                  <a:pt x="740" y="1820"/>
                </a:lnTo>
                <a:lnTo>
                  <a:pt x="718" y="1826"/>
                </a:lnTo>
                <a:lnTo>
                  <a:pt x="692" y="1830"/>
                </a:lnTo>
                <a:lnTo>
                  <a:pt x="663" y="1833"/>
                </a:lnTo>
                <a:lnTo>
                  <a:pt x="630" y="1834"/>
                </a:lnTo>
                <a:lnTo>
                  <a:pt x="592" y="1832"/>
                </a:lnTo>
                <a:lnTo>
                  <a:pt x="554" y="1826"/>
                </a:lnTo>
                <a:lnTo>
                  <a:pt x="518" y="1815"/>
                </a:lnTo>
                <a:lnTo>
                  <a:pt x="484" y="1801"/>
                </a:lnTo>
                <a:lnTo>
                  <a:pt x="451" y="1783"/>
                </a:lnTo>
                <a:lnTo>
                  <a:pt x="421" y="1762"/>
                </a:lnTo>
                <a:lnTo>
                  <a:pt x="394" y="1737"/>
                </a:lnTo>
                <a:lnTo>
                  <a:pt x="370" y="1710"/>
                </a:lnTo>
                <a:lnTo>
                  <a:pt x="350" y="1678"/>
                </a:lnTo>
                <a:lnTo>
                  <a:pt x="333" y="1643"/>
                </a:lnTo>
                <a:lnTo>
                  <a:pt x="322" y="1605"/>
                </a:lnTo>
                <a:lnTo>
                  <a:pt x="314" y="1564"/>
                </a:lnTo>
                <a:lnTo>
                  <a:pt x="311" y="1521"/>
                </a:lnTo>
                <a:lnTo>
                  <a:pt x="314" y="1477"/>
                </a:lnTo>
                <a:lnTo>
                  <a:pt x="323" y="1434"/>
                </a:lnTo>
                <a:lnTo>
                  <a:pt x="335" y="1395"/>
                </a:lnTo>
                <a:lnTo>
                  <a:pt x="353" y="1359"/>
                </a:lnTo>
                <a:lnTo>
                  <a:pt x="375" y="1326"/>
                </a:lnTo>
                <a:lnTo>
                  <a:pt x="402" y="1296"/>
                </a:lnTo>
                <a:lnTo>
                  <a:pt x="433" y="1271"/>
                </a:lnTo>
                <a:lnTo>
                  <a:pt x="466" y="1249"/>
                </a:lnTo>
                <a:lnTo>
                  <a:pt x="503" y="1231"/>
                </a:lnTo>
                <a:lnTo>
                  <a:pt x="544" y="1218"/>
                </a:lnTo>
                <a:lnTo>
                  <a:pt x="585" y="1211"/>
                </a:lnTo>
                <a:lnTo>
                  <a:pt x="630" y="1208"/>
                </a:lnTo>
                <a:close/>
                <a:moveTo>
                  <a:pt x="1556" y="1208"/>
                </a:moveTo>
                <a:lnTo>
                  <a:pt x="1583" y="1209"/>
                </a:lnTo>
                <a:lnTo>
                  <a:pt x="1610" y="1211"/>
                </a:lnTo>
                <a:lnTo>
                  <a:pt x="1634" y="1213"/>
                </a:lnTo>
                <a:lnTo>
                  <a:pt x="1656" y="1217"/>
                </a:lnTo>
                <a:lnTo>
                  <a:pt x="1675" y="1220"/>
                </a:lnTo>
                <a:lnTo>
                  <a:pt x="1689" y="1223"/>
                </a:lnTo>
                <a:lnTo>
                  <a:pt x="1699" y="1226"/>
                </a:lnTo>
                <a:lnTo>
                  <a:pt x="1704" y="1227"/>
                </a:lnTo>
                <a:lnTo>
                  <a:pt x="1704" y="1356"/>
                </a:lnTo>
                <a:lnTo>
                  <a:pt x="1700" y="1355"/>
                </a:lnTo>
                <a:lnTo>
                  <a:pt x="1691" y="1353"/>
                </a:lnTo>
                <a:lnTo>
                  <a:pt x="1679" y="1350"/>
                </a:lnTo>
                <a:lnTo>
                  <a:pt x="1663" y="1347"/>
                </a:lnTo>
                <a:lnTo>
                  <a:pt x="1645" y="1343"/>
                </a:lnTo>
                <a:lnTo>
                  <a:pt x="1625" y="1340"/>
                </a:lnTo>
                <a:lnTo>
                  <a:pt x="1605" y="1338"/>
                </a:lnTo>
                <a:lnTo>
                  <a:pt x="1586" y="1337"/>
                </a:lnTo>
                <a:lnTo>
                  <a:pt x="1557" y="1339"/>
                </a:lnTo>
                <a:lnTo>
                  <a:pt x="1534" y="1344"/>
                </a:lnTo>
                <a:lnTo>
                  <a:pt x="1515" y="1351"/>
                </a:lnTo>
                <a:lnTo>
                  <a:pt x="1502" y="1362"/>
                </a:lnTo>
                <a:lnTo>
                  <a:pt x="1494" y="1373"/>
                </a:lnTo>
                <a:lnTo>
                  <a:pt x="1491" y="1387"/>
                </a:lnTo>
                <a:lnTo>
                  <a:pt x="1494" y="1402"/>
                </a:lnTo>
                <a:lnTo>
                  <a:pt x="1501" y="1413"/>
                </a:lnTo>
                <a:lnTo>
                  <a:pt x="1511" y="1423"/>
                </a:lnTo>
                <a:lnTo>
                  <a:pt x="1523" y="1430"/>
                </a:lnTo>
                <a:lnTo>
                  <a:pt x="1536" y="1436"/>
                </a:lnTo>
                <a:lnTo>
                  <a:pt x="1549" y="1441"/>
                </a:lnTo>
                <a:lnTo>
                  <a:pt x="1560" y="1445"/>
                </a:lnTo>
                <a:lnTo>
                  <a:pt x="1602" y="1458"/>
                </a:lnTo>
                <a:lnTo>
                  <a:pt x="1634" y="1470"/>
                </a:lnTo>
                <a:lnTo>
                  <a:pt x="1661" y="1484"/>
                </a:lnTo>
                <a:lnTo>
                  <a:pt x="1684" y="1501"/>
                </a:lnTo>
                <a:lnTo>
                  <a:pt x="1703" y="1519"/>
                </a:lnTo>
                <a:lnTo>
                  <a:pt x="1719" y="1539"/>
                </a:lnTo>
                <a:lnTo>
                  <a:pt x="1731" y="1560"/>
                </a:lnTo>
                <a:lnTo>
                  <a:pt x="1740" y="1583"/>
                </a:lnTo>
                <a:lnTo>
                  <a:pt x="1745" y="1606"/>
                </a:lnTo>
                <a:lnTo>
                  <a:pt x="1746" y="1630"/>
                </a:lnTo>
                <a:lnTo>
                  <a:pt x="1744" y="1664"/>
                </a:lnTo>
                <a:lnTo>
                  <a:pt x="1737" y="1694"/>
                </a:lnTo>
                <a:lnTo>
                  <a:pt x="1727" y="1720"/>
                </a:lnTo>
                <a:lnTo>
                  <a:pt x="1712" y="1744"/>
                </a:lnTo>
                <a:lnTo>
                  <a:pt x="1696" y="1764"/>
                </a:lnTo>
                <a:lnTo>
                  <a:pt x="1676" y="1781"/>
                </a:lnTo>
                <a:lnTo>
                  <a:pt x="1654" y="1796"/>
                </a:lnTo>
                <a:lnTo>
                  <a:pt x="1630" y="1809"/>
                </a:lnTo>
                <a:lnTo>
                  <a:pt x="1604" y="1818"/>
                </a:lnTo>
                <a:lnTo>
                  <a:pt x="1578" y="1826"/>
                </a:lnTo>
                <a:lnTo>
                  <a:pt x="1551" y="1830"/>
                </a:lnTo>
                <a:lnTo>
                  <a:pt x="1524" y="1833"/>
                </a:lnTo>
                <a:lnTo>
                  <a:pt x="1498" y="1834"/>
                </a:lnTo>
                <a:lnTo>
                  <a:pt x="1467" y="1833"/>
                </a:lnTo>
                <a:lnTo>
                  <a:pt x="1439" y="1832"/>
                </a:lnTo>
                <a:lnTo>
                  <a:pt x="1412" y="1829"/>
                </a:lnTo>
                <a:lnTo>
                  <a:pt x="1388" y="1827"/>
                </a:lnTo>
                <a:lnTo>
                  <a:pt x="1368" y="1823"/>
                </a:lnTo>
                <a:lnTo>
                  <a:pt x="1351" y="1820"/>
                </a:lnTo>
                <a:lnTo>
                  <a:pt x="1339" y="1818"/>
                </a:lnTo>
                <a:lnTo>
                  <a:pt x="1334" y="1817"/>
                </a:lnTo>
                <a:lnTo>
                  <a:pt x="1334" y="1678"/>
                </a:lnTo>
                <a:lnTo>
                  <a:pt x="1343" y="1680"/>
                </a:lnTo>
                <a:lnTo>
                  <a:pt x="1356" y="1684"/>
                </a:lnTo>
                <a:lnTo>
                  <a:pt x="1375" y="1688"/>
                </a:lnTo>
                <a:lnTo>
                  <a:pt x="1397" y="1693"/>
                </a:lnTo>
                <a:lnTo>
                  <a:pt x="1422" y="1697"/>
                </a:lnTo>
                <a:lnTo>
                  <a:pt x="1448" y="1700"/>
                </a:lnTo>
                <a:lnTo>
                  <a:pt x="1477" y="1701"/>
                </a:lnTo>
                <a:lnTo>
                  <a:pt x="1507" y="1699"/>
                </a:lnTo>
                <a:lnTo>
                  <a:pt x="1531" y="1696"/>
                </a:lnTo>
                <a:lnTo>
                  <a:pt x="1552" y="1690"/>
                </a:lnTo>
                <a:lnTo>
                  <a:pt x="1568" y="1681"/>
                </a:lnTo>
                <a:lnTo>
                  <a:pt x="1578" y="1671"/>
                </a:lnTo>
                <a:lnTo>
                  <a:pt x="1585" y="1658"/>
                </a:lnTo>
                <a:lnTo>
                  <a:pt x="1587" y="1644"/>
                </a:lnTo>
                <a:lnTo>
                  <a:pt x="1585" y="1629"/>
                </a:lnTo>
                <a:lnTo>
                  <a:pt x="1578" y="1618"/>
                </a:lnTo>
                <a:lnTo>
                  <a:pt x="1567" y="1607"/>
                </a:lnTo>
                <a:lnTo>
                  <a:pt x="1553" y="1598"/>
                </a:lnTo>
                <a:lnTo>
                  <a:pt x="1537" y="1590"/>
                </a:lnTo>
                <a:lnTo>
                  <a:pt x="1520" y="1584"/>
                </a:lnTo>
                <a:lnTo>
                  <a:pt x="1509" y="1581"/>
                </a:lnTo>
                <a:lnTo>
                  <a:pt x="1498" y="1577"/>
                </a:lnTo>
                <a:lnTo>
                  <a:pt x="1487" y="1574"/>
                </a:lnTo>
                <a:lnTo>
                  <a:pt x="1462" y="1565"/>
                </a:lnTo>
                <a:lnTo>
                  <a:pt x="1439" y="1555"/>
                </a:lnTo>
                <a:lnTo>
                  <a:pt x="1416" y="1542"/>
                </a:lnTo>
                <a:lnTo>
                  <a:pt x="1396" y="1528"/>
                </a:lnTo>
                <a:lnTo>
                  <a:pt x="1378" y="1512"/>
                </a:lnTo>
                <a:lnTo>
                  <a:pt x="1363" y="1494"/>
                </a:lnTo>
                <a:lnTo>
                  <a:pt x="1350" y="1473"/>
                </a:lnTo>
                <a:lnTo>
                  <a:pt x="1341" y="1451"/>
                </a:lnTo>
                <a:lnTo>
                  <a:pt x="1334" y="1425"/>
                </a:lnTo>
                <a:lnTo>
                  <a:pt x="1332" y="1396"/>
                </a:lnTo>
                <a:lnTo>
                  <a:pt x="1334" y="1364"/>
                </a:lnTo>
                <a:lnTo>
                  <a:pt x="1342" y="1333"/>
                </a:lnTo>
                <a:lnTo>
                  <a:pt x="1354" y="1306"/>
                </a:lnTo>
                <a:lnTo>
                  <a:pt x="1371" y="1281"/>
                </a:lnTo>
                <a:lnTo>
                  <a:pt x="1392" y="1259"/>
                </a:lnTo>
                <a:lnTo>
                  <a:pt x="1417" y="1241"/>
                </a:lnTo>
                <a:lnTo>
                  <a:pt x="1446" y="1227"/>
                </a:lnTo>
                <a:lnTo>
                  <a:pt x="1479" y="1216"/>
                </a:lnTo>
                <a:lnTo>
                  <a:pt x="1515" y="1210"/>
                </a:lnTo>
                <a:lnTo>
                  <a:pt x="1556" y="1208"/>
                </a:lnTo>
                <a:close/>
                <a:moveTo>
                  <a:pt x="3381" y="493"/>
                </a:moveTo>
                <a:lnTo>
                  <a:pt x="3400" y="496"/>
                </a:lnTo>
                <a:lnTo>
                  <a:pt x="3418" y="503"/>
                </a:lnTo>
                <a:lnTo>
                  <a:pt x="3434" y="515"/>
                </a:lnTo>
                <a:lnTo>
                  <a:pt x="3446" y="531"/>
                </a:lnTo>
                <a:lnTo>
                  <a:pt x="3453" y="548"/>
                </a:lnTo>
                <a:lnTo>
                  <a:pt x="3456" y="569"/>
                </a:lnTo>
                <a:lnTo>
                  <a:pt x="3456" y="727"/>
                </a:lnTo>
                <a:lnTo>
                  <a:pt x="3453" y="748"/>
                </a:lnTo>
                <a:lnTo>
                  <a:pt x="3446" y="766"/>
                </a:lnTo>
                <a:lnTo>
                  <a:pt x="3434" y="780"/>
                </a:lnTo>
                <a:lnTo>
                  <a:pt x="3418" y="793"/>
                </a:lnTo>
                <a:lnTo>
                  <a:pt x="3400" y="801"/>
                </a:lnTo>
                <a:lnTo>
                  <a:pt x="3381" y="803"/>
                </a:lnTo>
                <a:lnTo>
                  <a:pt x="3361" y="801"/>
                </a:lnTo>
                <a:lnTo>
                  <a:pt x="3343" y="793"/>
                </a:lnTo>
                <a:lnTo>
                  <a:pt x="3328" y="780"/>
                </a:lnTo>
                <a:lnTo>
                  <a:pt x="3316" y="766"/>
                </a:lnTo>
                <a:lnTo>
                  <a:pt x="3308" y="748"/>
                </a:lnTo>
                <a:lnTo>
                  <a:pt x="3306" y="727"/>
                </a:lnTo>
                <a:lnTo>
                  <a:pt x="3306" y="569"/>
                </a:lnTo>
                <a:lnTo>
                  <a:pt x="3308" y="548"/>
                </a:lnTo>
                <a:lnTo>
                  <a:pt x="3316" y="531"/>
                </a:lnTo>
                <a:lnTo>
                  <a:pt x="3328" y="515"/>
                </a:lnTo>
                <a:lnTo>
                  <a:pt x="3343" y="503"/>
                </a:lnTo>
                <a:lnTo>
                  <a:pt x="3361" y="496"/>
                </a:lnTo>
                <a:lnTo>
                  <a:pt x="3381" y="493"/>
                </a:lnTo>
                <a:close/>
                <a:moveTo>
                  <a:pt x="1728" y="493"/>
                </a:moveTo>
                <a:lnTo>
                  <a:pt x="1748" y="496"/>
                </a:lnTo>
                <a:lnTo>
                  <a:pt x="1766" y="503"/>
                </a:lnTo>
                <a:lnTo>
                  <a:pt x="1781" y="515"/>
                </a:lnTo>
                <a:lnTo>
                  <a:pt x="1793" y="531"/>
                </a:lnTo>
                <a:lnTo>
                  <a:pt x="1800" y="548"/>
                </a:lnTo>
                <a:lnTo>
                  <a:pt x="1803" y="569"/>
                </a:lnTo>
                <a:lnTo>
                  <a:pt x="1803" y="727"/>
                </a:lnTo>
                <a:lnTo>
                  <a:pt x="1800" y="748"/>
                </a:lnTo>
                <a:lnTo>
                  <a:pt x="1793" y="766"/>
                </a:lnTo>
                <a:lnTo>
                  <a:pt x="1781" y="780"/>
                </a:lnTo>
                <a:lnTo>
                  <a:pt x="1766" y="793"/>
                </a:lnTo>
                <a:lnTo>
                  <a:pt x="1748" y="801"/>
                </a:lnTo>
                <a:lnTo>
                  <a:pt x="1728" y="803"/>
                </a:lnTo>
                <a:lnTo>
                  <a:pt x="1708" y="801"/>
                </a:lnTo>
                <a:lnTo>
                  <a:pt x="1690" y="793"/>
                </a:lnTo>
                <a:lnTo>
                  <a:pt x="1675" y="780"/>
                </a:lnTo>
                <a:lnTo>
                  <a:pt x="1663" y="766"/>
                </a:lnTo>
                <a:lnTo>
                  <a:pt x="1656" y="748"/>
                </a:lnTo>
                <a:lnTo>
                  <a:pt x="1653" y="727"/>
                </a:lnTo>
                <a:lnTo>
                  <a:pt x="1653" y="569"/>
                </a:lnTo>
                <a:lnTo>
                  <a:pt x="1656" y="548"/>
                </a:lnTo>
                <a:lnTo>
                  <a:pt x="1663" y="531"/>
                </a:lnTo>
                <a:lnTo>
                  <a:pt x="1675" y="515"/>
                </a:lnTo>
                <a:lnTo>
                  <a:pt x="1690" y="503"/>
                </a:lnTo>
                <a:lnTo>
                  <a:pt x="1708" y="496"/>
                </a:lnTo>
                <a:lnTo>
                  <a:pt x="1728" y="493"/>
                </a:lnTo>
                <a:close/>
                <a:moveTo>
                  <a:pt x="75" y="493"/>
                </a:moveTo>
                <a:lnTo>
                  <a:pt x="95" y="496"/>
                </a:lnTo>
                <a:lnTo>
                  <a:pt x="113" y="503"/>
                </a:lnTo>
                <a:lnTo>
                  <a:pt x="129" y="515"/>
                </a:lnTo>
                <a:lnTo>
                  <a:pt x="140" y="531"/>
                </a:lnTo>
                <a:lnTo>
                  <a:pt x="148" y="548"/>
                </a:lnTo>
                <a:lnTo>
                  <a:pt x="151" y="569"/>
                </a:lnTo>
                <a:lnTo>
                  <a:pt x="151" y="727"/>
                </a:lnTo>
                <a:lnTo>
                  <a:pt x="148" y="748"/>
                </a:lnTo>
                <a:lnTo>
                  <a:pt x="140" y="766"/>
                </a:lnTo>
                <a:lnTo>
                  <a:pt x="129" y="780"/>
                </a:lnTo>
                <a:lnTo>
                  <a:pt x="113" y="793"/>
                </a:lnTo>
                <a:lnTo>
                  <a:pt x="95" y="801"/>
                </a:lnTo>
                <a:lnTo>
                  <a:pt x="75" y="803"/>
                </a:lnTo>
                <a:lnTo>
                  <a:pt x="56" y="801"/>
                </a:lnTo>
                <a:lnTo>
                  <a:pt x="38" y="793"/>
                </a:lnTo>
                <a:lnTo>
                  <a:pt x="22" y="780"/>
                </a:lnTo>
                <a:lnTo>
                  <a:pt x="10" y="766"/>
                </a:lnTo>
                <a:lnTo>
                  <a:pt x="3" y="748"/>
                </a:lnTo>
                <a:lnTo>
                  <a:pt x="0" y="727"/>
                </a:lnTo>
                <a:lnTo>
                  <a:pt x="0" y="569"/>
                </a:lnTo>
                <a:lnTo>
                  <a:pt x="3" y="548"/>
                </a:lnTo>
                <a:lnTo>
                  <a:pt x="10" y="531"/>
                </a:lnTo>
                <a:lnTo>
                  <a:pt x="22" y="515"/>
                </a:lnTo>
                <a:lnTo>
                  <a:pt x="38" y="503"/>
                </a:lnTo>
                <a:lnTo>
                  <a:pt x="56" y="496"/>
                </a:lnTo>
                <a:lnTo>
                  <a:pt x="75" y="493"/>
                </a:lnTo>
                <a:close/>
                <a:moveTo>
                  <a:pt x="2968" y="285"/>
                </a:moveTo>
                <a:lnTo>
                  <a:pt x="2988" y="287"/>
                </a:lnTo>
                <a:lnTo>
                  <a:pt x="3006" y="295"/>
                </a:lnTo>
                <a:lnTo>
                  <a:pt x="3021" y="307"/>
                </a:lnTo>
                <a:lnTo>
                  <a:pt x="3033" y="322"/>
                </a:lnTo>
                <a:lnTo>
                  <a:pt x="3040" y="340"/>
                </a:lnTo>
                <a:lnTo>
                  <a:pt x="3043" y="360"/>
                </a:lnTo>
                <a:lnTo>
                  <a:pt x="3043" y="727"/>
                </a:lnTo>
                <a:lnTo>
                  <a:pt x="3040" y="748"/>
                </a:lnTo>
                <a:lnTo>
                  <a:pt x="3033" y="766"/>
                </a:lnTo>
                <a:lnTo>
                  <a:pt x="3021" y="780"/>
                </a:lnTo>
                <a:lnTo>
                  <a:pt x="3006" y="793"/>
                </a:lnTo>
                <a:lnTo>
                  <a:pt x="2988" y="801"/>
                </a:lnTo>
                <a:lnTo>
                  <a:pt x="2968" y="803"/>
                </a:lnTo>
                <a:lnTo>
                  <a:pt x="2947" y="801"/>
                </a:lnTo>
                <a:lnTo>
                  <a:pt x="2929" y="793"/>
                </a:lnTo>
                <a:lnTo>
                  <a:pt x="2915" y="780"/>
                </a:lnTo>
                <a:lnTo>
                  <a:pt x="2903" y="766"/>
                </a:lnTo>
                <a:lnTo>
                  <a:pt x="2895" y="748"/>
                </a:lnTo>
                <a:lnTo>
                  <a:pt x="2893" y="727"/>
                </a:lnTo>
                <a:lnTo>
                  <a:pt x="2893" y="360"/>
                </a:lnTo>
                <a:lnTo>
                  <a:pt x="2895" y="340"/>
                </a:lnTo>
                <a:lnTo>
                  <a:pt x="2903" y="322"/>
                </a:lnTo>
                <a:lnTo>
                  <a:pt x="2915" y="307"/>
                </a:lnTo>
                <a:lnTo>
                  <a:pt x="2929" y="295"/>
                </a:lnTo>
                <a:lnTo>
                  <a:pt x="2947" y="287"/>
                </a:lnTo>
                <a:lnTo>
                  <a:pt x="2968" y="285"/>
                </a:lnTo>
                <a:close/>
                <a:moveTo>
                  <a:pt x="2142" y="285"/>
                </a:moveTo>
                <a:lnTo>
                  <a:pt x="2162" y="287"/>
                </a:lnTo>
                <a:lnTo>
                  <a:pt x="2179" y="295"/>
                </a:lnTo>
                <a:lnTo>
                  <a:pt x="2194" y="307"/>
                </a:lnTo>
                <a:lnTo>
                  <a:pt x="2207" y="322"/>
                </a:lnTo>
                <a:lnTo>
                  <a:pt x="2214" y="340"/>
                </a:lnTo>
                <a:lnTo>
                  <a:pt x="2216" y="360"/>
                </a:lnTo>
                <a:lnTo>
                  <a:pt x="2216" y="727"/>
                </a:lnTo>
                <a:lnTo>
                  <a:pt x="2214" y="748"/>
                </a:lnTo>
                <a:lnTo>
                  <a:pt x="2207" y="766"/>
                </a:lnTo>
                <a:lnTo>
                  <a:pt x="2194" y="780"/>
                </a:lnTo>
                <a:lnTo>
                  <a:pt x="2179" y="793"/>
                </a:lnTo>
                <a:lnTo>
                  <a:pt x="2162" y="801"/>
                </a:lnTo>
                <a:lnTo>
                  <a:pt x="2142" y="803"/>
                </a:lnTo>
                <a:lnTo>
                  <a:pt x="2122" y="801"/>
                </a:lnTo>
                <a:lnTo>
                  <a:pt x="2104" y="793"/>
                </a:lnTo>
                <a:lnTo>
                  <a:pt x="2088" y="780"/>
                </a:lnTo>
                <a:lnTo>
                  <a:pt x="2077" y="766"/>
                </a:lnTo>
                <a:lnTo>
                  <a:pt x="2069" y="748"/>
                </a:lnTo>
                <a:lnTo>
                  <a:pt x="2066" y="727"/>
                </a:lnTo>
                <a:lnTo>
                  <a:pt x="2066" y="360"/>
                </a:lnTo>
                <a:lnTo>
                  <a:pt x="2069" y="340"/>
                </a:lnTo>
                <a:lnTo>
                  <a:pt x="2077" y="322"/>
                </a:lnTo>
                <a:lnTo>
                  <a:pt x="2088" y="307"/>
                </a:lnTo>
                <a:lnTo>
                  <a:pt x="2104" y="295"/>
                </a:lnTo>
                <a:lnTo>
                  <a:pt x="2122" y="287"/>
                </a:lnTo>
                <a:lnTo>
                  <a:pt x="2142" y="285"/>
                </a:lnTo>
                <a:close/>
                <a:moveTo>
                  <a:pt x="1315" y="285"/>
                </a:moveTo>
                <a:lnTo>
                  <a:pt x="1335" y="287"/>
                </a:lnTo>
                <a:lnTo>
                  <a:pt x="1353" y="295"/>
                </a:lnTo>
                <a:lnTo>
                  <a:pt x="1368" y="307"/>
                </a:lnTo>
                <a:lnTo>
                  <a:pt x="1380" y="322"/>
                </a:lnTo>
                <a:lnTo>
                  <a:pt x="1388" y="340"/>
                </a:lnTo>
                <a:lnTo>
                  <a:pt x="1390" y="360"/>
                </a:lnTo>
                <a:lnTo>
                  <a:pt x="1390" y="727"/>
                </a:lnTo>
                <a:lnTo>
                  <a:pt x="1388" y="748"/>
                </a:lnTo>
                <a:lnTo>
                  <a:pt x="1380" y="766"/>
                </a:lnTo>
                <a:lnTo>
                  <a:pt x="1368" y="780"/>
                </a:lnTo>
                <a:lnTo>
                  <a:pt x="1353" y="793"/>
                </a:lnTo>
                <a:lnTo>
                  <a:pt x="1335" y="801"/>
                </a:lnTo>
                <a:lnTo>
                  <a:pt x="1315" y="803"/>
                </a:lnTo>
                <a:lnTo>
                  <a:pt x="1295" y="801"/>
                </a:lnTo>
                <a:lnTo>
                  <a:pt x="1277" y="793"/>
                </a:lnTo>
                <a:lnTo>
                  <a:pt x="1262" y="780"/>
                </a:lnTo>
                <a:lnTo>
                  <a:pt x="1250" y="766"/>
                </a:lnTo>
                <a:lnTo>
                  <a:pt x="1242" y="748"/>
                </a:lnTo>
                <a:lnTo>
                  <a:pt x="1240" y="727"/>
                </a:lnTo>
                <a:lnTo>
                  <a:pt x="1240" y="360"/>
                </a:lnTo>
                <a:lnTo>
                  <a:pt x="1242" y="340"/>
                </a:lnTo>
                <a:lnTo>
                  <a:pt x="1250" y="322"/>
                </a:lnTo>
                <a:lnTo>
                  <a:pt x="1262" y="307"/>
                </a:lnTo>
                <a:lnTo>
                  <a:pt x="1277" y="295"/>
                </a:lnTo>
                <a:lnTo>
                  <a:pt x="1295" y="287"/>
                </a:lnTo>
                <a:lnTo>
                  <a:pt x="1315" y="285"/>
                </a:lnTo>
                <a:close/>
                <a:moveTo>
                  <a:pt x="488" y="285"/>
                </a:moveTo>
                <a:lnTo>
                  <a:pt x="508" y="287"/>
                </a:lnTo>
                <a:lnTo>
                  <a:pt x="527" y="295"/>
                </a:lnTo>
                <a:lnTo>
                  <a:pt x="541" y="307"/>
                </a:lnTo>
                <a:lnTo>
                  <a:pt x="553" y="322"/>
                </a:lnTo>
                <a:lnTo>
                  <a:pt x="561" y="340"/>
                </a:lnTo>
                <a:lnTo>
                  <a:pt x="563" y="360"/>
                </a:lnTo>
                <a:lnTo>
                  <a:pt x="563" y="727"/>
                </a:lnTo>
                <a:lnTo>
                  <a:pt x="561" y="748"/>
                </a:lnTo>
                <a:lnTo>
                  <a:pt x="553" y="766"/>
                </a:lnTo>
                <a:lnTo>
                  <a:pt x="541" y="780"/>
                </a:lnTo>
                <a:lnTo>
                  <a:pt x="527" y="793"/>
                </a:lnTo>
                <a:lnTo>
                  <a:pt x="508" y="801"/>
                </a:lnTo>
                <a:lnTo>
                  <a:pt x="488" y="803"/>
                </a:lnTo>
                <a:lnTo>
                  <a:pt x="468" y="801"/>
                </a:lnTo>
                <a:lnTo>
                  <a:pt x="450" y="793"/>
                </a:lnTo>
                <a:lnTo>
                  <a:pt x="436" y="780"/>
                </a:lnTo>
                <a:lnTo>
                  <a:pt x="423" y="766"/>
                </a:lnTo>
                <a:lnTo>
                  <a:pt x="416" y="748"/>
                </a:lnTo>
                <a:lnTo>
                  <a:pt x="414" y="727"/>
                </a:lnTo>
                <a:lnTo>
                  <a:pt x="414" y="360"/>
                </a:lnTo>
                <a:lnTo>
                  <a:pt x="416" y="340"/>
                </a:lnTo>
                <a:lnTo>
                  <a:pt x="423" y="322"/>
                </a:lnTo>
                <a:lnTo>
                  <a:pt x="436" y="307"/>
                </a:lnTo>
                <a:lnTo>
                  <a:pt x="450" y="295"/>
                </a:lnTo>
                <a:lnTo>
                  <a:pt x="468" y="287"/>
                </a:lnTo>
                <a:lnTo>
                  <a:pt x="488" y="285"/>
                </a:lnTo>
                <a:close/>
                <a:moveTo>
                  <a:pt x="2555" y="0"/>
                </a:moveTo>
                <a:lnTo>
                  <a:pt x="2575" y="2"/>
                </a:lnTo>
                <a:lnTo>
                  <a:pt x="2593" y="10"/>
                </a:lnTo>
                <a:lnTo>
                  <a:pt x="2608" y="22"/>
                </a:lnTo>
                <a:lnTo>
                  <a:pt x="2619" y="37"/>
                </a:lnTo>
                <a:lnTo>
                  <a:pt x="2628" y="55"/>
                </a:lnTo>
                <a:lnTo>
                  <a:pt x="2630" y="75"/>
                </a:lnTo>
                <a:lnTo>
                  <a:pt x="2630" y="879"/>
                </a:lnTo>
                <a:lnTo>
                  <a:pt x="2628" y="899"/>
                </a:lnTo>
                <a:lnTo>
                  <a:pt x="2619" y="917"/>
                </a:lnTo>
                <a:lnTo>
                  <a:pt x="2608" y="931"/>
                </a:lnTo>
                <a:lnTo>
                  <a:pt x="2593" y="944"/>
                </a:lnTo>
                <a:lnTo>
                  <a:pt x="2575" y="951"/>
                </a:lnTo>
                <a:lnTo>
                  <a:pt x="2555" y="953"/>
                </a:lnTo>
                <a:lnTo>
                  <a:pt x="2535" y="951"/>
                </a:lnTo>
                <a:lnTo>
                  <a:pt x="2517" y="944"/>
                </a:lnTo>
                <a:lnTo>
                  <a:pt x="2502" y="931"/>
                </a:lnTo>
                <a:lnTo>
                  <a:pt x="2490" y="917"/>
                </a:lnTo>
                <a:lnTo>
                  <a:pt x="2483" y="899"/>
                </a:lnTo>
                <a:lnTo>
                  <a:pt x="2480" y="879"/>
                </a:lnTo>
                <a:lnTo>
                  <a:pt x="2480" y="75"/>
                </a:lnTo>
                <a:lnTo>
                  <a:pt x="2483" y="55"/>
                </a:lnTo>
                <a:lnTo>
                  <a:pt x="2490" y="37"/>
                </a:lnTo>
                <a:lnTo>
                  <a:pt x="2502" y="22"/>
                </a:lnTo>
                <a:lnTo>
                  <a:pt x="2517" y="10"/>
                </a:lnTo>
                <a:lnTo>
                  <a:pt x="2535" y="2"/>
                </a:lnTo>
                <a:lnTo>
                  <a:pt x="2555" y="0"/>
                </a:lnTo>
                <a:close/>
                <a:moveTo>
                  <a:pt x="902" y="0"/>
                </a:moveTo>
                <a:lnTo>
                  <a:pt x="922" y="2"/>
                </a:lnTo>
                <a:lnTo>
                  <a:pt x="939" y="10"/>
                </a:lnTo>
                <a:lnTo>
                  <a:pt x="955" y="22"/>
                </a:lnTo>
                <a:lnTo>
                  <a:pt x="967" y="37"/>
                </a:lnTo>
                <a:lnTo>
                  <a:pt x="974" y="55"/>
                </a:lnTo>
                <a:lnTo>
                  <a:pt x="977" y="75"/>
                </a:lnTo>
                <a:lnTo>
                  <a:pt x="977" y="879"/>
                </a:lnTo>
                <a:lnTo>
                  <a:pt x="974" y="899"/>
                </a:lnTo>
                <a:lnTo>
                  <a:pt x="967" y="917"/>
                </a:lnTo>
                <a:lnTo>
                  <a:pt x="955" y="931"/>
                </a:lnTo>
                <a:lnTo>
                  <a:pt x="939" y="944"/>
                </a:lnTo>
                <a:lnTo>
                  <a:pt x="922" y="951"/>
                </a:lnTo>
                <a:lnTo>
                  <a:pt x="902" y="953"/>
                </a:lnTo>
                <a:lnTo>
                  <a:pt x="882" y="951"/>
                </a:lnTo>
                <a:lnTo>
                  <a:pt x="864" y="944"/>
                </a:lnTo>
                <a:lnTo>
                  <a:pt x="848" y="931"/>
                </a:lnTo>
                <a:lnTo>
                  <a:pt x="837" y="917"/>
                </a:lnTo>
                <a:lnTo>
                  <a:pt x="829" y="899"/>
                </a:lnTo>
                <a:lnTo>
                  <a:pt x="826" y="879"/>
                </a:lnTo>
                <a:lnTo>
                  <a:pt x="826" y="75"/>
                </a:lnTo>
                <a:lnTo>
                  <a:pt x="829" y="55"/>
                </a:lnTo>
                <a:lnTo>
                  <a:pt x="837" y="37"/>
                </a:lnTo>
                <a:lnTo>
                  <a:pt x="848" y="22"/>
                </a:lnTo>
                <a:lnTo>
                  <a:pt x="864" y="10"/>
                </a:lnTo>
                <a:lnTo>
                  <a:pt x="882" y="2"/>
                </a:lnTo>
                <a:lnTo>
                  <a:pt x="902" y="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spcFirstLastPara="1" wrap="square" lIns="121900" tIns="60933" rIns="121900" bIns="60933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30881926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Closing Slide" preserve="1">
  <p:cSld name="1_Closing Slide">
    <p:bg>
      <p:bgRef idx="1001">
        <a:schemeClr val="bg2"/>
      </p:bgRef>
    </p:bg>
    <p:spTree>
      <p:nvGrpSpPr>
        <p:cNvPr id="1" name="Shape 17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oogle Shape;2140;p236">
            <a:extLst>
              <a:ext uri="{FF2B5EF4-FFF2-40B4-BE49-F238E27FC236}">
                <a16:creationId xmlns:a16="http://schemas.microsoft.com/office/drawing/2014/main" id="{E7C7AC6D-EBF3-9A4E-8A75-4F37D7B1B49D}"/>
              </a:ext>
            </a:extLst>
          </p:cNvPr>
          <p:cNvPicPr preferRelativeResize="0"/>
          <p:nvPr userDrawn="1"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558971" y="3058752"/>
            <a:ext cx="5074063" cy="740499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37608105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Closing Slide" preserve="1">
  <p:cSld name="1_Closing Slide">
    <p:bg>
      <p:bgRef idx="1001">
        <a:schemeClr val="bg2"/>
      </p:bgRef>
    </p:bg>
    <p:spTree>
      <p:nvGrpSpPr>
        <p:cNvPr id="1" name="Shape 17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oogle Shape;2145;p237">
            <a:extLst>
              <a:ext uri="{FF2B5EF4-FFF2-40B4-BE49-F238E27FC236}">
                <a16:creationId xmlns:a16="http://schemas.microsoft.com/office/drawing/2014/main" id="{E58D2A2A-1EBF-8A4E-B8FF-1C3777BE7FE5}"/>
              </a:ext>
            </a:extLst>
          </p:cNvPr>
          <p:cNvPicPr preferRelativeResize="0"/>
          <p:nvPr userDrawn="1"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85335" y="2810535"/>
            <a:ext cx="1821333" cy="1236932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419245366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Closing Slide" preserve="1">
  <p:cSld name="1_Closing Slide">
    <p:bg>
      <p:bgRef idx="1001">
        <a:schemeClr val="bg2"/>
      </p:bgRef>
    </p:bg>
    <p:spTree>
      <p:nvGrpSpPr>
        <p:cNvPr id="1" name="Shape 172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84995929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8882533-A64D-440E-9224-3F3A545BC47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668" y="2070102"/>
            <a:ext cx="4131733" cy="1358900"/>
          </a:xfrm>
        </p:spPr>
        <p:txBody>
          <a:bodyPr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EBE1D6F3-D1FF-4C61-8EC0-77150412444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19667" y="3429000"/>
            <a:ext cx="4138083" cy="2692400"/>
          </a:xfr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62452826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itle Slide" preserve="1" userDrawn="1">
  <p:cSld name="Title Slide">
    <p:bg>
      <p:bgPr>
        <a:solidFill>
          <a:schemeClr val="lt2"/>
        </a:solidFill>
        <a:effectLst/>
      </p:bgPr>
    </p:bg>
    <p:spTree>
      <p:nvGrpSpPr>
        <p:cNvPr id="1" name="Shape 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BD151278-EFE9-BA45-A974-3B6CA72F990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19667" y="3856569"/>
            <a:ext cx="4480983" cy="412751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2000" b="0" i="0">
                <a:solidFill>
                  <a:schemeClr val="accent1"/>
                </a:solidFill>
                <a:latin typeface="+mn-lt"/>
                <a:cs typeface="CiscoSansTT ExtraLight" panose="020B0303020201020303" pitchFamily="34" charset="0"/>
              </a:defRPr>
            </a:lvl1pPr>
            <a:lvl2pPr>
              <a:defRPr sz="2133" b="0" i="0">
                <a:solidFill>
                  <a:schemeClr val="tx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defRPr>
            </a:lvl2pPr>
            <a:lvl3pPr>
              <a:defRPr sz="2133" b="0" i="0">
                <a:solidFill>
                  <a:schemeClr val="tx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defRPr>
            </a:lvl3pPr>
            <a:lvl4pPr>
              <a:defRPr sz="2133" b="0" i="0">
                <a:solidFill>
                  <a:schemeClr val="tx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defRPr>
            </a:lvl4pPr>
            <a:lvl5pPr>
              <a:defRPr sz="2133" b="0" i="0">
                <a:solidFill>
                  <a:schemeClr val="tx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defRPr>
            </a:lvl5pPr>
          </a:lstStyle>
          <a:p>
            <a:pPr lvl="0"/>
            <a:r>
              <a:rPr lang="en-GB"/>
              <a:t>Lorem ipsum</a:t>
            </a:r>
            <a:endParaRPr lang="en-US"/>
          </a:p>
        </p:txBody>
      </p:sp>
      <p:pic>
        <p:nvPicPr>
          <p:cNvPr id="2" name="Picture 1" descr="A close up of a sign&#10;&#10;Description automatically generated">
            <a:extLst>
              <a:ext uri="{FF2B5EF4-FFF2-40B4-BE49-F238E27FC236}">
                <a16:creationId xmlns:a16="http://schemas.microsoft.com/office/drawing/2014/main" id="{C7C290BF-922A-8D40-A281-C883E1525E9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129963" y="2310512"/>
            <a:ext cx="7680768" cy="5504549"/>
          </a:xfrm>
          <a:prstGeom prst="rect">
            <a:avLst/>
          </a:prstGeom>
        </p:spPr>
      </p:pic>
      <p:sp>
        <p:nvSpPr>
          <p:cNvPr id="3" name="Google Shape;735;p181">
            <a:extLst>
              <a:ext uri="{FF2B5EF4-FFF2-40B4-BE49-F238E27FC236}">
                <a16:creationId xmlns:a16="http://schemas.microsoft.com/office/drawing/2014/main" id="{8A995F9F-CBE8-6D4F-A6C6-07F1D1840F96}"/>
              </a:ext>
            </a:extLst>
          </p:cNvPr>
          <p:cNvSpPr/>
          <p:nvPr userDrawn="1"/>
        </p:nvSpPr>
        <p:spPr>
          <a:xfrm>
            <a:off x="713230" y="661026"/>
            <a:ext cx="826145" cy="438900"/>
          </a:xfrm>
          <a:custGeom>
            <a:avLst/>
            <a:gdLst/>
            <a:ahLst/>
            <a:cxnLst/>
            <a:rect l="l" t="t" r="r" b="b"/>
            <a:pathLst>
              <a:path w="3456" h="1834" extrusionOk="0">
                <a:moveTo>
                  <a:pt x="2828" y="1362"/>
                </a:moveTo>
                <a:lnTo>
                  <a:pt x="2798" y="1364"/>
                </a:lnTo>
                <a:lnTo>
                  <a:pt x="2771" y="1371"/>
                </a:lnTo>
                <a:lnTo>
                  <a:pt x="2747" y="1384"/>
                </a:lnTo>
                <a:lnTo>
                  <a:pt x="2725" y="1400"/>
                </a:lnTo>
                <a:lnTo>
                  <a:pt x="2706" y="1419"/>
                </a:lnTo>
                <a:lnTo>
                  <a:pt x="2691" y="1441"/>
                </a:lnTo>
                <a:lnTo>
                  <a:pt x="2680" y="1465"/>
                </a:lnTo>
                <a:lnTo>
                  <a:pt x="2674" y="1492"/>
                </a:lnTo>
                <a:lnTo>
                  <a:pt x="2671" y="1521"/>
                </a:lnTo>
                <a:lnTo>
                  <a:pt x="2674" y="1549"/>
                </a:lnTo>
                <a:lnTo>
                  <a:pt x="2680" y="1577"/>
                </a:lnTo>
                <a:lnTo>
                  <a:pt x="2691" y="1601"/>
                </a:lnTo>
                <a:lnTo>
                  <a:pt x="2706" y="1623"/>
                </a:lnTo>
                <a:lnTo>
                  <a:pt x="2725" y="1642"/>
                </a:lnTo>
                <a:lnTo>
                  <a:pt x="2747" y="1658"/>
                </a:lnTo>
                <a:lnTo>
                  <a:pt x="2771" y="1669"/>
                </a:lnTo>
                <a:lnTo>
                  <a:pt x="2798" y="1677"/>
                </a:lnTo>
                <a:lnTo>
                  <a:pt x="2828" y="1680"/>
                </a:lnTo>
                <a:lnTo>
                  <a:pt x="2857" y="1677"/>
                </a:lnTo>
                <a:lnTo>
                  <a:pt x="2883" y="1669"/>
                </a:lnTo>
                <a:lnTo>
                  <a:pt x="2908" y="1658"/>
                </a:lnTo>
                <a:lnTo>
                  <a:pt x="2930" y="1642"/>
                </a:lnTo>
                <a:lnTo>
                  <a:pt x="2948" y="1623"/>
                </a:lnTo>
                <a:lnTo>
                  <a:pt x="2964" y="1601"/>
                </a:lnTo>
                <a:lnTo>
                  <a:pt x="2975" y="1577"/>
                </a:lnTo>
                <a:lnTo>
                  <a:pt x="2982" y="1549"/>
                </a:lnTo>
                <a:lnTo>
                  <a:pt x="2985" y="1521"/>
                </a:lnTo>
                <a:lnTo>
                  <a:pt x="2982" y="1492"/>
                </a:lnTo>
                <a:lnTo>
                  <a:pt x="2975" y="1465"/>
                </a:lnTo>
                <a:lnTo>
                  <a:pt x="2964" y="1441"/>
                </a:lnTo>
                <a:lnTo>
                  <a:pt x="2948" y="1419"/>
                </a:lnTo>
                <a:lnTo>
                  <a:pt x="2930" y="1400"/>
                </a:lnTo>
                <a:lnTo>
                  <a:pt x="2908" y="1384"/>
                </a:lnTo>
                <a:lnTo>
                  <a:pt x="2883" y="1371"/>
                </a:lnTo>
                <a:lnTo>
                  <a:pt x="2857" y="1364"/>
                </a:lnTo>
                <a:lnTo>
                  <a:pt x="2828" y="1362"/>
                </a:lnTo>
                <a:close/>
                <a:moveTo>
                  <a:pt x="977" y="1218"/>
                </a:moveTo>
                <a:lnTo>
                  <a:pt x="1129" y="1218"/>
                </a:lnTo>
                <a:lnTo>
                  <a:pt x="1129" y="1823"/>
                </a:lnTo>
                <a:lnTo>
                  <a:pt x="977" y="1823"/>
                </a:lnTo>
                <a:lnTo>
                  <a:pt x="977" y="1218"/>
                </a:lnTo>
                <a:close/>
                <a:moveTo>
                  <a:pt x="2828" y="1208"/>
                </a:moveTo>
                <a:lnTo>
                  <a:pt x="2873" y="1211"/>
                </a:lnTo>
                <a:lnTo>
                  <a:pt x="2916" y="1219"/>
                </a:lnTo>
                <a:lnTo>
                  <a:pt x="2955" y="1232"/>
                </a:lnTo>
                <a:lnTo>
                  <a:pt x="2992" y="1251"/>
                </a:lnTo>
                <a:lnTo>
                  <a:pt x="3026" y="1273"/>
                </a:lnTo>
                <a:lnTo>
                  <a:pt x="3056" y="1299"/>
                </a:lnTo>
                <a:lnTo>
                  <a:pt x="3082" y="1330"/>
                </a:lnTo>
                <a:lnTo>
                  <a:pt x="3104" y="1363"/>
                </a:lnTo>
                <a:lnTo>
                  <a:pt x="3121" y="1398"/>
                </a:lnTo>
                <a:lnTo>
                  <a:pt x="3134" y="1437"/>
                </a:lnTo>
                <a:lnTo>
                  <a:pt x="3142" y="1479"/>
                </a:lnTo>
                <a:lnTo>
                  <a:pt x="3145" y="1521"/>
                </a:lnTo>
                <a:lnTo>
                  <a:pt x="3142" y="1563"/>
                </a:lnTo>
                <a:lnTo>
                  <a:pt x="3134" y="1604"/>
                </a:lnTo>
                <a:lnTo>
                  <a:pt x="3121" y="1642"/>
                </a:lnTo>
                <a:lnTo>
                  <a:pt x="3104" y="1679"/>
                </a:lnTo>
                <a:lnTo>
                  <a:pt x="3082" y="1712"/>
                </a:lnTo>
                <a:lnTo>
                  <a:pt x="3056" y="1742"/>
                </a:lnTo>
                <a:lnTo>
                  <a:pt x="3026" y="1769"/>
                </a:lnTo>
                <a:lnTo>
                  <a:pt x="2992" y="1791"/>
                </a:lnTo>
                <a:lnTo>
                  <a:pt x="2955" y="1809"/>
                </a:lnTo>
                <a:lnTo>
                  <a:pt x="2916" y="1822"/>
                </a:lnTo>
                <a:lnTo>
                  <a:pt x="2873" y="1831"/>
                </a:lnTo>
                <a:lnTo>
                  <a:pt x="2828" y="1834"/>
                </a:lnTo>
                <a:lnTo>
                  <a:pt x="2783" y="1831"/>
                </a:lnTo>
                <a:lnTo>
                  <a:pt x="2740" y="1822"/>
                </a:lnTo>
                <a:lnTo>
                  <a:pt x="2700" y="1809"/>
                </a:lnTo>
                <a:lnTo>
                  <a:pt x="2663" y="1791"/>
                </a:lnTo>
                <a:lnTo>
                  <a:pt x="2630" y="1769"/>
                </a:lnTo>
                <a:lnTo>
                  <a:pt x="2599" y="1742"/>
                </a:lnTo>
                <a:lnTo>
                  <a:pt x="2573" y="1712"/>
                </a:lnTo>
                <a:lnTo>
                  <a:pt x="2551" y="1679"/>
                </a:lnTo>
                <a:lnTo>
                  <a:pt x="2534" y="1642"/>
                </a:lnTo>
                <a:lnTo>
                  <a:pt x="2521" y="1604"/>
                </a:lnTo>
                <a:lnTo>
                  <a:pt x="2513" y="1563"/>
                </a:lnTo>
                <a:lnTo>
                  <a:pt x="2510" y="1521"/>
                </a:lnTo>
                <a:lnTo>
                  <a:pt x="2513" y="1479"/>
                </a:lnTo>
                <a:lnTo>
                  <a:pt x="2521" y="1437"/>
                </a:lnTo>
                <a:lnTo>
                  <a:pt x="2534" y="1398"/>
                </a:lnTo>
                <a:lnTo>
                  <a:pt x="2551" y="1363"/>
                </a:lnTo>
                <a:lnTo>
                  <a:pt x="2573" y="1330"/>
                </a:lnTo>
                <a:lnTo>
                  <a:pt x="2599" y="1299"/>
                </a:lnTo>
                <a:lnTo>
                  <a:pt x="2630" y="1273"/>
                </a:lnTo>
                <a:lnTo>
                  <a:pt x="2663" y="1251"/>
                </a:lnTo>
                <a:lnTo>
                  <a:pt x="2700" y="1232"/>
                </a:lnTo>
                <a:lnTo>
                  <a:pt x="2740" y="1219"/>
                </a:lnTo>
                <a:lnTo>
                  <a:pt x="2783" y="1211"/>
                </a:lnTo>
                <a:lnTo>
                  <a:pt x="2828" y="1208"/>
                </a:lnTo>
                <a:close/>
                <a:moveTo>
                  <a:pt x="2213" y="1208"/>
                </a:moveTo>
                <a:lnTo>
                  <a:pt x="2242" y="1209"/>
                </a:lnTo>
                <a:lnTo>
                  <a:pt x="2268" y="1211"/>
                </a:lnTo>
                <a:lnTo>
                  <a:pt x="2292" y="1215"/>
                </a:lnTo>
                <a:lnTo>
                  <a:pt x="2312" y="1219"/>
                </a:lnTo>
                <a:lnTo>
                  <a:pt x="2329" y="1223"/>
                </a:lnTo>
                <a:lnTo>
                  <a:pt x="2343" y="1227"/>
                </a:lnTo>
                <a:lnTo>
                  <a:pt x="2351" y="1230"/>
                </a:lnTo>
                <a:lnTo>
                  <a:pt x="2351" y="1392"/>
                </a:lnTo>
                <a:lnTo>
                  <a:pt x="2346" y="1389"/>
                </a:lnTo>
                <a:lnTo>
                  <a:pt x="2335" y="1384"/>
                </a:lnTo>
                <a:lnTo>
                  <a:pt x="2321" y="1377"/>
                </a:lnTo>
                <a:lnTo>
                  <a:pt x="2302" y="1371"/>
                </a:lnTo>
                <a:lnTo>
                  <a:pt x="2279" y="1365"/>
                </a:lnTo>
                <a:lnTo>
                  <a:pt x="2253" y="1360"/>
                </a:lnTo>
                <a:lnTo>
                  <a:pt x="2223" y="1359"/>
                </a:lnTo>
                <a:lnTo>
                  <a:pt x="2192" y="1362"/>
                </a:lnTo>
                <a:lnTo>
                  <a:pt x="2163" y="1369"/>
                </a:lnTo>
                <a:lnTo>
                  <a:pt x="2136" y="1381"/>
                </a:lnTo>
                <a:lnTo>
                  <a:pt x="2113" y="1396"/>
                </a:lnTo>
                <a:lnTo>
                  <a:pt x="2095" y="1415"/>
                </a:lnTo>
                <a:lnTo>
                  <a:pt x="2079" y="1437"/>
                </a:lnTo>
                <a:lnTo>
                  <a:pt x="2067" y="1463"/>
                </a:lnTo>
                <a:lnTo>
                  <a:pt x="2060" y="1490"/>
                </a:lnTo>
                <a:lnTo>
                  <a:pt x="2058" y="1521"/>
                </a:lnTo>
                <a:lnTo>
                  <a:pt x="2060" y="1550"/>
                </a:lnTo>
                <a:lnTo>
                  <a:pt x="2066" y="1578"/>
                </a:lnTo>
                <a:lnTo>
                  <a:pt x="2078" y="1602"/>
                </a:lnTo>
                <a:lnTo>
                  <a:pt x="2093" y="1625"/>
                </a:lnTo>
                <a:lnTo>
                  <a:pt x="2112" y="1644"/>
                </a:lnTo>
                <a:lnTo>
                  <a:pt x="2135" y="1660"/>
                </a:lnTo>
                <a:lnTo>
                  <a:pt x="2162" y="1672"/>
                </a:lnTo>
                <a:lnTo>
                  <a:pt x="2191" y="1679"/>
                </a:lnTo>
                <a:lnTo>
                  <a:pt x="2223" y="1682"/>
                </a:lnTo>
                <a:lnTo>
                  <a:pt x="2253" y="1680"/>
                </a:lnTo>
                <a:lnTo>
                  <a:pt x="2279" y="1676"/>
                </a:lnTo>
                <a:lnTo>
                  <a:pt x="2301" y="1671"/>
                </a:lnTo>
                <a:lnTo>
                  <a:pt x="2321" y="1664"/>
                </a:lnTo>
                <a:lnTo>
                  <a:pt x="2335" y="1658"/>
                </a:lnTo>
                <a:lnTo>
                  <a:pt x="2346" y="1653"/>
                </a:lnTo>
                <a:lnTo>
                  <a:pt x="2351" y="1649"/>
                </a:lnTo>
                <a:lnTo>
                  <a:pt x="2351" y="1812"/>
                </a:lnTo>
                <a:lnTo>
                  <a:pt x="2339" y="1816"/>
                </a:lnTo>
                <a:lnTo>
                  <a:pt x="2322" y="1820"/>
                </a:lnTo>
                <a:lnTo>
                  <a:pt x="2300" y="1826"/>
                </a:lnTo>
                <a:lnTo>
                  <a:pt x="2275" y="1830"/>
                </a:lnTo>
                <a:lnTo>
                  <a:pt x="2245" y="1833"/>
                </a:lnTo>
                <a:lnTo>
                  <a:pt x="2213" y="1834"/>
                </a:lnTo>
                <a:lnTo>
                  <a:pt x="2174" y="1832"/>
                </a:lnTo>
                <a:lnTo>
                  <a:pt x="2136" y="1826"/>
                </a:lnTo>
                <a:lnTo>
                  <a:pt x="2100" y="1815"/>
                </a:lnTo>
                <a:lnTo>
                  <a:pt x="2065" y="1801"/>
                </a:lnTo>
                <a:lnTo>
                  <a:pt x="2033" y="1783"/>
                </a:lnTo>
                <a:lnTo>
                  <a:pt x="2002" y="1762"/>
                </a:lnTo>
                <a:lnTo>
                  <a:pt x="1975" y="1737"/>
                </a:lnTo>
                <a:lnTo>
                  <a:pt x="1952" y="1710"/>
                </a:lnTo>
                <a:lnTo>
                  <a:pt x="1931" y="1678"/>
                </a:lnTo>
                <a:lnTo>
                  <a:pt x="1915" y="1643"/>
                </a:lnTo>
                <a:lnTo>
                  <a:pt x="1903" y="1605"/>
                </a:lnTo>
                <a:lnTo>
                  <a:pt x="1896" y="1564"/>
                </a:lnTo>
                <a:lnTo>
                  <a:pt x="1892" y="1521"/>
                </a:lnTo>
                <a:lnTo>
                  <a:pt x="1896" y="1477"/>
                </a:lnTo>
                <a:lnTo>
                  <a:pt x="1904" y="1434"/>
                </a:lnTo>
                <a:lnTo>
                  <a:pt x="1917" y="1395"/>
                </a:lnTo>
                <a:lnTo>
                  <a:pt x="1934" y="1359"/>
                </a:lnTo>
                <a:lnTo>
                  <a:pt x="1957" y="1326"/>
                </a:lnTo>
                <a:lnTo>
                  <a:pt x="1984" y="1296"/>
                </a:lnTo>
                <a:lnTo>
                  <a:pt x="2014" y="1271"/>
                </a:lnTo>
                <a:lnTo>
                  <a:pt x="2047" y="1249"/>
                </a:lnTo>
                <a:lnTo>
                  <a:pt x="2085" y="1231"/>
                </a:lnTo>
                <a:lnTo>
                  <a:pt x="2125" y="1218"/>
                </a:lnTo>
                <a:lnTo>
                  <a:pt x="2168" y="1211"/>
                </a:lnTo>
                <a:lnTo>
                  <a:pt x="2213" y="1208"/>
                </a:lnTo>
                <a:close/>
                <a:moveTo>
                  <a:pt x="630" y="1208"/>
                </a:moveTo>
                <a:lnTo>
                  <a:pt x="660" y="1209"/>
                </a:lnTo>
                <a:lnTo>
                  <a:pt x="687" y="1211"/>
                </a:lnTo>
                <a:lnTo>
                  <a:pt x="711" y="1215"/>
                </a:lnTo>
                <a:lnTo>
                  <a:pt x="731" y="1219"/>
                </a:lnTo>
                <a:lnTo>
                  <a:pt x="748" y="1223"/>
                </a:lnTo>
                <a:lnTo>
                  <a:pt x="760" y="1227"/>
                </a:lnTo>
                <a:lnTo>
                  <a:pt x="769" y="1230"/>
                </a:lnTo>
                <a:lnTo>
                  <a:pt x="769" y="1392"/>
                </a:lnTo>
                <a:lnTo>
                  <a:pt x="763" y="1389"/>
                </a:lnTo>
                <a:lnTo>
                  <a:pt x="754" y="1384"/>
                </a:lnTo>
                <a:lnTo>
                  <a:pt x="739" y="1377"/>
                </a:lnTo>
                <a:lnTo>
                  <a:pt x="721" y="1371"/>
                </a:lnTo>
                <a:lnTo>
                  <a:pt x="697" y="1365"/>
                </a:lnTo>
                <a:lnTo>
                  <a:pt x="671" y="1360"/>
                </a:lnTo>
                <a:lnTo>
                  <a:pt x="642" y="1359"/>
                </a:lnTo>
                <a:lnTo>
                  <a:pt x="611" y="1362"/>
                </a:lnTo>
                <a:lnTo>
                  <a:pt x="581" y="1369"/>
                </a:lnTo>
                <a:lnTo>
                  <a:pt x="555" y="1381"/>
                </a:lnTo>
                <a:lnTo>
                  <a:pt x="532" y="1396"/>
                </a:lnTo>
                <a:lnTo>
                  <a:pt x="513" y="1415"/>
                </a:lnTo>
                <a:lnTo>
                  <a:pt x="497" y="1437"/>
                </a:lnTo>
                <a:lnTo>
                  <a:pt x="485" y="1463"/>
                </a:lnTo>
                <a:lnTo>
                  <a:pt x="479" y="1490"/>
                </a:lnTo>
                <a:lnTo>
                  <a:pt x="475" y="1521"/>
                </a:lnTo>
                <a:lnTo>
                  <a:pt x="479" y="1550"/>
                </a:lnTo>
                <a:lnTo>
                  <a:pt x="485" y="1578"/>
                </a:lnTo>
                <a:lnTo>
                  <a:pt x="496" y="1602"/>
                </a:lnTo>
                <a:lnTo>
                  <a:pt x="512" y="1625"/>
                </a:lnTo>
                <a:lnTo>
                  <a:pt x="531" y="1644"/>
                </a:lnTo>
                <a:lnTo>
                  <a:pt x="554" y="1660"/>
                </a:lnTo>
                <a:lnTo>
                  <a:pt x="580" y="1672"/>
                </a:lnTo>
                <a:lnTo>
                  <a:pt x="610" y="1679"/>
                </a:lnTo>
                <a:lnTo>
                  <a:pt x="642" y="1682"/>
                </a:lnTo>
                <a:lnTo>
                  <a:pt x="671" y="1680"/>
                </a:lnTo>
                <a:lnTo>
                  <a:pt x="697" y="1676"/>
                </a:lnTo>
                <a:lnTo>
                  <a:pt x="719" y="1671"/>
                </a:lnTo>
                <a:lnTo>
                  <a:pt x="738" y="1664"/>
                </a:lnTo>
                <a:lnTo>
                  <a:pt x="753" y="1658"/>
                </a:lnTo>
                <a:lnTo>
                  <a:pt x="763" y="1653"/>
                </a:lnTo>
                <a:lnTo>
                  <a:pt x="769" y="1649"/>
                </a:lnTo>
                <a:lnTo>
                  <a:pt x="769" y="1812"/>
                </a:lnTo>
                <a:lnTo>
                  <a:pt x="757" y="1816"/>
                </a:lnTo>
                <a:lnTo>
                  <a:pt x="740" y="1820"/>
                </a:lnTo>
                <a:lnTo>
                  <a:pt x="718" y="1826"/>
                </a:lnTo>
                <a:lnTo>
                  <a:pt x="692" y="1830"/>
                </a:lnTo>
                <a:lnTo>
                  <a:pt x="663" y="1833"/>
                </a:lnTo>
                <a:lnTo>
                  <a:pt x="630" y="1834"/>
                </a:lnTo>
                <a:lnTo>
                  <a:pt x="592" y="1832"/>
                </a:lnTo>
                <a:lnTo>
                  <a:pt x="554" y="1826"/>
                </a:lnTo>
                <a:lnTo>
                  <a:pt x="518" y="1815"/>
                </a:lnTo>
                <a:lnTo>
                  <a:pt x="484" y="1801"/>
                </a:lnTo>
                <a:lnTo>
                  <a:pt x="451" y="1783"/>
                </a:lnTo>
                <a:lnTo>
                  <a:pt x="421" y="1762"/>
                </a:lnTo>
                <a:lnTo>
                  <a:pt x="394" y="1737"/>
                </a:lnTo>
                <a:lnTo>
                  <a:pt x="370" y="1710"/>
                </a:lnTo>
                <a:lnTo>
                  <a:pt x="350" y="1678"/>
                </a:lnTo>
                <a:lnTo>
                  <a:pt x="333" y="1643"/>
                </a:lnTo>
                <a:lnTo>
                  <a:pt x="322" y="1605"/>
                </a:lnTo>
                <a:lnTo>
                  <a:pt x="314" y="1564"/>
                </a:lnTo>
                <a:lnTo>
                  <a:pt x="311" y="1521"/>
                </a:lnTo>
                <a:lnTo>
                  <a:pt x="314" y="1477"/>
                </a:lnTo>
                <a:lnTo>
                  <a:pt x="323" y="1434"/>
                </a:lnTo>
                <a:lnTo>
                  <a:pt x="335" y="1395"/>
                </a:lnTo>
                <a:lnTo>
                  <a:pt x="353" y="1359"/>
                </a:lnTo>
                <a:lnTo>
                  <a:pt x="375" y="1326"/>
                </a:lnTo>
                <a:lnTo>
                  <a:pt x="402" y="1296"/>
                </a:lnTo>
                <a:lnTo>
                  <a:pt x="433" y="1271"/>
                </a:lnTo>
                <a:lnTo>
                  <a:pt x="466" y="1249"/>
                </a:lnTo>
                <a:lnTo>
                  <a:pt x="503" y="1231"/>
                </a:lnTo>
                <a:lnTo>
                  <a:pt x="544" y="1218"/>
                </a:lnTo>
                <a:lnTo>
                  <a:pt x="585" y="1211"/>
                </a:lnTo>
                <a:lnTo>
                  <a:pt x="630" y="1208"/>
                </a:lnTo>
                <a:close/>
                <a:moveTo>
                  <a:pt x="1556" y="1208"/>
                </a:moveTo>
                <a:lnTo>
                  <a:pt x="1583" y="1209"/>
                </a:lnTo>
                <a:lnTo>
                  <a:pt x="1610" y="1211"/>
                </a:lnTo>
                <a:lnTo>
                  <a:pt x="1634" y="1213"/>
                </a:lnTo>
                <a:lnTo>
                  <a:pt x="1656" y="1217"/>
                </a:lnTo>
                <a:lnTo>
                  <a:pt x="1675" y="1220"/>
                </a:lnTo>
                <a:lnTo>
                  <a:pt x="1689" y="1223"/>
                </a:lnTo>
                <a:lnTo>
                  <a:pt x="1699" y="1226"/>
                </a:lnTo>
                <a:lnTo>
                  <a:pt x="1704" y="1227"/>
                </a:lnTo>
                <a:lnTo>
                  <a:pt x="1704" y="1356"/>
                </a:lnTo>
                <a:lnTo>
                  <a:pt x="1700" y="1355"/>
                </a:lnTo>
                <a:lnTo>
                  <a:pt x="1691" y="1353"/>
                </a:lnTo>
                <a:lnTo>
                  <a:pt x="1679" y="1350"/>
                </a:lnTo>
                <a:lnTo>
                  <a:pt x="1663" y="1347"/>
                </a:lnTo>
                <a:lnTo>
                  <a:pt x="1645" y="1343"/>
                </a:lnTo>
                <a:lnTo>
                  <a:pt x="1625" y="1340"/>
                </a:lnTo>
                <a:lnTo>
                  <a:pt x="1605" y="1338"/>
                </a:lnTo>
                <a:lnTo>
                  <a:pt x="1586" y="1337"/>
                </a:lnTo>
                <a:lnTo>
                  <a:pt x="1557" y="1339"/>
                </a:lnTo>
                <a:lnTo>
                  <a:pt x="1534" y="1344"/>
                </a:lnTo>
                <a:lnTo>
                  <a:pt x="1515" y="1351"/>
                </a:lnTo>
                <a:lnTo>
                  <a:pt x="1502" y="1362"/>
                </a:lnTo>
                <a:lnTo>
                  <a:pt x="1494" y="1373"/>
                </a:lnTo>
                <a:lnTo>
                  <a:pt x="1491" y="1387"/>
                </a:lnTo>
                <a:lnTo>
                  <a:pt x="1494" y="1402"/>
                </a:lnTo>
                <a:lnTo>
                  <a:pt x="1501" y="1413"/>
                </a:lnTo>
                <a:lnTo>
                  <a:pt x="1511" y="1423"/>
                </a:lnTo>
                <a:lnTo>
                  <a:pt x="1523" y="1430"/>
                </a:lnTo>
                <a:lnTo>
                  <a:pt x="1536" y="1436"/>
                </a:lnTo>
                <a:lnTo>
                  <a:pt x="1549" y="1441"/>
                </a:lnTo>
                <a:lnTo>
                  <a:pt x="1560" y="1445"/>
                </a:lnTo>
                <a:lnTo>
                  <a:pt x="1602" y="1458"/>
                </a:lnTo>
                <a:lnTo>
                  <a:pt x="1634" y="1470"/>
                </a:lnTo>
                <a:lnTo>
                  <a:pt x="1661" y="1484"/>
                </a:lnTo>
                <a:lnTo>
                  <a:pt x="1684" y="1501"/>
                </a:lnTo>
                <a:lnTo>
                  <a:pt x="1703" y="1519"/>
                </a:lnTo>
                <a:lnTo>
                  <a:pt x="1719" y="1539"/>
                </a:lnTo>
                <a:lnTo>
                  <a:pt x="1731" y="1560"/>
                </a:lnTo>
                <a:lnTo>
                  <a:pt x="1740" y="1583"/>
                </a:lnTo>
                <a:lnTo>
                  <a:pt x="1745" y="1606"/>
                </a:lnTo>
                <a:lnTo>
                  <a:pt x="1746" y="1630"/>
                </a:lnTo>
                <a:lnTo>
                  <a:pt x="1744" y="1664"/>
                </a:lnTo>
                <a:lnTo>
                  <a:pt x="1737" y="1694"/>
                </a:lnTo>
                <a:lnTo>
                  <a:pt x="1727" y="1720"/>
                </a:lnTo>
                <a:lnTo>
                  <a:pt x="1712" y="1744"/>
                </a:lnTo>
                <a:lnTo>
                  <a:pt x="1696" y="1764"/>
                </a:lnTo>
                <a:lnTo>
                  <a:pt x="1676" y="1781"/>
                </a:lnTo>
                <a:lnTo>
                  <a:pt x="1654" y="1796"/>
                </a:lnTo>
                <a:lnTo>
                  <a:pt x="1630" y="1809"/>
                </a:lnTo>
                <a:lnTo>
                  <a:pt x="1604" y="1818"/>
                </a:lnTo>
                <a:lnTo>
                  <a:pt x="1578" y="1826"/>
                </a:lnTo>
                <a:lnTo>
                  <a:pt x="1551" y="1830"/>
                </a:lnTo>
                <a:lnTo>
                  <a:pt x="1524" y="1833"/>
                </a:lnTo>
                <a:lnTo>
                  <a:pt x="1498" y="1834"/>
                </a:lnTo>
                <a:lnTo>
                  <a:pt x="1467" y="1833"/>
                </a:lnTo>
                <a:lnTo>
                  <a:pt x="1439" y="1832"/>
                </a:lnTo>
                <a:lnTo>
                  <a:pt x="1412" y="1829"/>
                </a:lnTo>
                <a:lnTo>
                  <a:pt x="1388" y="1827"/>
                </a:lnTo>
                <a:lnTo>
                  <a:pt x="1368" y="1823"/>
                </a:lnTo>
                <a:lnTo>
                  <a:pt x="1351" y="1820"/>
                </a:lnTo>
                <a:lnTo>
                  <a:pt x="1339" y="1818"/>
                </a:lnTo>
                <a:lnTo>
                  <a:pt x="1334" y="1817"/>
                </a:lnTo>
                <a:lnTo>
                  <a:pt x="1334" y="1678"/>
                </a:lnTo>
                <a:lnTo>
                  <a:pt x="1343" y="1680"/>
                </a:lnTo>
                <a:lnTo>
                  <a:pt x="1356" y="1684"/>
                </a:lnTo>
                <a:lnTo>
                  <a:pt x="1375" y="1688"/>
                </a:lnTo>
                <a:lnTo>
                  <a:pt x="1397" y="1693"/>
                </a:lnTo>
                <a:lnTo>
                  <a:pt x="1422" y="1697"/>
                </a:lnTo>
                <a:lnTo>
                  <a:pt x="1448" y="1700"/>
                </a:lnTo>
                <a:lnTo>
                  <a:pt x="1477" y="1701"/>
                </a:lnTo>
                <a:lnTo>
                  <a:pt x="1507" y="1699"/>
                </a:lnTo>
                <a:lnTo>
                  <a:pt x="1531" y="1696"/>
                </a:lnTo>
                <a:lnTo>
                  <a:pt x="1552" y="1690"/>
                </a:lnTo>
                <a:lnTo>
                  <a:pt x="1568" y="1681"/>
                </a:lnTo>
                <a:lnTo>
                  <a:pt x="1578" y="1671"/>
                </a:lnTo>
                <a:lnTo>
                  <a:pt x="1585" y="1658"/>
                </a:lnTo>
                <a:lnTo>
                  <a:pt x="1587" y="1644"/>
                </a:lnTo>
                <a:lnTo>
                  <a:pt x="1585" y="1629"/>
                </a:lnTo>
                <a:lnTo>
                  <a:pt x="1578" y="1618"/>
                </a:lnTo>
                <a:lnTo>
                  <a:pt x="1567" y="1607"/>
                </a:lnTo>
                <a:lnTo>
                  <a:pt x="1553" y="1598"/>
                </a:lnTo>
                <a:lnTo>
                  <a:pt x="1537" y="1590"/>
                </a:lnTo>
                <a:lnTo>
                  <a:pt x="1520" y="1584"/>
                </a:lnTo>
                <a:lnTo>
                  <a:pt x="1509" y="1581"/>
                </a:lnTo>
                <a:lnTo>
                  <a:pt x="1498" y="1577"/>
                </a:lnTo>
                <a:lnTo>
                  <a:pt x="1487" y="1574"/>
                </a:lnTo>
                <a:lnTo>
                  <a:pt x="1462" y="1565"/>
                </a:lnTo>
                <a:lnTo>
                  <a:pt x="1439" y="1555"/>
                </a:lnTo>
                <a:lnTo>
                  <a:pt x="1416" y="1542"/>
                </a:lnTo>
                <a:lnTo>
                  <a:pt x="1396" y="1528"/>
                </a:lnTo>
                <a:lnTo>
                  <a:pt x="1378" y="1512"/>
                </a:lnTo>
                <a:lnTo>
                  <a:pt x="1363" y="1494"/>
                </a:lnTo>
                <a:lnTo>
                  <a:pt x="1350" y="1473"/>
                </a:lnTo>
                <a:lnTo>
                  <a:pt x="1341" y="1451"/>
                </a:lnTo>
                <a:lnTo>
                  <a:pt x="1334" y="1425"/>
                </a:lnTo>
                <a:lnTo>
                  <a:pt x="1332" y="1396"/>
                </a:lnTo>
                <a:lnTo>
                  <a:pt x="1334" y="1364"/>
                </a:lnTo>
                <a:lnTo>
                  <a:pt x="1342" y="1333"/>
                </a:lnTo>
                <a:lnTo>
                  <a:pt x="1354" y="1306"/>
                </a:lnTo>
                <a:lnTo>
                  <a:pt x="1371" y="1281"/>
                </a:lnTo>
                <a:lnTo>
                  <a:pt x="1392" y="1259"/>
                </a:lnTo>
                <a:lnTo>
                  <a:pt x="1417" y="1241"/>
                </a:lnTo>
                <a:lnTo>
                  <a:pt x="1446" y="1227"/>
                </a:lnTo>
                <a:lnTo>
                  <a:pt x="1479" y="1216"/>
                </a:lnTo>
                <a:lnTo>
                  <a:pt x="1515" y="1210"/>
                </a:lnTo>
                <a:lnTo>
                  <a:pt x="1556" y="1208"/>
                </a:lnTo>
                <a:close/>
                <a:moveTo>
                  <a:pt x="3381" y="493"/>
                </a:moveTo>
                <a:lnTo>
                  <a:pt x="3400" y="496"/>
                </a:lnTo>
                <a:lnTo>
                  <a:pt x="3418" y="503"/>
                </a:lnTo>
                <a:lnTo>
                  <a:pt x="3434" y="515"/>
                </a:lnTo>
                <a:lnTo>
                  <a:pt x="3446" y="531"/>
                </a:lnTo>
                <a:lnTo>
                  <a:pt x="3453" y="548"/>
                </a:lnTo>
                <a:lnTo>
                  <a:pt x="3456" y="569"/>
                </a:lnTo>
                <a:lnTo>
                  <a:pt x="3456" y="727"/>
                </a:lnTo>
                <a:lnTo>
                  <a:pt x="3453" y="748"/>
                </a:lnTo>
                <a:lnTo>
                  <a:pt x="3446" y="766"/>
                </a:lnTo>
                <a:lnTo>
                  <a:pt x="3434" y="780"/>
                </a:lnTo>
                <a:lnTo>
                  <a:pt x="3418" y="793"/>
                </a:lnTo>
                <a:lnTo>
                  <a:pt x="3400" y="801"/>
                </a:lnTo>
                <a:lnTo>
                  <a:pt x="3381" y="803"/>
                </a:lnTo>
                <a:lnTo>
                  <a:pt x="3361" y="801"/>
                </a:lnTo>
                <a:lnTo>
                  <a:pt x="3343" y="793"/>
                </a:lnTo>
                <a:lnTo>
                  <a:pt x="3328" y="780"/>
                </a:lnTo>
                <a:lnTo>
                  <a:pt x="3316" y="766"/>
                </a:lnTo>
                <a:lnTo>
                  <a:pt x="3308" y="748"/>
                </a:lnTo>
                <a:lnTo>
                  <a:pt x="3306" y="727"/>
                </a:lnTo>
                <a:lnTo>
                  <a:pt x="3306" y="569"/>
                </a:lnTo>
                <a:lnTo>
                  <a:pt x="3308" y="548"/>
                </a:lnTo>
                <a:lnTo>
                  <a:pt x="3316" y="531"/>
                </a:lnTo>
                <a:lnTo>
                  <a:pt x="3328" y="515"/>
                </a:lnTo>
                <a:lnTo>
                  <a:pt x="3343" y="503"/>
                </a:lnTo>
                <a:lnTo>
                  <a:pt x="3361" y="496"/>
                </a:lnTo>
                <a:lnTo>
                  <a:pt x="3381" y="493"/>
                </a:lnTo>
                <a:close/>
                <a:moveTo>
                  <a:pt x="1728" y="493"/>
                </a:moveTo>
                <a:lnTo>
                  <a:pt x="1748" y="496"/>
                </a:lnTo>
                <a:lnTo>
                  <a:pt x="1766" y="503"/>
                </a:lnTo>
                <a:lnTo>
                  <a:pt x="1781" y="515"/>
                </a:lnTo>
                <a:lnTo>
                  <a:pt x="1793" y="531"/>
                </a:lnTo>
                <a:lnTo>
                  <a:pt x="1800" y="548"/>
                </a:lnTo>
                <a:lnTo>
                  <a:pt x="1803" y="569"/>
                </a:lnTo>
                <a:lnTo>
                  <a:pt x="1803" y="727"/>
                </a:lnTo>
                <a:lnTo>
                  <a:pt x="1800" y="748"/>
                </a:lnTo>
                <a:lnTo>
                  <a:pt x="1793" y="766"/>
                </a:lnTo>
                <a:lnTo>
                  <a:pt x="1781" y="780"/>
                </a:lnTo>
                <a:lnTo>
                  <a:pt x="1766" y="793"/>
                </a:lnTo>
                <a:lnTo>
                  <a:pt x="1748" y="801"/>
                </a:lnTo>
                <a:lnTo>
                  <a:pt x="1728" y="803"/>
                </a:lnTo>
                <a:lnTo>
                  <a:pt x="1708" y="801"/>
                </a:lnTo>
                <a:lnTo>
                  <a:pt x="1690" y="793"/>
                </a:lnTo>
                <a:lnTo>
                  <a:pt x="1675" y="780"/>
                </a:lnTo>
                <a:lnTo>
                  <a:pt x="1663" y="766"/>
                </a:lnTo>
                <a:lnTo>
                  <a:pt x="1656" y="748"/>
                </a:lnTo>
                <a:lnTo>
                  <a:pt x="1653" y="727"/>
                </a:lnTo>
                <a:lnTo>
                  <a:pt x="1653" y="569"/>
                </a:lnTo>
                <a:lnTo>
                  <a:pt x="1656" y="548"/>
                </a:lnTo>
                <a:lnTo>
                  <a:pt x="1663" y="531"/>
                </a:lnTo>
                <a:lnTo>
                  <a:pt x="1675" y="515"/>
                </a:lnTo>
                <a:lnTo>
                  <a:pt x="1690" y="503"/>
                </a:lnTo>
                <a:lnTo>
                  <a:pt x="1708" y="496"/>
                </a:lnTo>
                <a:lnTo>
                  <a:pt x="1728" y="493"/>
                </a:lnTo>
                <a:close/>
                <a:moveTo>
                  <a:pt x="75" y="493"/>
                </a:moveTo>
                <a:lnTo>
                  <a:pt x="95" y="496"/>
                </a:lnTo>
                <a:lnTo>
                  <a:pt x="113" y="503"/>
                </a:lnTo>
                <a:lnTo>
                  <a:pt x="129" y="515"/>
                </a:lnTo>
                <a:lnTo>
                  <a:pt x="140" y="531"/>
                </a:lnTo>
                <a:lnTo>
                  <a:pt x="148" y="548"/>
                </a:lnTo>
                <a:lnTo>
                  <a:pt x="151" y="569"/>
                </a:lnTo>
                <a:lnTo>
                  <a:pt x="151" y="727"/>
                </a:lnTo>
                <a:lnTo>
                  <a:pt x="148" y="748"/>
                </a:lnTo>
                <a:lnTo>
                  <a:pt x="140" y="766"/>
                </a:lnTo>
                <a:lnTo>
                  <a:pt x="129" y="780"/>
                </a:lnTo>
                <a:lnTo>
                  <a:pt x="113" y="793"/>
                </a:lnTo>
                <a:lnTo>
                  <a:pt x="95" y="801"/>
                </a:lnTo>
                <a:lnTo>
                  <a:pt x="75" y="803"/>
                </a:lnTo>
                <a:lnTo>
                  <a:pt x="56" y="801"/>
                </a:lnTo>
                <a:lnTo>
                  <a:pt x="38" y="793"/>
                </a:lnTo>
                <a:lnTo>
                  <a:pt x="22" y="780"/>
                </a:lnTo>
                <a:lnTo>
                  <a:pt x="10" y="766"/>
                </a:lnTo>
                <a:lnTo>
                  <a:pt x="3" y="748"/>
                </a:lnTo>
                <a:lnTo>
                  <a:pt x="0" y="727"/>
                </a:lnTo>
                <a:lnTo>
                  <a:pt x="0" y="569"/>
                </a:lnTo>
                <a:lnTo>
                  <a:pt x="3" y="548"/>
                </a:lnTo>
                <a:lnTo>
                  <a:pt x="10" y="531"/>
                </a:lnTo>
                <a:lnTo>
                  <a:pt x="22" y="515"/>
                </a:lnTo>
                <a:lnTo>
                  <a:pt x="38" y="503"/>
                </a:lnTo>
                <a:lnTo>
                  <a:pt x="56" y="496"/>
                </a:lnTo>
                <a:lnTo>
                  <a:pt x="75" y="493"/>
                </a:lnTo>
                <a:close/>
                <a:moveTo>
                  <a:pt x="2968" y="285"/>
                </a:moveTo>
                <a:lnTo>
                  <a:pt x="2988" y="287"/>
                </a:lnTo>
                <a:lnTo>
                  <a:pt x="3006" y="295"/>
                </a:lnTo>
                <a:lnTo>
                  <a:pt x="3021" y="307"/>
                </a:lnTo>
                <a:lnTo>
                  <a:pt x="3033" y="322"/>
                </a:lnTo>
                <a:lnTo>
                  <a:pt x="3040" y="340"/>
                </a:lnTo>
                <a:lnTo>
                  <a:pt x="3043" y="360"/>
                </a:lnTo>
                <a:lnTo>
                  <a:pt x="3043" y="727"/>
                </a:lnTo>
                <a:lnTo>
                  <a:pt x="3040" y="748"/>
                </a:lnTo>
                <a:lnTo>
                  <a:pt x="3033" y="766"/>
                </a:lnTo>
                <a:lnTo>
                  <a:pt x="3021" y="780"/>
                </a:lnTo>
                <a:lnTo>
                  <a:pt x="3006" y="793"/>
                </a:lnTo>
                <a:lnTo>
                  <a:pt x="2988" y="801"/>
                </a:lnTo>
                <a:lnTo>
                  <a:pt x="2968" y="803"/>
                </a:lnTo>
                <a:lnTo>
                  <a:pt x="2947" y="801"/>
                </a:lnTo>
                <a:lnTo>
                  <a:pt x="2929" y="793"/>
                </a:lnTo>
                <a:lnTo>
                  <a:pt x="2915" y="780"/>
                </a:lnTo>
                <a:lnTo>
                  <a:pt x="2903" y="766"/>
                </a:lnTo>
                <a:lnTo>
                  <a:pt x="2895" y="748"/>
                </a:lnTo>
                <a:lnTo>
                  <a:pt x="2893" y="727"/>
                </a:lnTo>
                <a:lnTo>
                  <a:pt x="2893" y="360"/>
                </a:lnTo>
                <a:lnTo>
                  <a:pt x="2895" y="340"/>
                </a:lnTo>
                <a:lnTo>
                  <a:pt x="2903" y="322"/>
                </a:lnTo>
                <a:lnTo>
                  <a:pt x="2915" y="307"/>
                </a:lnTo>
                <a:lnTo>
                  <a:pt x="2929" y="295"/>
                </a:lnTo>
                <a:lnTo>
                  <a:pt x="2947" y="287"/>
                </a:lnTo>
                <a:lnTo>
                  <a:pt x="2968" y="285"/>
                </a:lnTo>
                <a:close/>
                <a:moveTo>
                  <a:pt x="2142" y="285"/>
                </a:moveTo>
                <a:lnTo>
                  <a:pt x="2162" y="287"/>
                </a:lnTo>
                <a:lnTo>
                  <a:pt x="2179" y="295"/>
                </a:lnTo>
                <a:lnTo>
                  <a:pt x="2194" y="307"/>
                </a:lnTo>
                <a:lnTo>
                  <a:pt x="2207" y="322"/>
                </a:lnTo>
                <a:lnTo>
                  <a:pt x="2214" y="340"/>
                </a:lnTo>
                <a:lnTo>
                  <a:pt x="2216" y="360"/>
                </a:lnTo>
                <a:lnTo>
                  <a:pt x="2216" y="727"/>
                </a:lnTo>
                <a:lnTo>
                  <a:pt x="2214" y="748"/>
                </a:lnTo>
                <a:lnTo>
                  <a:pt x="2207" y="766"/>
                </a:lnTo>
                <a:lnTo>
                  <a:pt x="2194" y="780"/>
                </a:lnTo>
                <a:lnTo>
                  <a:pt x="2179" y="793"/>
                </a:lnTo>
                <a:lnTo>
                  <a:pt x="2162" y="801"/>
                </a:lnTo>
                <a:lnTo>
                  <a:pt x="2142" y="803"/>
                </a:lnTo>
                <a:lnTo>
                  <a:pt x="2122" y="801"/>
                </a:lnTo>
                <a:lnTo>
                  <a:pt x="2104" y="793"/>
                </a:lnTo>
                <a:lnTo>
                  <a:pt x="2088" y="780"/>
                </a:lnTo>
                <a:lnTo>
                  <a:pt x="2077" y="766"/>
                </a:lnTo>
                <a:lnTo>
                  <a:pt x="2069" y="748"/>
                </a:lnTo>
                <a:lnTo>
                  <a:pt x="2066" y="727"/>
                </a:lnTo>
                <a:lnTo>
                  <a:pt x="2066" y="360"/>
                </a:lnTo>
                <a:lnTo>
                  <a:pt x="2069" y="340"/>
                </a:lnTo>
                <a:lnTo>
                  <a:pt x="2077" y="322"/>
                </a:lnTo>
                <a:lnTo>
                  <a:pt x="2088" y="307"/>
                </a:lnTo>
                <a:lnTo>
                  <a:pt x="2104" y="295"/>
                </a:lnTo>
                <a:lnTo>
                  <a:pt x="2122" y="287"/>
                </a:lnTo>
                <a:lnTo>
                  <a:pt x="2142" y="285"/>
                </a:lnTo>
                <a:close/>
                <a:moveTo>
                  <a:pt x="1315" y="285"/>
                </a:moveTo>
                <a:lnTo>
                  <a:pt x="1335" y="287"/>
                </a:lnTo>
                <a:lnTo>
                  <a:pt x="1353" y="295"/>
                </a:lnTo>
                <a:lnTo>
                  <a:pt x="1368" y="307"/>
                </a:lnTo>
                <a:lnTo>
                  <a:pt x="1380" y="322"/>
                </a:lnTo>
                <a:lnTo>
                  <a:pt x="1388" y="340"/>
                </a:lnTo>
                <a:lnTo>
                  <a:pt x="1390" y="360"/>
                </a:lnTo>
                <a:lnTo>
                  <a:pt x="1390" y="727"/>
                </a:lnTo>
                <a:lnTo>
                  <a:pt x="1388" y="748"/>
                </a:lnTo>
                <a:lnTo>
                  <a:pt x="1380" y="766"/>
                </a:lnTo>
                <a:lnTo>
                  <a:pt x="1368" y="780"/>
                </a:lnTo>
                <a:lnTo>
                  <a:pt x="1353" y="793"/>
                </a:lnTo>
                <a:lnTo>
                  <a:pt x="1335" y="801"/>
                </a:lnTo>
                <a:lnTo>
                  <a:pt x="1315" y="803"/>
                </a:lnTo>
                <a:lnTo>
                  <a:pt x="1295" y="801"/>
                </a:lnTo>
                <a:lnTo>
                  <a:pt x="1277" y="793"/>
                </a:lnTo>
                <a:lnTo>
                  <a:pt x="1262" y="780"/>
                </a:lnTo>
                <a:lnTo>
                  <a:pt x="1250" y="766"/>
                </a:lnTo>
                <a:lnTo>
                  <a:pt x="1242" y="748"/>
                </a:lnTo>
                <a:lnTo>
                  <a:pt x="1240" y="727"/>
                </a:lnTo>
                <a:lnTo>
                  <a:pt x="1240" y="360"/>
                </a:lnTo>
                <a:lnTo>
                  <a:pt x="1242" y="340"/>
                </a:lnTo>
                <a:lnTo>
                  <a:pt x="1250" y="322"/>
                </a:lnTo>
                <a:lnTo>
                  <a:pt x="1262" y="307"/>
                </a:lnTo>
                <a:lnTo>
                  <a:pt x="1277" y="295"/>
                </a:lnTo>
                <a:lnTo>
                  <a:pt x="1295" y="287"/>
                </a:lnTo>
                <a:lnTo>
                  <a:pt x="1315" y="285"/>
                </a:lnTo>
                <a:close/>
                <a:moveTo>
                  <a:pt x="488" y="285"/>
                </a:moveTo>
                <a:lnTo>
                  <a:pt x="508" y="287"/>
                </a:lnTo>
                <a:lnTo>
                  <a:pt x="527" y="295"/>
                </a:lnTo>
                <a:lnTo>
                  <a:pt x="541" y="307"/>
                </a:lnTo>
                <a:lnTo>
                  <a:pt x="553" y="322"/>
                </a:lnTo>
                <a:lnTo>
                  <a:pt x="561" y="340"/>
                </a:lnTo>
                <a:lnTo>
                  <a:pt x="563" y="360"/>
                </a:lnTo>
                <a:lnTo>
                  <a:pt x="563" y="727"/>
                </a:lnTo>
                <a:lnTo>
                  <a:pt x="561" y="748"/>
                </a:lnTo>
                <a:lnTo>
                  <a:pt x="553" y="766"/>
                </a:lnTo>
                <a:lnTo>
                  <a:pt x="541" y="780"/>
                </a:lnTo>
                <a:lnTo>
                  <a:pt x="527" y="793"/>
                </a:lnTo>
                <a:lnTo>
                  <a:pt x="508" y="801"/>
                </a:lnTo>
                <a:lnTo>
                  <a:pt x="488" y="803"/>
                </a:lnTo>
                <a:lnTo>
                  <a:pt x="468" y="801"/>
                </a:lnTo>
                <a:lnTo>
                  <a:pt x="450" y="793"/>
                </a:lnTo>
                <a:lnTo>
                  <a:pt x="436" y="780"/>
                </a:lnTo>
                <a:lnTo>
                  <a:pt x="423" y="766"/>
                </a:lnTo>
                <a:lnTo>
                  <a:pt x="416" y="748"/>
                </a:lnTo>
                <a:lnTo>
                  <a:pt x="414" y="727"/>
                </a:lnTo>
                <a:lnTo>
                  <a:pt x="414" y="360"/>
                </a:lnTo>
                <a:lnTo>
                  <a:pt x="416" y="340"/>
                </a:lnTo>
                <a:lnTo>
                  <a:pt x="423" y="322"/>
                </a:lnTo>
                <a:lnTo>
                  <a:pt x="436" y="307"/>
                </a:lnTo>
                <a:lnTo>
                  <a:pt x="450" y="295"/>
                </a:lnTo>
                <a:lnTo>
                  <a:pt x="468" y="287"/>
                </a:lnTo>
                <a:lnTo>
                  <a:pt x="488" y="285"/>
                </a:lnTo>
                <a:close/>
                <a:moveTo>
                  <a:pt x="2555" y="0"/>
                </a:moveTo>
                <a:lnTo>
                  <a:pt x="2575" y="2"/>
                </a:lnTo>
                <a:lnTo>
                  <a:pt x="2593" y="10"/>
                </a:lnTo>
                <a:lnTo>
                  <a:pt x="2608" y="22"/>
                </a:lnTo>
                <a:lnTo>
                  <a:pt x="2619" y="37"/>
                </a:lnTo>
                <a:lnTo>
                  <a:pt x="2628" y="55"/>
                </a:lnTo>
                <a:lnTo>
                  <a:pt x="2630" y="75"/>
                </a:lnTo>
                <a:lnTo>
                  <a:pt x="2630" y="879"/>
                </a:lnTo>
                <a:lnTo>
                  <a:pt x="2628" y="899"/>
                </a:lnTo>
                <a:lnTo>
                  <a:pt x="2619" y="917"/>
                </a:lnTo>
                <a:lnTo>
                  <a:pt x="2608" y="931"/>
                </a:lnTo>
                <a:lnTo>
                  <a:pt x="2593" y="944"/>
                </a:lnTo>
                <a:lnTo>
                  <a:pt x="2575" y="951"/>
                </a:lnTo>
                <a:lnTo>
                  <a:pt x="2555" y="953"/>
                </a:lnTo>
                <a:lnTo>
                  <a:pt x="2535" y="951"/>
                </a:lnTo>
                <a:lnTo>
                  <a:pt x="2517" y="944"/>
                </a:lnTo>
                <a:lnTo>
                  <a:pt x="2502" y="931"/>
                </a:lnTo>
                <a:lnTo>
                  <a:pt x="2490" y="917"/>
                </a:lnTo>
                <a:lnTo>
                  <a:pt x="2483" y="899"/>
                </a:lnTo>
                <a:lnTo>
                  <a:pt x="2480" y="879"/>
                </a:lnTo>
                <a:lnTo>
                  <a:pt x="2480" y="75"/>
                </a:lnTo>
                <a:lnTo>
                  <a:pt x="2483" y="55"/>
                </a:lnTo>
                <a:lnTo>
                  <a:pt x="2490" y="37"/>
                </a:lnTo>
                <a:lnTo>
                  <a:pt x="2502" y="22"/>
                </a:lnTo>
                <a:lnTo>
                  <a:pt x="2517" y="10"/>
                </a:lnTo>
                <a:lnTo>
                  <a:pt x="2535" y="2"/>
                </a:lnTo>
                <a:lnTo>
                  <a:pt x="2555" y="0"/>
                </a:lnTo>
                <a:close/>
                <a:moveTo>
                  <a:pt x="902" y="0"/>
                </a:moveTo>
                <a:lnTo>
                  <a:pt x="922" y="2"/>
                </a:lnTo>
                <a:lnTo>
                  <a:pt x="939" y="10"/>
                </a:lnTo>
                <a:lnTo>
                  <a:pt x="955" y="22"/>
                </a:lnTo>
                <a:lnTo>
                  <a:pt x="967" y="37"/>
                </a:lnTo>
                <a:lnTo>
                  <a:pt x="974" y="55"/>
                </a:lnTo>
                <a:lnTo>
                  <a:pt x="977" y="75"/>
                </a:lnTo>
                <a:lnTo>
                  <a:pt x="977" y="879"/>
                </a:lnTo>
                <a:lnTo>
                  <a:pt x="974" y="899"/>
                </a:lnTo>
                <a:lnTo>
                  <a:pt x="967" y="917"/>
                </a:lnTo>
                <a:lnTo>
                  <a:pt x="955" y="931"/>
                </a:lnTo>
                <a:lnTo>
                  <a:pt x="939" y="944"/>
                </a:lnTo>
                <a:lnTo>
                  <a:pt x="922" y="951"/>
                </a:lnTo>
                <a:lnTo>
                  <a:pt x="902" y="953"/>
                </a:lnTo>
                <a:lnTo>
                  <a:pt x="882" y="951"/>
                </a:lnTo>
                <a:lnTo>
                  <a:pt x="864" y="944"/>
                </a:lnTo>
                <a:lnTo>
                  <a:pt x="848" y="931"/>
                </a:lnTo>
                <a:lnTo>
                  <a:pt x="837" y="917"/>
                </a:lnTo>
                <a:lnTo>
                  <a:pt x="829" y="899"/>
                </a:lnTo>
                <a:lnTo>
                  <a:pt x="826" y="879"/>
                </a:lnTo>
                <a:lnTo>
                  <a:pt x="826" y="75"/>
                </a:lnTo>
                <a:lnTo>
                  <a:pt x="829" y="55"/>
                </a:lnTo>
                <a:lnTo>
                  <a:pt x="837" y="37"/>
                </a:lnTo>
                <a:lnTo>
                  <a:pt x="848" y="22"/>
                </a:lnTo>
                <a:lnTo>
                  <a:pt x="864" y="10"/>
                </a:lnTo>
                <a:lnTo>
                  <a:pt x="882" y="2"/>
                </a:lnTo>
                <a:lnTo>
                  <a:pt x="902" y="0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spcFirstLastPara="1" wrap="square" lIns="121900" tIns="60933" rIns="121900" bIns="60933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2400" b="0" i="0" u="none" strike="noStrike" cap="none">
              <a:solidFill>
                <a:schemeClr val="tx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C7229477-EAC3-40F5-B1BE-2AB2EFB5842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668" y="1612901"/>
            <a:ext cx="4963585" cy="1924049"/>
          </a:xfrm>
        </p:spPr>
        <p:txBody>
          <a:bodyPr anchor="b" anchorCtr="0">
            <a:noAutofit/>
          </a:bodyPr>
          <a:lstStyle>
            <a:lvl1pPr>
              <a:defRPr sz="48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228FA3E3-32F7-49E3-B1E5-3925A1590B2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19667" y="4322233"/>
            <a:ext cx="4480983" cy="419099"/>
          </a:xfrm>
          <a:prstGeom prst="rect">
            <a:avLst/>
          </a:prstGeom>
        </p:spPr>
        <p:txBody>
          <a:bodyPr>
            <a:noAutofit/>
          </a:bodyPr>
          <a:lstStyle>
            <a:lvl1pPr marR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600"/>
              <a:buFont typeface="Arial"/>
              <a:defRPr lang="en-US" sz="1400" b="0" i="0" u="none" strike="noStrike" cap="none" dirty="0">
                <a:solidFill>
                  <a:schemeClr val="bg2"/>
                </a:solidFill>
                <a:latin typeface="+mn-lt"/>
                <a:ea typeface="Arial"/>
                <a:cs typeface="CiscoSansTT ExtraLight" panose="020B0303020201020303" pitchFamily="34" charset="0"/>
                <a:sym typeface="Arial"/>
              </a:defRPr>
            </a:lvl1pPr>
            <a:lvl2pPr>
              <a:defRPr sz="2133" b="0" i="0">
                <a:solidFill>
                  <a:schemeClr val="tx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defRPr>
            </a:lvl2pPr>
            <a:lvl3pPr>
              <a:defRPr sz="2133" b="0" i="0">
                <a:solidFill>
                  <a:schemeClr val="tx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defRPr>
            </a:lvl3pPr>
            <a:lvl4pPr>
              <a:defRPr sz="2133" b="0" i="0">
                <a:solidFill>
                  <a:schemeClr val="tx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defRPr>
            </a:lvl4pPr>
            <a:lvl5pPr>
              <a:defRPr sz="2133" b="0" i="0">
                <a:solidFill>
                  <a:schemeClr val="tx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defRPr>
            </a:lvl5pPr>
          </a:lstStyle>
          <a:p>
            <a:pPr lvl="0"/>
            <a:r>
              <a:rPr lang="en-GB"/>
              <a:t>00th of Month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89351069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9">
            <a:extLst>
              <a:ext uri="{FF2B5EF4-FFF2-40B4-BE49-F238E27FC236}">
                <a16:creationId xmlns:a16="http://schemas.microsoft.com/office/drawing/2014/main" id="{9A95AC2F-9EAD-CC4E-865A-376F9679AA5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19668" y="2070102"/>
            <a:ext cx="4799243" cy="2252663"/>
          </a:xfrm>
          <a:prstGeom prst="rect">
            <a:avLst/>
          </a:prstGeom>
        </p:spPr>
        <p:txBody>
          <a:bodyPr/>
          <a:lstStyle>
            <a:lvl1pPr>
              <a:defRPr sz="4800" b="0" i="0">
                <a:solidFill>
                  <a:schemeClr val="tx1"/>
                </a:solidFill>
                <a:latin typeface="+mj-lt"/>
                <a:cs typeface="CiscoSansTT ExtraLight" panose="020B0303020201020303" pitchFamily="34" charset="0"/>
              </a:defRPr>
            </a:lvl1pPr>
          </a:lstStyle>
          <a:p>
            <a:pPr lvl="0"/>
            <a:r>
              <a:rPr lang="en-GB"/>
              <a:t>Click to add title</a:t>
            </a:r>
            <a:endParaRPr lang="en-US"/>
          </a:p>
        </p:txBody>
      </p:sp>
      <p:sp>
        <p:nvSpPr>
          <p:cNvPr id="23" name="Picture Placeholder 22">
            <a:extLst>
              <a:ext uri="{FF2B5EF4-FFF2-40B4-BE49-F238E27FC236}">
                <a16:creationId xmlns:a16="http://schemas.microsoft.com/office/drawing/2014/main" id="{4AF3F36D-8FA3-4219-A5CD-1DB9A679760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261100" y="0"/>
            <a:ext cx="5930899" cy="6858000"/>
          </a:xfrm>
          <a:custGeom>
            <a:avLst/>
            <a:gdLst>
              <a:gd name="connsiteX0" fmla="*/ 2571750 w 4448174"/>
              <a:gd name="connsiteY0" fmla="*/ 0 h 5143500"/>
              <a:gd name="connsiteX1" fmla="*/ 3925599 w 4448174"/>
              <a:gd name="connsiteY1" fmla="*/ 0 h 5143500"/>
              <a:gd name="connsiteX2" fmla="*/ 4146550 w 4448174"/>
              <a:gd name="connsiteY2" fmla="*/ 0 h 5143500"/>
              <a:gd name="connsiteX3" fmla="*/ 4448174 w 4448174"/>
              <a:gd name="connsiteY3" fmla="*/ 0 h 5143500"/>
              <a:gd name="connsiteX4" fmla="*/ 4448174 w 4448174"/>
              <a:gd name="connsiteY4" fmla="*/ 5143500 h 5143500"/>
              <a:gd name="connsiteX5" fmla="*/ 4146550 w 4448174"/>
              <a:gd name="connsiteY5" fmla="*/ 5143500 h 5143500"/>
              <a:gd name="connsiteX6" fmla="*/ 3925599 w 4448174"/>
              <a:gd name="connsiteY6" fmla="*/ 5143500 h 5143500"/>
              <a:gd name="connsiteX7" fmla="*/ 2571750 w 4448174"/>
              <a:gd name="connsiteY7" fmla="*/ 5143500 h 5143500"/>
              <a:gd name="connsiteX8" fmla="*/ 0 w 4448174"/>
              <a:gd name="connsiteY8" fmla="*/ 2571750 h 5143500"/>
              <a:gd name="connsiteX9" fmla="*/ 2571750 w 4448174"/>
              <a:gd name="connsiteY9" fmla="*/ 0 h 5143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4448174" h="5143500">
                <a:moveTo>
                  <a:pt x="2571750" y="0"/>
                </a:moveTo>
                <a:lnTo>
                  <a:pt x="3925599" y="0"/>
                </a:lnTo>
                <a:lnTo>
                  <a:pt x="4146550" y="0"/>
                </a:lnTo>
                <a:lnTo>
                  <a:pt x="4448174" y="0"/>
                </a:lnTo>
                <a:lnTo>
                  <a:pt x="4448174" y="5143500"/>
                </a:lnTo>
                <a:lnTo>
                  <a:pt x="4146550" y="5143500"/>
                </a:lnTo>
                <a:lnTo>
                  <a:pt x="3925599" y="5143500"/>
                </a:lnTo>
                <a:lnTo>
                  <a:pt x="2571750" y="5143500"/>
                </a:lnTo>
                <a:cubicBezTo>
                  <a:pt x="1151412" y="5143500"/>
                  <a:pt x="0" y="3992088"/>
                  <a:pt x="0" y="2571750"/>
                </a:cubicBezTo>
                <a:cubicBezTo>
                  <a:pt x="0" y="1151412"/>
                  <a:pt x="1151412" y="0"/>
                  <a:pt x="2571750" y="0"/>
                </a:cubicBezTo>
                <a:close/>
              </a:path>
            </a:pathLst>
          </a:custGeom>
          <a:solidFill>
            <a:srgbClr val="EDF1F6"/>
          </a:solidFill>
        </p:spPr>
        <p:txBody>
          <a:bodyPr wrap="square">
            <a:noAutofit/>
          </a:bodyPr>
          <a:lstStyle/>
          <a:p>
            <a:endParaRPr lang="en-US"/>
          </a:p>
        </p:txBody>
      </p:sp>
      <p:sp>
        <p:nvSpPr>
          <p:cNvPr id="21" name="Picture Placeholder 10">
            <a:extLst>
              <a:ext uri="{FF2B5EF4-FFF2-40B4-BE49-F238E27FC236}">
                <a16:creationId xmlns:a16="http://schemas.microsoft.com/office/drawing/2014/main" id="{9442949A-ED6E-4DA8-9A45-1668588B47B1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673004" y="5080000"/>
            <a:ext cx="1225163" cy="1225160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>
                <a:noFill/>
              </a:defRPr>
            </a:lvl1pPr>
          </a:lstStyle>
          <a:p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90FDC25-9729-4F65-930E-87A29BCB5C7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19139" y="1613135"/>
            <a:ext cx="4799012" cy="410400"/>
          </a:xfrm>
        </p:spPr>
        <p:txBody>
          <a:bodyPr/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Insert text here</a:t>
            </a:r>
          </a:p>
        </p:txBody>
      </p:sp>
    </p:spTree>
    <p:extLst>
      <p:ext uri="{BB962C8B-B14F-4D97-AF65-F5344CB8AC3E}">
        <p14:creationId xmlns:p14="http://schemas.microsoft.com/office/powerpoint/2010/main" val="326769511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Text Placeholder 23">
            <a:extLst>
              <a:ext uri="{FF2B5EF4-FFF2-40B4-BE49-F238E27FC236}">
                <a16:creationId xmlns:a16="http://schemas.microsoft.com/office/drawing/2014/main" id="{A934575A-85EC-4073-BC40-5A80AF9728F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489619" y="1754690"/>
            <a:ext cx="463125" cy="463124"/>
          </a:xfrm>
          <a:prstGeom prst="ellipse">
            <a:avLst/>
          </a:prstGeom>
          <a:solidFill>
            <a:schemeClr val="accent1"/>
          </a:solidFill>
        </p:spPr>
        <p:txBody>
          <a:bodyPr lIns="0" tIns="0" rIns="0" bIns="0" anchor="ctr" anchorCtr="0"/>
          <a:lstStyle>
            <a:lvl1pPr algn="ctr">
              <a:defRPr sz="1600">
                <a:solidFill>
                  <a:schemeClr val="bg1"/>
                </a:solidFill>
                <a:latin typeface="+mn-lt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(#)</a:t>
            </a:r>
          </a:p>
        </p:txBody>
      </p:sp>
      <p:sp>
        <p:nvSpPr>
          <p:cNvPr id="27" name="Text Placeholder 23">
            <a:extLst>
              <a:ext uri="{FF2B5EF4-FFF2-40B4-BE49-F238E27FC236}">
                <a16:creationId xmlns:a16="http://schemas.microsoft.com/office/drawing/2014/main" id="{B194B551-9D89-4F8B-BDD0-DBFCDD72D71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489619" y="2528119"/>
            <a:ext cx="463125" cy="463124"/>
          </a:xfrm>
          <a:prstGeom prst="ellipse">
            <a:avLst/>
          </a:prstGeom>
          <a:solidFill>
            <a:schemeClr val="accent1"/>
          </a:solidFill>
        </p:spPr>
        <p:txBody>
          <a:bodyPr lIns="0" tIns="0" rIns="0" bIns="0" anchor="ctr" anchorCtr="0"/>
          <a:lstStyle>
            <a:lvl1pPr algn="ctr">
              <a:defRPr sz="1600">
                <a:solidFill>
                  <a:schemeClr val="bg1"/>
                </a:solidFill>
                <a:latin typeface="+mn-lt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(#)</a:t>
            </a:r>
          </a:p>
        </p:txBody>
      </p:sp>
      <p:sp>
        <p:nvSpPr>
          <p:cNvPr id="28" name="Text Placeholder 23">
            <a:extLst>
              <a:ext uri="{FF2B5EF4-FFF2-40B4-BE49-F238E27FC236}">
                <a16:creationId xmlns:a16="http://schemas.microsoft.com/office/drawing/2014/main" id="{724E0C06-B347-44E1-BE44-CC39258896C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489619" y="3301550"/>
            <a:ext cx="463125" cy="463124"/>
          </a:xfrm>
          <a:prstGeom prst="ellipse">
            <a:avLst/>
          </a:prstGeom>
          <a:solidFill>
            <a:schemeClr val="accent1"/>
          </a:solidFill>
        </p:spPr>
        <p:txBody>
          <a:bodyPr lIns="0" tIns="0" rIns="0" bIns="0" anchor="ctr" anchorCtr="0"/>
          <a:lstStyle>
            <a:lvl1pPr algn="ctr">
              <a:defRPr sz="1600">
                <a:solidFill>
                  <a:schemeClr val="bg1"/>
                </a:solidFill>
                <a:latin typeface="+mn-lt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(#)</a:t>
            </a:r>
          </a:p>
        </p:txBody>
      </p:sp>
      <p:sp>
        <p:nvSpPr>
          <p:cNvPr id="29" name="Text Placeholder 23">
            <a:extLst>
              <a:ext uri="{FF2B5EF4-FFF2-40B4-BE49-F238E27FC236}">
                <a16:creationId xmlns:a16="http://schemas.microsoft.com/office/drawing/2014/main" id="{387A1886-320B-4F84-8140-CAC80774DD5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489619" y="4074981"/>
            <a:ext cx="463125" cy="463124"/>
          </a:xfrm>
          <a:prstGeom prst="ellipse">
            <a:avLst/>
          </a:prstGeom>
          <a:solidFill>
            <a:schemeClr val="accent1"/>
          </a:solidFill>
        </p:spPr>
        <p:txBody>
          <a:bodyPr lIns="0" tIns="0" rIns="0" bIns="0" anchor="ctr" anchorCtr="0"/>
          <a:lstStyle>
            <a:lvl1pPr algn="ctr">
              <a:defRPr sz="1600">
                <a:solidFill>
                  <a:schemeClr val="bg1"/>
                </a:solidFill>
                <a:latin typeface="+mn-lt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(#)</a:t>
            </a:r>
          </a:p>
        </p:txBody>
      </p:sp>
      <p:sp>
        <p:nvSpPr>
          <p:cNvPr id="30" name="Text Placeholder 23">
            <a:extLst>
              <a:ext uri="{FF2B5EF4-FFF2-40B4-BE49-F238E27FC236}">
                <a16:creationId xmlns:a16="http://schemas.microsoft.com/office/drawing/2014/main" id="{A1C3FF93-83D9-48D7-8495-968320A4A20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489619" y="4848410"/>
            <a:ext cx="463125" cy="463124"/>
          </a:xfrm>
          <a:prstGeom prst="ellipse">
            <a:avLst/>
          </a:prstGeom>
          <a:solidFill>
            <a:schemeClr val="accent1"/>
          </a:solidFill>
        </p:spPr>
        <p:txBody>
          <a:bodyPr lIns="0" tIns="0" rIns="0" bIns="0" anchor="ctr" anchorCtr="0"/>
          <a:lstStyle>
            <a:lvl1pPr algn="ctr">
              <a:defRPr sz="1600">
                <a:solidFill>
                  <a:schemeClr val="bg1"/>
                </a:solidFill>
                <a:latin typeface="+mn-lt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(#)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B592C14-52D0-4997-864B-3B6418B8F6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668" y="1612902"/>
            <a:ext cx="4015907" cy="2709335"/>
          </a:xfrm>
        </p:spPr>
        <p:txBody>
          <a:bodyPr>
            <a:noAutofit/>
          </a:bodyPr>
          <a:lstStyle>
            <a:lvl1pPr>
              <a:defRPr sz="48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4DFC6FD-0F66-4380-A76E-F5DB6598CAA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77849" y="1797051"/>
            <a:ext cx="4401251" cy="378000"/>
          </a:xfrm>
        </p:spPr>
        <p:txBody>
          <a:bodyPr anchor="ctr" anchorCtr="0"/>
          <a:lstStyle>
            <a:lvl1pPr>
              <a:defRPr sz="2000"/>
            </a:lvl1pPr>
          </a:lstStyle>
          <a:p>
            <a:pPr lvl="0"/>
            <a:r>
              <a:rPr lang="en-US"/>
              <a:t>Insert section header here</a:t>
            </a:r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A90CABDF-A582-4377-BC98-C2B20669F68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177849" y="2570531"/>
            <a:ext cx="4401251" cy="378000"/>
          </a:xfrm>
        </p:spPr>
        <p:txBody>
          <a:bodyPr anchor="ctr" anchorCtr="0"/>
          <a:lstStyle>
            <a:lvl1pPr>
              <a:defRPr sz="2000"/>
            </a:lvl1pPr>
          </a:lstStyle>
          <a:p>
            <a:pPr lvl="0"/>
            <a:r>
              <a:rPr lang="en-US"/>
              <a:t>Insert section header here</a:t>
            </a:r>
          </a:p>
        </p:txBody>
      </p:sp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12A9AE11-9DE5-4933-B9CC-4F3BAC42378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177849" y="3344011"/>
            <a:ext cx="4401251" cy="378000"/>
          </a:xfrm>
        </p:spPr>
        <p:txBody>
          <a:bodyPr anchor="ctr" anchorCtr="0"/>
          <a:lstStyle>
            <a:lvl1pPr>
              <a:defRPr sz="2000"/>
            </a:lvl1pPr>
          </a:lstStyle>
          <a:p>
            <a:pPr lvl="0"/>
            <a:r>
              <a:rPr lang="en-US"/>
              <a:t>Insert section header here</a:t>
            </a:r>
          </a:p>
        </p:txBody>
      </p:sp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ADF2D992-D698-4D00-8977-C598D99330AE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177849" y="4117491"/>
            <a:ext cx="4401251" cy="378000"/>
          </a:xfrm>
        </p:spPr>
        <p:txBody>
          <a:bodyPr anchor="ctr" anchorCtr="0"/>
          <a:lstStyle>
            <a:lvl1pPr>
              <a:defRPr sz="2000"/>
            </a:lvl1pPr>
          </a:lstStyle>
          <a:p>
            <a:pPr lvl="0"/>
            <a:r>
              <a:rPr lang="en-US"/>
              <a:t>Insert section header here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F6CD6594-DE89-498A-ABB4-1E3EE4B04E3A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177849" y="4890971"/>
            <a:ext cx="4401251" cy="378000"/>
          </a:xfrm>
        </p:spPr>
        <p:txBody>
          <a:bodyPr anchor="ctr" anchorCtr="0"/>
          <a:lstStyle>
            <a:lvl1pPr>
              <a:defRPr sz="2000"/>
            </a:lvl1pPr>
          </a:lstStyle>
          <a:p>
            <a:pPr lvl="0"/>
            <a:r>
              <a:rPr lang="en-US"/>
              <a:t>Insert section header here</a:t>
            </a:r>
          </a:p>
        </p:txBody>
      </p:sp>
    </p:spTree>
    <p:extLst>
      <p:ext uri="{BB962C8B-B14F-4D97-AF65-F5344CB8AC3E}">
        <p14:creationId xmlns:p14="http://schemas.microsoft.com/office/powerpoint/2010/main" val="3090840467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4BBB5314-F22F-8E47-BF2F-342008A5E2D0}"/>
              </a:ext>
            </a:extLst>
          </p:cNvPr>
          <p:cNvSpPr/>
          <p:nvPr userDrawn="1"/>
        </p:nvSpPr>
        <p:spPr>
          <a:xfrm>
            <a:off x="696768" y="6348761"/>
            <a:ext cx="3392013" cy="148683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89"/>
          </a:p>
        </p:txBody>
      </p:sp>
      <p:sp>
        <p:nvSpPr>
          <p:cNvPr id="6" name="Text Placeholder 9">
            <a:extLst>
              <a:ext uri="{FF2B5EF4-FFF2-40B4-BE49-F238E27FC236}">
                <a16:creationId xmlns:a16="http://schemas.microsoft.com/office/drawing/2014/main" id="{9ECE22FA-A92C-FA45-B637-1203617C607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19668" y="2070102"/>
            <a:ext cx="4798483" cy="2252663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4800" b="0" i="0">
                <a:solidFill>
                  <a:schemeClr val="tx1"/>
                </a:solidFill>
                <a:latin typeface="+mj-lt"/>
                <a:cs typeface="CiscoSansTT ExtraLight" panose="020B0303020201020303" pitchFamily="34" charset="0"/>
              </a:defRPr>
            </a:lvl1pPr>
          </a:lstStyle>
          <a:p>
            <a:pPr lvl="0"/>
            <a:r>
              <a:rPr lang="en-GB"/>
              <a:t>Click to add title</a:t>
            </a:r>
            <a:endParaRPr lang="en-US"/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88432BE0-139C-48C7-A6D6-0DC95B36111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19139" y="1613135"/>
            <a:ext cx="4799012" cy="410400"/>
          </a:xfrm>
        </p:spPr>
        <p:txBody>
          <a:bodyPr/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Insert text here</a:t>
            </a:r>
          </a:p>
        </p:txBody>
      </p:sp>
    </p:spTree>
    <p:extLst>
      <p:ext uri="{BB962C8B-B14F-4D97-AF65-F5344CB8AC3E}">
        <p14:creationId xmlns:p14="http://schemas.microsoft.com/office/powerpoint/2010/main" val="77557660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8.xml"/><Relationship Id="rId13" Type="http://schemas.openxmlformats.org/officeDocument/2006/relationships/slideLayout" Target="../slideLayouts/slideLayout43.xml"/><Relationship Id="rId18" Type="http://schemas.openxmlformats.org/officeDocument/2006/relationships/slideLayout" Target="../slideLayouts/slideLayout48.xml"/><Relationship Id="rId26" Type="http://schemas.openxmlformats.org/officeDocument/2006/relationships/slideLayout" Target="../slideLayouts/slideLayout56.xml"/><Relationship Id="rId3" Type="http://schemas.openxmlformats.org/officeDocument/2006/relationships/slideLayout" Target="../slideLayouts/slideLayout33.xml"/><Relationship Id="rId21" Type="http://schemas.openxmlformats.org/officeDocument/2006/relationships/slideLayout" Target="../slideLayouts/slideLayout51.xml"/><Relationship Id="rId7" Type="http://schemas.openxmlformats.org/officeDocument/2006/relationships/slideLayout" Target="../slideLayouts/slideLayout37.xml"/><Relationship Id="rId12" Type="http://schemas.openxmlformats.org/officeDocument/2006/relationships/slideLayout" Target="../slideLayouts/slideLayout42.xml"/><Relationship Id="rId17" Type="http://schemas.openxmlformats.org/officeDocument/2006/relationships/slideLayout" Target="../slideLayouts/slideLayout47.xml"/><Relationship Id="rId25" Type="http://schemas.openxmlformats.org/officeDocument/2006/relationships/slideLayout" Target="../slideLayouts/slideLayout55.xml"/><Relationship Id="rId2" Type="http://schemas.openxmlformats.org/officeDocument/2006/relationships/slideLayout" Target="../slideLayouts/slideLayout32.xml"/><Relationship Id="rId16" Type="http://schemas.openxmlformats.org/officeDocument/2006/relationships/slideLayout" Target="../slideLayouts/slideLayout46.xml"/><Relationship Id="rId20" Type="http://schemas.openxmlformats.org/officeDocument/2006/relationships/slideLayout" Target="../slideLayouts/slideLayout50.xml"/><Relationship Id="rId29" Type="http://schemas.openxmlformats.org/officeDocument/2006/relationships/slideLayout" Target="../slideLayouts/slideLayout59.xml"/><Relationship Id="rId1" Type="http://schemas.openxmlformats.org/officeDocument/2006/relationships/slideLayout" Target="../slideLayouts/slideLayout31.xml"/><Relationship Id="rId6" Type="http://schemas.openxmlformats.org/officeDocument/2006/relationships/slideLayout" Target="../slideLayouts/slideLayout36.xml"/><Relationship Id="rId11" Type="http://schemas.openxmlformats.org/officeDocument/2006/relationships/slideLayout" Target="../slideLayouts/slideLayout41.xml"/><Relationship Id="rId24" Type="http://schemas.openxmlformats.org/officeDocument/2006/relationships/slideLayout" Target="../slideLayouts/slideLayout54.xml"/><Relationship Id="rId5" Type="http://schemas.openxmlformats.org/officeDocument/2006/relationships/slideLayout" Target="../slideLayouts/slideLayout35.xml"/><Relationship Id="rId15" Type="http://schemas.openxmlformats.org/officeDocument/2006/relationships/slideLayout" Target="../slideLayouts/slideLayout45.xml"/><Relationship Id="rId23" Type="http://schemas.openxmlformats.org/officeDocument/2006/relationships/slideLayout" Target="../slideLayouts/slideLayout53.xml"/><Relationship Id="rId28" Type="http://schemas.openxmlformats.org/officeDocument/2006/relationships/slideLayout" Target="../slideLayouts/slideLayout58.xml"/><Relationship Id="rId10" Type="http://schemas.openxmlformats.org/officeDocument/2006/relationships/slideLayout" Target="../slideLayouts/slideLayout40.xml"/><Relationship Id="rId19" Type="http://schemas.openxmlformats.org/officeDocument/2006/relationships/slideLayout" Target="../slideLayouts/slideLayout49.xml"/><Relationship Id="rId31" Type="http://schemas.openxmlformats.org/officeDocument/2006/relationships/theme" Target="../theme/theme2.xml"/><Relationship Id="rId4" Type="http://schemas.openxmlformats.org/officeDocument/2006/relationships/slideLayout" Target="../slideLayouts/slideLayout34.xml"/><Relationship Id="rId9" Type="http://schemas.openxmlformats.org/officeDocument/2006/relationships/slideLayout" Target="../slideLayouts/slideLayout39.xml"/><Relationship Id="rId14" Type="http://schemas.openxmlformats.org/officeDocument/2006/relationships/slideLayout" Target="../slideLayouts/slideLayout44.xml"/><Relationship Id="rId22" Type="http://schemas.openxmlformats.org/officeDocument/2006/relationships/slideLayout" Target="../slideLayouts/slideLayout52.xml"/><Relationship Id="rId27" Type="http://schemas.openxmlformats.org/officeDocument/2006/relationships/slideLayout" Target="../slideLayouts/slideLayout57.xml"/><Relationship Id="rId30" Type="http://schemas.openxmlformats.org/officeDocument/2006/relationships/slideLayout" Target="../slideLayouts/slideLayout6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8.xml"/><Relationship Id="rId13" Type="http://schemas.openxmlformats.org/officeDocument/2006/relationships/slideLayout" Target="../slideLayouts/slideLayout73.xml"/><Relationship Id="rId18" Type="http://schemas.openxmlformats.org/officeDocument/2006/relationships/slideLayout" Target="../slideLayouts/slideLayout78.xml"/><Relationship Id="rId26" Type="http://schemas.openxmlformats.org/officeDocument/2006/relationships/slideLayout" Target="../slideLayouts/slideLayout86.xml"/><Relationship Id="rId3" Type="http://schemas.openxmlformats.org/officeDocument/2006/relationships/slideLayout" Target="../slideLayouts/slideLayout63.xml"/><Relationship Id="rId21" Type="http://schemas.openxmlformats.org/officeDocument/2006/relationships/slideLayout" Target="../slideLayouts/slideLayout81.xml"/><Relationship Id="rId34" Type="http://schemas.openxmlformats.org/officeDocument/2006/relationships/slideLayout" Target="../slideLayouts/slideLayout94.xml"/><Relationship Id="rId7" Type="http://schemas.openxmlformats.org/officeDocument/2006/relationships/slideLayout" Target="../slideLayouts/slideLayout67.xml"/><Relationship Id="rId12" Type="http://schemas.openxmlformats.org/officeDocument/2006/relationships/slideLayout" Target="../slideLayouts/slideLayout72.xml"/><Relationship Id="rId17" Type="http://schemas.openxmlformats.org/officeDocument/2006/relationships/slideLayout" Target="../slideLayouts/slideLayout77.xml"/><Relationship Id="rId25" Type="http://schemas.openxmlformats.org/officeDocument/2006/relationships/slideLayout" Target="../slideLayouts/slideLayout85.xml"/><Relationship Id="rId33" Type="http://schemas.openxmlformats.org/officeDocument/2006/relationships/slideLayout" Target="../slideLayouts/slideLayout93.xml"/><Relationship Id="rId2" Type="http://schemas.openxmlformats.org/officeDocument/2006/relationships/slideLayout" Target="../slideLayouts/slideLayout62.xml"/><Relationship Id="rId16" Type="http://schemas.openxmlformats.org/officeDocument/2006/relationships/slideLayout" Target="../slideLayouts/slideLayout76.xml"/><Relationship Id="rId20" Type="http://schemas.openxmlformats.org/officeDocument/2006/relationships/slideLayout" Target="../slideLayouts/slideLayout80.xml"/><Relationship Id="rId29" Type="http://schemas.openxmlformats.org/officeDocument/2006/relationships/slideLayout" Target="../slideLayouts/slideLayout89.xml"/><Relationship Id="rId1" Type="http://schemas.openxmlformats.org/officeDocument/2006/relationships/slideLayout" Target="../slideLayouts/slideLayout61.xml"/><Relationship Id="rId6" Type="http://schemas.openxmlformats.org/officeDocument/2006/relationships/slideLayout" Target="../slideLayouts/slideLayout66.xml"/><Relationship Id="rId11" Type="http://schemas.openxmlformats.org/officeDocument/2006/relationships/slideLayout" Target="../slideLayouts/slideLayout71.xml"/><Relationship Id="rId24" Type="http://schemas.openxmlformats.org/officeDocument/2006/relationships/slideLayout" Target="../slideLayouts/slideLayout84.xml"/><Relationship Id="rId32" Type="http://schemas.openxmlformats.org/officeDocument/2006/relationships/slideLayout" Target="../slideLayouts/slideLayout92.xml"/><Relationship Id="rId5" Type="http://schemas.openxmlformats.org/officeDocument/2006/relationships/slideLayout" Target="../slideLayouts/slideLayout65.xml"/><Relationship Id="rId15" Type="http://schemas.openxmlformats.org/officeDocument/2006/relationships/slideLayout" Target="../slideLayouts/slideLayout75.xml"/><Relationship Id="rId23" Type="http://schemas.openxmlformats.org/officeDocument/2006/relationships/slideLayout" Target="../slideLayouts/slideLayout83.xml"/><Relationship Id="rId28" Type="http://schemas.openxmlformats.org/officeDocument/2006/relationships/slideLayout" Target="../slideLayouts/slideLayout88.xml"/><Relationship Id="rId36" Type="http://schemas.openxmlformats.org/officeDocument/2006/relationships/theme" Target="../theme/theme3.xml"/><Relationship Id="rId10" Type="http://schemas.openxmlformats.org/officeDocument/2006/relationships/slideLayout" Target="../slideLayouts/slideLayout70.xml"/><Relationship Id="rId19" Type="http://schemas.openxmlformats.org/officeDocument/2006/relationships/slideLayout" Target="../slideLayouts/slideLayout79.xml"/><Relationship Id="rId31" Type="http://schemas.openxmlformats.org/officeDocument/2006/relationships/slideLayout" Target="../slideLayouts/slideLayout91.xml"/><Relationship Id="rId4" Type="http://schemas.openxmlformats.org/officeDocument/2006/relationships/slideLayout" Target="../slideLayouts/slideLayout64.xml"/><Relationship Id="rId9" Type="http://schemas.openxmlformats.org/officeDocument/2006/relationships/slideLayout" Target="../slideLayouts/slideLayout69.xml"/><Relationship Id="rId14" Type="http://schemas.openxmlformats.org/officeDocument/2006/relationships/slideLayout" Target="../slideLayouts/slideLayout74.xml"/><Relationship Id="rId22" Type="http://schemas.openxmlformats.org/officeDocument/2006/relationships/slideLayout" Target="../slideLayouts/slideLayout82.xml"/><Relationship Id="rId27" Type="http://schemas.openxmlformats.org/officeDocument/2006/relationships/slideLayout" Target="../slideLayouts/slideLayout87.xml"/><Relationship Id="rId30" Type="http://schemas.openxmlformats.org/officeDocument/2006/relationships/slideLayout" Target="../slideLayouts/slideLayout90.xml"/><Relationship Id="rId35" Type="http://schemas.openxmlformats.org/officeDocument/2006/relationships/slideLayout" Target="../slideLayouts/slideLayout95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3.xml"/><Relationship Id="rId13" Type="http://schemas.openxmlformats.org/officeDocument/2006/relationships/slideLayout" Target="../slideLayouts/slideLayout108.xml"/><Relationship Id="rId18" Type="http://schemas.openxmlformats.org/officeDocument/2006/relationships/slideLayout" Target="../slideLayouts/slideLayout113.xml"/><Relationship Id="rId26" Type="http://schemas.openxmlformats.org/officeDocument/2006/relationships/slideLayout" Target="../slideLayouts/slideLayout121.xml"/><Relationship Id="rId3" Type="http://schemas.openxmlformats.org/officeDocument/2006/relationships/slideLayout" Target="../slideLayouts/slideLayout98.xml"/><Relationship Id="rId21" Type="http://schemas.openxmlformats.org/officeDocument/2006/relationships/slideLayout" Target="../slideLayouts/slideLayout116.xml"/><Relationship Id="rId7" Type="http://schemas.openxmlformats.org/officeDocument/2006/relationships/slideLayout" Target="../slideLayouts/slideLayout102.xml"/><Relationship Id="rId12" Type="http://schemas.openxmlformats.org/officeDocument/2006/relationships/slideLayout" Target="../slideLayouts/slideLayout107.xml"/><Relationship Id="rId17" Type="http://schemas.openxmlformats.org/officeDocument/2006/relationships/slideLayout" Target="../slideLayouts/slideLayout112.xml"/><Relationship Id="rId25" Type="http://schemas.openxmlformats.org/officeDocument/2006/relationships/slideLayout" Target="../slideLayouts/slideLayout120.xml"/><Relationship Id="rId2" Type="http://schemas.openxmlformats.org/officeDocument/2006/relationships/slideLayout" Target="../slideLayouts/slideLayout97.xml"/><Relationship Id="rId16" Type="http://schemas.openxmlformats.org/officeDocument/2006/relationships/slideLayout" Target="../slideLayouts/slideLayout111.xml"/><Relationship Id="rId20" Type="http://schemas.openxmlformats.org/officeDocument/2006/relationships/slideLayout" Target="../slideLayouts/slideLayout115.xml"/><Relationship Id="rId29" Type="http://schemas.openxmlformats.org/officeDocument/2006/relationships/slideLayout" Target="../slideLayouts/slideLayout124.xml"/><Relationship Id="rId1" Type="http://schemas.openxmlformats.org/officeDocument/2006/relationships/slideLayout" Target="../slideLayouts/slideLayout96.xml"/><Relationship Id="rId6" Type="http://schemas.openxmlformats.org/officeDocument/2006/relationships/slideLayout" Target="../slideLayouts/slideLayout101.xml"/><Relationship Id="rId11" Type="http://schemas.openxmlformats.org/officeDocument/2006/relationships/slideLayout" Target="../slideLayouts/slideLayout106.xml"/><Relationship Id="rId24" Type="http://schemas.openxmlformats.org/officeDocument/2006/relationships/slideLayout" Target="../slideLayouts/slideLayout119.xml"/><Relationship Id="rId5" Type="http://schemas.openxmlformats.org/officeDocument/2006/relationships/slideLayout" Target="../slideLayouts/slideLayout100.xml"/><Relationship Id="rId15" Type="http://schemas.openxmlformats.org/officeDocument/2006/relationships/slideLayout" Target="../slideLayouts/slideLayout110.xml"/><Relationship Id="rId23" Type="http://schemas.openxmlformats.org/officeDocument/2006/relationships/slideLayout" Target="../slideLayouts/slideLayout118.xml"/><Relationship Id="rId28" Type="http://schemas.openxmlformats.org/officeDocument/2006/relationships/slideLayout" Target="../slideLayouts/slideLayout123.xml"/><Relationship Id="rId10" Type="http://schemas.openxmlformats.org/officeDocument/2006/relationships/slideLayout" Target="../slideLayouts/slideLayout105.xml"/><Relationship Id="rId19" Type="http://schemas.openxmlformats.org/officeDocument/2006/relationships/slideLayout" Target="../slideLayouts/slideLayout114.xml"/><Relationship Id="rId31" Type="http://schemas.openxmlformats.org/officeDocument/2006/relationships/theme" Target="../theme/theme4.xml"/><Relationship Id="rId4" Type="http://schemas.openxmlformats.org/officeDocument/2006/relationships/slideLayout" Target="../slideLayouts/slideLayout99.xml"/><Relationship Id="rId9" Type="http://schemas.openxmlformats.org/officeDocument/2006/relationships/slideLayout" Target="../slideLayouts/slideLayout104.xml"/><Relationship Id="rId14" Type="http://schemas.openxmlformats.org/officeDocument/2006/relationships/slideLayout" Target="../slideLayouts/slideLayout109.xml"/><Relationship Id="rId22" Type="http://schemas.openxmlformats.org/officeDocument/2006/relationships/slideLayout" Target="../slideLayouts/slideLayout117.xml"/><Relationship Id="rId27" Type="http://schemas.openxmlformats.org/officeDocument/2006/relationships/slideLayout" Target="../slideLayouts/slideLayout122.xml"/><Relationship Id="rId30" Type="http://schemas.openxmlformats.org/officeDocument/2006/relationships/slideLayout" Target="../slideLayouts/slideLayout125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3.xml"/><Relationship Id="rId13" Type="http://schemas.openxmlformats.org/officeDocument/2006/relationships/slideLayout" Target="../slideLayouts/slideLayout138.xml"/><Relationship Id="rId18" Type="http://schemas.openxmlformats.org/officeDocument/2006/relationships/slideLayout" Target="../slideLayouts/slideLayout143.xml"/><Relationship Id="rId26" Type="http://schemas.openxmlformats.org/officeDocument/2006/relationships/slideLayout" Target="../slideLayouts/slideLayout151.xml"/><Relationship Id="rId3" Type="http://schemas.openxmlformats.org/officeDocument/2006/relationships/slideLayout" Target="../slideLayouts/slideLayout128.xml"/><Relationship Id="rId21" Type="http://schemas.openxmlformats.org/officeDocument/2006/relationships/slideLayout" Target="../slideLayouts/slideLayout146.xml"/><Relationship Id="rId34" Type="http://schemas.openxmlformats.org/officeDocument/2006/relationships/image" Target="../media/image48.emf"/><Relationship Id="rId7" Type="http://schemas.openxmlformats.org/officeDocument/2006/relationships/slideLayout" Target="../slideLayouts/slideLayout132.xml"/><Relationship Id="rId12" Type="http://schemas.openxmlformats.org/officeDocument/2006/relationships/slideLayout" Target="../slideLayouts/slideLayout137.xml"/><Relationship Id="rId17" Type="http://schemas.openxmlformats.org/officeDocument/2006/relationships/slideLayout" Target="../slideLayouts/slideLayout142.xml"/><Relationship Id="rId25" Type="http://schemas.openxmlformats.org/officeDocument/2006/relationships/slideLayout" Target="../slideLayouts/slideLayout150.xml"/><Relationship Id="rId33" Type="http://schemas.openxmlformats.org/officeDocument/2006/relationships/oleObject" Target="../embeddings/oleObject1.bin"/><Relationship Id="rId2" Type="http://schemas.openxmlformats.org/officeDocument/2006/relationships/slideLayout" Target="../slideLayouts/slideLayout127.xml"/><Relationship Id="rId16" Type="http://schemas.openxmlformats.org/officeDocument/2006/relationships/slideLayout" Target="../slideLayouts/slideLayout141.xml"/><Relationship Id="rId20" Type="http://schemas.openxmlformats.org/officeDocument/2006/relationships/slideLayout" Target="../slideLayouts/slideLayout145.xml"/><Relationship Id="rId29" Type="http://schemas.openxmlformats.org/officeDocument/2006/relationships/theme" Target="../theme/theme5.xml"/><Relationship Id="rId1" Type="http://schemas.openxmlformats.org/officeDocument/2006/relationships/slideLayout" Target="../slideLayouts/slideLayout126.xml"/><Relationship Id="rId6" Type="http://schemas.openxmlformats.org/officeDocument/2006/relationships/slideLayout" Target="../slideLayouts/slideLayout131.xml"/><Relationship Id="rId11" Type="http://schemas.openxmlformats.org/officeDocument/2006/relationships/slideLayout" Target="../slideLayouts/slideLayout136.xml"/><Relationship Id="rId24" Type="http://schemas.openxmlformats.org/officeDocument/2006/relationships/slideLayout" Target="../slideLayouts/slideLayout149.xml"/><Relationship Id="rId32" Type="http://schemas.openxmlformats.org/officeDocument/2006/relationships/tags" Target="../tags/tag2.xml"/><Relationship Id="rId5" Type="http://schemas.openxmlformats.org/officeDocument/2006/relationships/slideLayout" Target="../slideLayouts/slideLayout130.xml"/><Relationship Id="rId15" Type="http://schemas.openxmlformats.org/officeDocument/2006/relationships/slideLayout" Target="../slideLayouts/slideLayout140.xml"/><Relationship Id="rId23" Type="http://schemas.openxmlformats.org/officeDocument/2006/relationships/slideLayout" Target="../slideLayouts/slideLayout148.xml"/><Relationship Id="rId28" Type="http://schemas.openxmlformats.org/officeDocument/2006/relationships/slideLayout" Target="../slideLayouts/slideLayout153.xml"/><Relationship Id="rId10" Type="http://schemas.openxmlformats.org/officeDocument/2006/relationships/slideLayout" Target="../slideLayouts/slideLayout135.xml"/><Relationship Id="rId19" Type="http://schemas.openxmlformats.org/officeDocument/2006/relationships/slideLayout" Target="../slideLayouts/slideLayout144.xml"/><Relationship Id="rId31" Type="http://schemas.openxmlformats.org/officeDocument/2006/relationships/tags" Target="../tags/tag1.xml"/><Relationship Id="rId4" Type="http://schemas.openxmlformats.org/officeDocument/2006/relationships/slideLayout" Target="../slideLayouts/slideLayout129.xml"/><Relationship Id="rId9" Type="http://schemas.openxmlformats.org/officeDocument/2006/relationships/slideLayout" Target="../slideLayouts/slideLayout134.xml"/><Relationship Id="rId14" Type="http://schemas.openxmlformats.org/officeDocument/2006/relationships/slideLayout" Target="../slideLayouts/slideLayout139.xml"/><Relationship Id="rId22" Type="http://schemas.openxmlformats.org/officeDocument/2006/relationships/slideLayout" Target="../slideLayouts/slideLayout147.xml"/><Relationship Id="rId27" Type="http://schemas.openxmlformats.org/officeDocument/2006/relationships/slideLayout" Target="../slideLayouts/slideLayout152.xml"/><Relationship Id="rId30" Type="http://schemas.openxmlformats.org/officeDocument/2006/relationships/vmlDrawing" Target="../drawings/vmlDrawing1.v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61.xml"/><Relationship Id="rId13" Type="http://schemas.openxmlformats.org/officeDocument/2006/relationships/slideLayout" Target="../slideLayouts/slideLayout166.xml"/><Relationship Id="rId18" Type="http://schemas.openxmlformats.org/officeDocument/2006/relationships/slideLayout" Target="../slideLayouts/slideLayout171.xml"/><Relationship Id="rId26" Type="http://schemas.openxmlformats.org/officeDocument/2006/relationships/slideLayout" Target="../slideLayouts/slideLayout179.xml"/><Relationship Id="rId3" Type="http://schemas.openxmlformats.org/officeDocument/2006/relationships/slideLayout" Target="../slideLayouts/slideLayout156.xml"/><Relationship Id="rId21" Type="http://schemas.openxmlformats.org/officeDocument/2006/relationships/slideLayout" Target="../slideLayouts/slideLayout174.xml"/><Relationship Id="rId7" Type="http://schemas.openxmlformats.org/officeDocument/2006/relationships/slideLayout" Target="../slideLayouts/slideLayout160.xml"/><Relationship Id="rId12" Type="http://schemas.openxmlformats.org/officeDocument/2006/relationships/slideLayout" Target="../slideLayouts/slideLayout165.xml"/><Relationship Id="rId17" Type="http://schemas.openxmlformats.org/officeDocument/2006/relationships/slideLayout" Target="../slideLayouts/slideLayout170.xml"/><Relationship Id="rId25" Type="http://schemas.openxmlformats.org/officeDocument/2006/relationships/slideLayout" Target="../slideLayouts/slideLayout178.xml"/><Relationship Id="rId2" Type="http://schemas.openxmlformats.org/officeDocument/2006/relationships/slideLayout" Target="../slideLayouts/slideLayout155.xml"/><Relationship Id="rId16" Type="http://schemas.openxmlformats.org/officeDocument/2006/relationships/slideLayout" Target="../slideLayouts/slideLayout169.xml"/><Relationship Id="rId20" Type="http://schemas.openxmlformats.org/officeDocument/2006/relationships/slideLayout" Target="../slideLayouts/slideLayout173.xml"/><Relationship Id="rId29" Type="http://schemas.openxmlformats.org/officeDocument/2006/relationships/slideLayout" Target="../slideLayouts/slideLayout182.xml"/><Relationship Id="rId1" Type="http://schemas.openxmlformats.org/officeDocument/2006/relationships/slideLayout" Target="../slideLayouts/slideLayout154.xml"/><Relationship Id="rId6" Type="http://schemas.openxmlformats.org/officeDocument/2006/relationships/slideLayout" Target="../slideLayouts/slideLayout159.xml"/><Relationship Id="rId11" Type="http://schemas.openxmlformats.org/officeDocument/2006/relationships/slideLayout" Target="../slideLayouts/slideLayout164.xml"/><Relationship Id="rId24" Type="http://schemas.openxmlformats.org/officeDocument/2006/relationships/slideLayout" Target="../slideLayouts/slideLayout177.xml"/><Relationship Id="rId5" Type="http://schemas.openxmlformats.org/officeDocument/2006/relationships/slideLayout" Target="../slideLayouts/slideLayout158.xml"/><Relationship Id="rId15" Type="http://schemas.openxmlformats.org/officeDocument/2006/relationships/slideLayout" Target="../slideLayouts/slideLayout168.xml"/><Relationship Id="rId23" Type="http://schemas.openxmlformats.org/officeDocument/2006/relationships/slideLayout" Target="../slideLayouts/slideLayout176.xml"/><Relationship Id="rId28" Type="http://schemas.openxmlformats.org/officeDocument/2006/relationships/slideLayout" Target="../slideLayouts/slideLayout181.xml"/><Relationship Id="rId10" Type="http://schemas.openxmlformats.org/officeDocument/2006/relationships/slideLayout" Target="../slideLayouts/slideLayout163.xml"/><Relationship Id="rId19" Type="http://schemas.openxmlformats.org/officeDocument/2006/relationships/slideLayout" Target="../slideLayouts/slideLayout172.xml"/><Relationship Id="rId31" Type="http://schemas.openxmlformats.org/officeDocument/2006/relationships/theme" Target="../theme/theme6.xml"/><Relationship Id="rId4" Type="http://schemas.openxmlformats.org/officeDocument/2006/relationships/slideLayout" Target="../slideLayouts/slideLayout157.xml"/><Relationship Id="rId9" Type="http://schemas.openxmlformats.org/officeDocument/2006/relationships/slideLayout" Target="../slideLayouts/slideLayout162.xml"/><Relationship Id="rId14" Type="http://schemas.openxmlformats.org/officeDocument/2006/relationships/slideLayout" Target="../slideLayouts/slideLayout167.xml"/><Relationship Id="rId22" Type="http://schemas.openxmlformats.org/officeDocument/2006/relationships/slideLayout" Target="../slideLayouts/slideLayout175.xml"/><Relationship Id="rId27" Type="http://schemas.openxmlformats.org/officeDocument/2006/relationships/slideLayout" Target="../slideLayouts/slideLayout180.xml"/><Relationship Id="rId30" Type="http://schemas.openxmlformats.org/officeDocument/2006/relationships/slideLayout" Target="../slideLayouts/slideLayout183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1.xml"/><Relationship Id="rId13" Type="http://schemas.openxmlformats.org/officeDocument/2006/relationships/slideLayout" Target="../slideLayouts/slideLayout196.xml"/><Relationship Id="rId18" Type="http://schemas.openxmlformats.org/officeDocument/2006/relationships/slideLayout" Target="../slideLayouts/slideLayout201.xml"/><Relationship Id="rId26" Type="http://schemas.openxmlformats.org/officeDocument/2006/relationships/slideLayout" Target="../slideLayouts/slideLayout209.xml"/><Relationship Id="rId3" Type="http://schemas.openxmlformats.org/officeDocument/2006/relationships/slideLayout" Target="../slideLayouts/slideLayout186.xml"/><Relationship Id="rId21" Type="http://schemas.openxmlformats.org/officeDocument/2006/relationships/slideLayout" Target="../slideLayouts/slideLayout204.xml"/><Relationship Id="rId7" Type="http://schemas.openxmlformats.org/officeDocument/2006/relationships/slideLayout" Target="../slideLayouts/slideLayout190.xml"/><Relationship Id="rId12" Type="http://schemas.openxmlformats.org/officeDocument/2006/relationships/slideLayout" Target="../slideLayouts/slideLayout195.xml"/><Relationship Id="rId17" Type="http://schemas.openxmlformats.org/officeDocument/2006/relationships/slideLayout" Target="../slideLayouts/slideLayout200.xml"/><Relationship Id="rId25" Type="http://schemas.openxmlformats.org/officeDocument/2006/relationships/slideLayout" Target="../slideLayouts/slideLayout208.xml"/><Relationship Id="rId2" Type="http://schemas.openxmlformats.org/officeDocument/2006/relationships/slideLayout" Target="../slideLayouts/slideLayout185.xml"/><Relationship Id="rId16" Type="http://schemas.openxmlformats.org/officeDocument/2006/relationships/slideLayout" Target="../slideLayouts/slideLayout199.xml"/><Relationship Id="rId20" Type="http://schemas.openxmlformats.org/officeDocument/2006/relationships/slideLayout" Target="../slideLayouts/slideLayout203.xml"/><Relationship Id="rId1" Type="http://schemas.openxmlformats.org/officeDocument/2006/relationships/slideLayout" Target="../slideLayouts/slideLayout184.xml"/><Relationship Id="rId6" Type="http://schemas.openxmlformats.org/officeDocument/2006/relationships/slideLayout" Target="../slideLayouts/slideLayout189.xml"/><Relationship Id="rId11" Type="http://schemas.openxmlformats.org/officeDocument/2006/relationships/slideLayout" Target="../slideLayouts/slideLayout194.xml"/><Relationship Id="rId24" Type="http://schemas.openxmlformats.org/officeDocument/2006/relationships/slideLayout" Target="../slideLayouts/slideLayout207.xml"/><Relationship Id="rId5" Type="http://schemas.openxmlformats.org/officeDocument/2006/relationships/slideLayout" Target="../slideLayouts/slideLayout188.xml"/><Relationship Id="rId15" Type="http://schemas.openxmlformats.org/officeDocument/2006/relationships/slideLayout" Target="../slideLayouts/slideLayout198.xml"/><Relationship Id="rId23" Type="http://schemas.openxmlformats.org/officeDocument/2006/relationships/slideLayout" Target="../slideLayouts/slideLayout206.xml"/><Relationship Id="rId10" Type="http://schemas.openxmlformats.org/officeDocument/2006/relationships/slideLayout" Target="../slideLayouts/slideLayout193.xml"/><Relationship Id="rId19" Type="http://schemas.openxmlformats.org/officeDocument/2006/relationships/slideLayout" Target="../slideLayouts/slideLayout202.xml"/><Relationship Id="rId4" Type="http://schemas.openxmlformats.org/officeDocument/2006/relationships/slideLayout" Target="../slideLayouts/slideLayout187.xml"/><Relationship Id="rId9" Type="http://schemas.openxmlformats.org/officeDocument/2006/relationships/slideLayout" Target="../slideLayouts/slideLayout192.xml"/><Relationship Id="rId14" Type="http://schemas.openxmlformats.org/officeDocument/2006/relationships/slideLayout" Target="../slideLayouts/slideLayout197.xml"/><Relationship Id="rId22" Type="http://schemas.openxmlformats.org/officeDocument/2006/relationships/slideLayout" Target="../slideLayouts/slideLayout205.xml"/><Relationship Id="rId27" Type="http://schemas.openxmlformats.org/officeDocument/2006/relationships/theme" Target="../theme/theme7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7.xml"/><Relationship Id="rId13" Type="http://schemas.openxmlformats.org/officeDocument/2006/relationships/slideLayout" Target="../slideLayouts/slideLayout222.xml"/><Relationship Id="rId18" Type="http://schemas.openxmlformats.org/officeDocument/2006/relationships/slideLayout" Target="../slideLayouts/slideLayout227.xml"/><Relationship Id="rId26" Type="http://schemas.openxmlformats.org/officeDocument/2006/relationships/slideLayout" Target="../slideLayouts/slideLayout235.xml"/><Relationship Id="rId3" Type="http://schemas.openxmlformats.org/officeDocument/2006/relationships/slideLayout" Target="../slideLayouts/slideLayout212.xml"/><Relationship Id="rId21" Type="http://schemas.openxmlformats.org/officeDocument/2006/relationships/slideLayout" Target="../slideLayouts/slideLayout230.xml"/><Relationship Id="rId7" Type="http://schemas.openxmlformats.org/officeDocument/2006/relationships/slideLayout" Target="../slideLayouts/slideLayout216.xml"/><Relationship Id="rId12" Type="http://schemas.openxmlformats.org/officeDocument/2006/relationships/slideLayout" Target="../slideLayouts/slideLayout221.xml"/><Relationship Id="rId17" Type="http://schemas.openxmlformats.org/officeDocument/2006/relationships/slideLayout" Target="../slideLayouts/slideLayout226.xml"/><Relationship Id="rId25" Type="http://schemas.openxmlformats.org/officeDocument/2006/relationships/slideLayout" Target="../slideLayouts/slideLayout234.xml"/><Relationship Id="rId2" Type="http://schemas.openxmlformats.org/officeDocument/2006/relationships/slideLayout" Target="../slideLayouts/slideLayout211.xml"/><Relationship Id="rId16" Type="http://schemas.openxmlformats.org/officeDocument/2006/relationships/slideLayout" Target="../slideLayouts/slideLayout225.xml"/><Relationship Id="rId20" Type="http://schemas.openxmlformats.org/officeDocument/2006/relationships/slideLayout" Target="../slideLayouts/slideLayout229.xml"/><Relationship Id="rId29" Type="http://schemas.openxmlformats.org/officeDocument/2006/relationships/slideLayout" Target="../slideLayouts/slideLayout238.xml"/><Relationship Id="rId1" Type="http://schemas.openxmlformats.org/officeDocument/2006/relationships/slideLayout" Target="../slideLayouts/slideLayout210.xml"/><Relationship Id="rId6" Type="http://schemas.openxmlformats.org/officeDocument/2006/relationships/slideLayout" Target="../slideLayouts/slideLayout215.xml"/><Relationship Id="rId11" Type="http://schemas.openxmlformats.org/officeDocument/2006/relationships/slideLayout" Target="../slideLayouts/slideLayout220.xml"/><Relationship Id="rId24" Type="http://schemas.openxmlformats.org/officeDocument/2006/relationships/slideLayout" Target="../slideLayouts/slideLayout233.xml"/><Relationship Id="rId32" Type="http://schemas.openxmlformats.org/officeDocument/2006/relationships/theme" Target="../theme/theme8.xml"/><Relationship Id="rId5" Type="http://schemas.openxmlformats.org/officeDocument/2006/relationships/slideLayout" Target="../slideLayouts/slideLayout214.xml"/><Relationship Id="rId15" Type="http://schemas.openxmlformats.org/officeDocument/2006/relationships/slideLayout" Target="../slideLayouts/slideLayout224.xml"/><Relationship Id="rId23" Type="http://schemas.openxmlformats.org/officeDocument/2006/relationships/slideLayout" Target="../slideLayouts/slideLayout232.xml"/><Relationship Id="rId28" Type="http://schemas.openxmlformats.org/officeDocument/2006/relationships/slideLayout" Target="../slideLayouts/slideLayout237.xml"/><Relationship Id="rId10" Type="http://schemas.openxmlformats.org/officeDocument/2006/relationships/slideLayout" Target="../slideLayouts/slideLayout219.xml"/><Relationship Id="rId19" Type="http://schemas.openxmlformats.org/officeDocument/2006/relationships/slideLayout" Target="../slideLayouts/slideLayout228.xml"/><Relationship Id="rId31" Type="http://schemas.openxmlformats.org/officeDocument/2006/relationships/slideLayout" Target="../slideLayouts/slideLayout240.xml"/><Relationship Id="rId4" Type="http://schemas.openxmlformats.org/officeDocument/2006/relationships/slideLayout" Target="../slideLayouts/slideLayout213.xml"/><Relationship Id="rId9" Type="http://schemas.openxmlformats.org/officeDocument/2006/relationships/slideLayout" Target="../slideLayouts/slideLayout218.xml"/><Relationship Id="rId14" Type="http://schemas.openxmlformats.org/officeDocument/2006/relationships/slideLayout" Target="../slideLayouts/slideLayout223.xml"/><Relationship Id="rId22" Type="http://schemas.openxmlformats.org/officeDocument/2006/relationships/slideLayout" Target="../slideLayouts/slideLayout231.xml"/><Relationship Id="rId27" Type="http://schemas.openxmlformats.org/officeDocument/2006/relationships/slideLayout" Target="../slideLayouts/slideLayout236.xml"/><Relationship Id="rId30" Type="http://schemas.openxmlformats.org/officeDocument/2006/relationships/slideLayout" Target="../slideLayouts/slideLayout23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2"/>
        </a:solidFill>
        <a:effectLst/>
      </p:bgPr>
    </p:bg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Google Shape;11;p1"/>
          <p:cNvSpPr/>
          <p:nvPr/>
        </p:nvSpPr>
        <p:spPr>
          <a:xfrm>
            <a:off x="636907" y="6324615"/>
            <a:ext cx="4534800" cy="20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82100" tIns="41033" rIns="82100" bIns="41033" anchor="b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800" b="0" i="0">
                <a:solidFill>
                  <a:srgbClr val="B9BDC2"/>
                </a:solidFill>
                <a:latin typeface="CiscoSansTT ExtraLight" panose="020B0303020201020303" pitchFamily="34" charset="0"/>
                <a:ea typeface="Helvetica Neue Light"/>
                <a:cs typeface="CiscoSansTT ExtraLight" panose="020B0303020201020303" pitchFamily="34" charset="0"/>
                <a:sym typeface="Helvetica Neue Light"/>
              </a:rPr>
              <a:t>© 2020  Cisco and/or its affiliates. All rights reserved. Cisco Confidential</a:t>
            </a:r>
            <a:endParaRPr sz="800" b="0" i="0">
              <a:solidFill>
                <a:srgbClr val="B9BDC2"/>
              </a:solidFill>
              <a:latin typeface="CiscoSansTT ExtraLight" panose="020B0303020201020303" pitchFamily="34" charset="0"/>
              <a:ea typeface="Helvetica Neue Light"/>
              <a:cs typeface="CiscoSansTT ExtraLight" panose="020B0303020201020303" pitchFamily="34" charset="0"/>
              <a:sym typeface="Helvetica Neue Light"/>
            </a:endParaRPr>
          </a:p>
        </p:txBody>
      </p:sp>
      <p:sp>
        <p:nvSpPr>
          <p:cNvPr id="5" name="Google Shape;775;p184">
            <a:extLst>
              <a:ext uri="{FF2B5EF4-FFF2-40B4-BE49-F238E27FC236}">
                <a16:creationId xmlns:a16="http://schemas.microsoft.com/office/drawing/2014/main" id="{749EE712-55CA-5140-9777-7364460E6153}"/>
              </a:ext>
            </a:extLst>
          </p:cNvPr>
          <p:cNvSpPr txBox="1">
            <a:spLocks/>
          </p:cNvSpPr>
          <p:nvPr userDrawn="1"/>
        </p:nvSpPr>
        <p:spPr>
          <a:xfrm>
            <a:off x="6186316" y="2437540"/>
            <a:ext cx="3864400" cy="37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chemeClr val="tx1"/>
                </a:solidFill>
                <a:latin typeface="CiscoSansTT ExtraLight" panose="020B0303020201020303" pitchFamily="34" charset="0"/>
                <a:ea typeface="Arial"/>
                <a:cs typeface="CiscoSansTT ExtraLight" panose="020B0303020201020303" pitchFamily="34" charset="0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>
              <a:buSzPts val="800"/>
            </a:pPr>
            <a:endParaRPr lang="en-US" sz="2133">
              <a:ea typeface="Helvetica Neue Light"/>
              <a:sym typeface="Helvetica Neue Light"/>
            </a:endParaRPr>
          </a:p>
        </p:txBody>
      </p:sp>
      <p:sp>
        <p:nvSpPr>
          <p:cNvPr id="6" name="Google Shape;779;p184">
            <a:extLst>
              <a:ext uri="{FF2B5EF4-FFF2-40B4-BE49-F238E27FC236}">
                <a16:creationId xmlns:a16="http://schemas.microsoft.com/office/drawing/2014/main" id="{8BE808AE-5BD5-EA4B-9F3E-BA66E4D3B144}"/>
              </a:ext>
            </a:extLst>
          </p:cNvPr>
          <p:cNvSpPr txBox="1">
            <a:spLocks/>
          </p:cNvSpPr>
          <p:nvPr userDrawn="1"/>
        </p:nvSpPr>
        <p:spPr>
          <a:xfrm>
            <a:off x="6186316" y="3212879"/>
            <a:ext cx="3864400" cy="37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chemeClr val="tx1"/>
                </a:solidFill>
                <a:latin typeface="CiscoSansTT ExtraLight" panose="020B0303020201020303" pitchFamily="34" charset="0"/>
                <a:ea typeface="Arial"/>
                <a:cs typeface="CiscoSansTT ExtraLight" panose="020B0303020201020303" pitchFamily="34" charset="0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>
              <a:buSzPts val="800"/>
            </a:pPr>
            <a:endParaRPr lang="en-US" sz="2133">
              <a:ea typeface="Helvetica Neue Light"/>
              <a:sym typeface="Helvetica Neue Light"/>
            </a:endParaRPr>
          </a:p>
        </p:txBody>
      </p:sp>
      <p:sp>
        <p:nvSpPr>
          <p:cNvPr id="7" name="Google Shape;783;p184">
            <a:extLst>
              <a:ext uri="{FF2B5EF4-FFF2-40B4-BE49-F238E27FC236}">
                <a16:creationId xmlns:a16="http://schemas.microsoft.com/office/drawing/2014/main" id="{8C9BCFAB-4B90-6F45-8D08-8BBEFDC6D5BF}"/>
              </a:ext>
            </a:extLst>
          </p:cNvPr>
          <p:cNvSpPr txBox="1">
            <a:spLocks/>
          </p:cNvSpPr>
          <p:nvPr userDrawn="1"/>
        </p:nvSpPr>
        <p:spPr>
          <a:xfrm>
            <a:off x="6186316" y="3990549"/>
            <a:ext cx="3864400" cy="37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chemeClr val="tx1"/>
                </a:solidFill>
                <a:latin typeface="CiscoSansTT ExtraLight" panose="020B0303020201020303" pitchFamily="34" charset="0"/>
                <a:ea typeface="Arial"/>
                <a:cs typeface="CiscoSansTT ExtraLight" panose="020B0303020201020303" pitchFamily="34" charset="0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>
              <a:buSzPts val="800"/>
            </a:pPr>
            <a:endParaRPr lang="en-US" sz="2133">
              <a:ea typeface="Helvetica Neue Light"/>
              <a:sym typeface="Helvetica Neue Light"/>
            </a:endParaRPr>
          </a:p>
        </p:txBody>
      </p:sp>
      <p:sp>
        <p:nvSpPr>
          <p:cNvPr id="8" name="Google Shape;784;p184">
            <a:extLst>
              <a:ext uri="{FF2B5EF4-FFF2-40B4-BE49-F238E27FC236}">
                <a16:creationId xmlns:a16="http://schemas.microsoft.com/office/drawing/2014/main" id="{A9484629-4846-104D-A9BB-D25A81C2E273}"/>
              </a:ext>
            </a:extLst>
          </p:cNvPr>
          <p:cNvSpPr txBox="1">
            <a:spLocks/>
          </p:cNvSpPr>
          <p:nvPr userDrawn="1"/>
        </p:nvSpPr>
        <p:spPr>
          <a:xfrm>
            <a:off x="6186316" y="4761256"/>
            <a:ext cx="3864400" cy="37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chemeClr val="tx1"/>
                </a:solidFill>
                <a:latin typeface="CiscoSansTT ExtraLight" panose="020B0303020201020303" pitchFamily="34" charset="0"/>
                <a:ea typeface="Arial"/>
                <a:cs typeface="CiscoSansTT ExtraLight" panose="020B0303020201020303" pitchFamily="34" charset="0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>
              <a:buSzPts val="800"/>
            </a:pPr>
            <a:endParaRPr lang="en-US" sz="2133">
              <a:ea typeface="Helvetica Neue Light"/>
              <a:sym typeface="Helvetica Neue Light"/>
            </a:endParaRPr>
          </a:p>
        </p:txBody>
      </p:sp>
      <p:sp>
        <p:nvSpPr>
          <p:cNvPr id="9" name="Google Shape;788;p184">
            <a:extLst>
              <a:ext uri="{FF2B5EF4-FFF2-40B4-BE49-F238E27FC236}">
                <a16:creationId xmlns:a16="http://schemas.microsoft.com/office/drawing/2014/main" id="{CED24F07-DF3F-3447-81C6-A74561F8A89E}"/>
              </a:ext>
            </a:extLst>
          </p:cNvPr>
          <p:cNvSpPr txBox="1">
            <a:spLocks/>
          </p:cNvSpPr>
          <p:nvPr userDrawn="1"/>
        </p:nvSpPr>
        <p:spPr>
          <a:xfrm>
            <a:off x="6186316" y="5537275"/>
            <a:ext cx="3864400" cy="37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chemeClr val="tx1"/>
                </a:solidFill>
                <a:latin typeface="CiscoSansTT ExtraLight" panose="020B0303020201020303" pitchFamily="34" charset="0"/>
                <a:ea typeface="Arial"/>
                <a:cs typeface="CiscoSansTT ExtraLight" panose="020B0303020201020303" pitchFamily="34" charset="0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>
              <a:buSzPts val="800"/>
            </a:pPr>
            <a:r>
              <a:rPr lang="en-US" sz="2133">
                <a:ea typeface="Helvetica Neue Light"/>
                <a:sym typeface="Helvetica Neue Light"/>
              </a:rPr>
              <a:t> </a:t>
            </a: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EBF62DC0-0655-46BE-8152-184906C1E57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667" y="709084"/>
            <a:ext cx="10752667" cy="903816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192C60F-F632-4C69-95CF-8B18577901A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19667" y="2070100"/>
            <a:ext cx="10752667" cy="3598333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B61F8B3-4055-4C20-963A-238ADF1932E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216400" y="6121401"/>
            <a:ext cx="7255933" cy="353484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sz="800">
                <a:solidFill>
                  <a:schemeClr val="tx1"/>
                </a:solidFill>
                <a:latin typeface="+mn-lt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66845005"/>
      </p:ext>
    </p:extLst>
  </p:cSld>
  <p:clrMap bg1="lt1" tx1="dk1" bg2="dk2" tx2="lt2" accent1="accent1" accent2="accent2" accent3="accent3" accent4="accent4" accent5="accent5" accent6="accent6" hlink="hlink" folHlink="folHlink"/>
  <p:sldLayoutIdLst>
    <p:sldLayoutId id="2147485137" r:id="rId1"/>
    <p:sldLayoutId id="2147485138" r:id="rId2"/>
    <p:sldLayoutId id="2147485139" r:id="rId3"/>
    <p:sldLayoutId id="2147485140" r:id="rId4"/>
    <p:sldLayoutId id="2147485141" r:id="rId5"/>
    <p:sldLayoutId id="2147485142" r:id="rId6"/>
    <p:sldLayoutId id="2147485143" r:id="rId7"/>
    <p:sldLayoutId id="2147485144" r:id="rId8"/>
    <p:sldLayoutId id="2147485145" r:id="rId9"/>
    <p:sldLayoutId id="2147485146" r:id="rId10"/>
    <p:sldLayoutId id="2147485147" r:id="rId11"/>
    <p:sldLayoutId id="2147485148" r:id="rId12"/>
    <p:sldLayoutId id="2147485149" r:id="rId13"/>
    <p:sldLayoutId id="2147485150" r:id="rId14"/>
    <p:sldLayoutId id="2147485151" r:id="rId15"/>
    <p:sldLayoutId id="2147485152" r:id="rId16"/>
    <p:sldLayoutId id="2147485153" r:id="rId17"/>
    <p:sldLayoutId id="2147485154" r:id="rId18"/>
    <p:sldLayoutId id="2147485155" r:id="rId19"/>
    <p:sldLayoutId id="2147485156" r:id="rId20"/>
    <p:sldLayoutId id="2147485157" r:id="rId21"/>
    <p:sldLayoutId id="2147485158" r:id="rId22"/>
    <p:sldLayoutId id="2147485159" r:id="rId23"/>
    <p:sldLayoutId id="2147485160" r:id="rId24"/>
    <p:sldLayoutId id="2147485161" r:id="rId25"/>
    <p:sldLayoutId id="2147485162" r:id="rId26"/>
    <p:sldLayoutId id="2147485163" r:id="rId27"/>
    <p:sldLayoutId id="2147485164" r:id="rId28"/>
    <p:sldLayoutId id="2147485165" r:id="rId29"/>
    <p:sldLayoutId id="2147485166" r:id="rId30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4000" b="0" i="0" u="none" strike="noStrike" cap="none">
          <a:solidFill>
            <a:schemeClr val="bg2"/>
          </a:solidFill>
          <a:latin typeface="+mj-lt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10000"/>
        </a:lnSpc>
        <a:spcBef>
          <a:spcPts val="0"/>
        </a:spcBef>
        <a:spcAft>
          <a:spcPts val="1600"/>
        </a:spcAft>
        <a:buClr>
          <a:srgbClr val="000000"/>
        </a:buClr>
        <a:buFont typeface="Arial"/>
        <a:defRPr sz="1400" b="0" i="0" u="none" strike="noStrike" cap="none">
          <a:solidFill>
            <a:schemeClr val="tx1"/>
          </a:solidFill>
          <a:latin typeface="+mn-lt"/>
          <a:ea typeface="Arial"/>
          <a:cs typeface="Arial"/>
          <a:sym typeface="Arial"/>
        </a:defRPr>
      </a:lvl1pPr>
      <a:lvl2pPr marL="143996" marR="0" lvl="1" indent="143996" algn="l" rtl="0">
        <a:lnSpc>
          <a:spcPct val="110000"/>
        </a:lnSpc>
        <a:spcBef>
          <a:spcPts val="0"/>
        </a:spcBef>
        <a:spcAft>
          <a:spcPts val="1600"/>
        </a:spcAft>
        <a:buClr>
          <a:srgbClr val="000000"/>
        </a:buClr>
        <a:buFont typeface="Arial"/>
        <a:defRPr sz="1400" b="0" i="0" u="none" strike="noStrike" cap="none">
          <a:solidFill>
            <a:schemeClr val="tx1"/>
          </a:solidFill>
          <a:latin typeface="+mn-lt"/>
          <a:ea typeface="Arial"/>
          <a:cs typeface="Arial"/>
          <a:sym typeface="Arial"/>
        </a:defRPr>
      </a:lvl2pPr>
      <a:lvl3pPr marL="287993" marR="0" lvl="2" indent="287993" algn="l" rtl="0">
        <a:lnSpc>
          <a:spcPct val="110000"/>
        </a:lnSpc>
        <a:spcBef>
          <a:spcPts val="0"/>
        </a:spcBef>
        <a:spcAft>
          <a:spcPts val="1600"/>
        </a:spcAft>
        <a:buClr>
          <a:srgbClr val="000000"/>
        </a:buClr>
        <a:buFont typeface="Arial"/>
        <a:defRPr sz="1400" b="0" i="0" u="none" strike="noStrike" cap="none">
          <a:solidFill>
            <a:schemeClr val="tx1"/>
          </a:solidFill>
          <a:latin typeface="+mn-lt"/>
          <a:ea typeface="Arial"/>
          <a:cs typeface="Arial"/>
          <a:sym typeface="Arial"/>
        </a:defRPr>
      </a:lvl3pPr>
      <a:lvl4pPr marL="431989" marR="0" lvl="3" indent="431989" algn="l" rtl="0">
        <a:lnSpc>
          <a:spcPct val="110000"/>
        </a:lnSpc>
        <a:spcBef>
          <a:spcPts val="0"/>
        </a:spcBef>
        <a:spcAft>
          <a:spcPts val="1600"/>
        </a:spcAft>
        <a:buClr>
          <a:srgbClr val="000000"/>
        </a:buClr>
        <a:buFont typeface="Arial"/>
        <a:defRPr sz="1400" b="0" i="0" u="none" strike="noStrike" cap="none">
          <a:solidFill>
            <a:schemeClr val="tx1"/>
          </a:solidFill>
          <a:latin typeface="+mn-lt"/>
          <a:ea typeface="Arial"/>
          <a:cs typeface="Arial"/>
          <a:sym typeface="Arial"/>
        </a:defRPr>
      </a:lvl4pPr>
      <a:lvl5pPr marL="575986" marR="0" lvl="4" indent="575986" algn="l" rtl="0">
        <a:lnSpc>
          <a:spcPct val="110000"/>
        </a:lnSpc>
        <a:spcBef>
          <a:spcPts val="0"/>
        </a:spcBef>
        <a:spcAft>
          <a:spcPts val="1600"/>
        </a:spcAft>
        <a:buClr>
          <a:srgbClr val="000000"/>
        </a:buClr>
        <a:buFont typeface="Arial"/>
        <a:defRPr sz="1400" b="0" i="0" u="none" strike="noStrike" cap="none">
          <a:solidFill>
            <a:schemeClr val="tx1"/>
          </a:solidFill>
          <a:latin typeface="+mn-lt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856">
          <p15:clr>
            <a:srgbClr val="F26B43"/>
          </p15:clr>
        </p15:guide>
        <p15:guide id="2" pos="453">
          <p15:clr>
            <a:srgbClr val="F26B43"/>
          </p15:clr>
        </p15:guide>
        <p15:guide id="3" pos="7227">
          <p15:clr>
            <a:srgbClr val="F26B43"/>
          </p15:clr>
        </p15:guide>
        <p15:guide id="5" orient="horz" pos="447">
          <p15:clr>
            <a:srgbClr val="F26B43"/>
          </p15:clr>
        </p15:guide>
        <p15:guide id="6" pos="3840">
          <p15:clr>
            <a:srgbClr val="F26B43"/>
          </p15:clr>
        </p15:guide>
        <p15:guide id="8">
          <p15:clr>
            <a:srgbClr val="F26B43"/>
          </p15:clr>
        </p15:guide>
        <p15:guide id="9" orient="horz">
          <p15:clr>
            <a:srgbClr val="F26B43"/>
          </p15:clr>
        </p15:guide>
        <p15:guide id="10" orient="horz" pos="4320">
          <p15:clr>
            <a:srgbClr val="F26B43"/>
          </p15:clr>
        </p15:guide>
        <p15:guide id="11" orient="horz" pos="4079">
          <p15:clr>
            <a:srgbClr val="F26B43"/>
          </p15:clr>
        </p15:guide>
        <p15:guide id="12" pos="7683">
          <p15:clr>
            <a:srgbClr val="F26B43"/>
          </p15:clr>
        </p15:guide>
        <p15:guide id="14" pos="1016">
          <p15:clr>
            <a:srgbClr val="5ACBF0"/>
          </p15:clr>
        </p15:guide>
        <p15:guide id="15" pos="1584">
          <p15:clr>
            <a:srgbClr val="5ACBF0"/>
          </p15:clr>
        </p15:guide>
        <p15:guide id="16" pos="2147">
          <p15:clr>
            <a:srgbClr val="5ACBF0"/>
          </p15:clr>
        </p15:guide>
        <p15:guide id="17" pos="2708">
          <p15:clr>
            <a:srgbClr val="5ACBF0"/>
          </p15:clr>
        </p15:guide>
        <p15:guide id="18" pos="3276">
          <p15:clr>
            <a:srgbClr val="5ACBF0"/>
          </p15:clr>
        </p15:guide>
        <p15:guide id="19" pos="5532">
          <p15:clr>
            <a:srgbClr val="5ACBF0"/>
          </p15:clr>
        </p15:guide>
        <p15:guide id="20" pos="4404">
          <p15:clr>
            <a:srgbClr val="5ACBF0"/>
          </p15:clr>
        </p15:guide>
        <p15:guide id="21" pos="4968">
          <p15:clr>
            <a:srgbClr val="5ACBF0"/>
          </p15:clr>
        </p15:guide>
        <p15:guide id="23" pos="6100">
          <p15:clr>
            <a:srgbClr val="5ACBF0"/>
          </p15:clr>
        </p15:guide>
        <p15:guide id="24" pos="6664">
          <p15:clr>
            <a:srgbClr val="5ACBF0"/>
          </p15:clr>
        </p15:guide>
        <p15:guide id="26" orient="horz" pos="728">
          <p15:clr>
            <a:srgbClr val="5ACBF0"/>
          </p15:clr>
        </p15:guide>
        <p15:guide id="27" orient="horz" pos="1016">
          <p15:clr>
            <a:srgbClr val="5ACBF0"/>
          </p15:clr>
        </p15:guide>
        <p15:guide id="28" orient="horz" pos="1304">
          <p15:clr>
            <a:srgbClr val="5ACBF0"/>
          </p15:clr>
        </p15:guide>
        <p15:guide id="29" orient="horz" pos="1587">
          <p15:clr>
            <a:srgbClr val="5ACBF0"/>
          </p15:clr>
        </p15:guide>
        <p15:guide id="30" orient="horz" pos="1869">
          <p15:clr>
            <a:srgbClr val="5ACBF0"/>
          </p15:clr>
        </p15:guide>
        <p15:guide id="31" orient="horz" pos="2152">
          <p15:clr>
            <a:srgbClr val="5ACBF0"/>
          </p15:clr>
        </p15:guide>
        <p15:guide id="32" orient="horz" pos="2429">
          <p15:clr>
            <a:srgbClr val="5ACBF0"/>
          </p15:clr>
        </p15:guide>
        <p15:guide id="33" orient="horz" pos="2723">
          <p15:clr>
            <a:srgbClr val="5ACBF0"/>
          </p15:clr>
        </p15:guide>
        <p15:guide id="34" orient="horz" pos="3005">
          <p15:clr>
            <a:srgbClr val="5ACBF0"/>
          </p15:clr>
        </p15:guide>
        <p15:guide id="35" orient="horz" pos="3283">
          <p15:clr>
            <a:srgbClr val="5ACBF0"/>
          </p15:clr>
        </p15:guide>
        <p15:guide id="36" orient="horz" pos="3571">
          <p15:clr>
            <a:srgbClr val="5ACBF0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2"/>
        </a:solidFill>
        <a:effectLst/>
      </p:bgPr>
    </p:bg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Google Shape;11;p1"/>
          <p:cNvSpPr/>
          <p:nvPr/>
        </p:nvSpPr>
        <p:spPr>
          <a:xfrm>
            <a:off x="636907" y="6324615"/>
            <a:ext cx="4534800" cy="20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82100" tIns="41033" rIns="82100" bIns="41033" anchor="b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800" b="0" i="0">
                <a:solidFill>
                  <a:srgbClr val="B9BDC2"/>
                </a:solidFill>
                <a:latin typeface="CiscoSansTT ExtraLight" panose="020B0303020201020303" pitchFamily="34" charset="0"/>
                <a:ea typeface="Helvetica Neue Light"/>
                <a:cs typeface="CiscoSansTT ExtraLight" panose="020B0303020201020303" pitchFamily="34" charset="0"/>
                <a:sym typeface="Helvetica Neue Light"/>
              </a:rPr>
              <a:t>© 2020  Cisco and/or its affiliates. All rights reserved. Cisco Confidential</a:t>
            </a:r>
            <a:endParaRPr sz="800" b="0" i="0">
              <a:solidFill>
                <a:srgbClr val="B9BDC2"/>
              </a:solidFill>
              <a:latin typeface="CiscoSansTT ExtraLight" panose="020B0303020201020303" pitchFamily="34" charset="0"/>
              <a:ea typeface="Helvetica Neue Light"/>
              <a:cs typeface="CiscoSansTT ExtraLight" panose="020B0303020201020303" pitchFamily="34" charset="0"/>
              <a:sym typeface="Helvetica Neue Light"/>
            </a:endParaRPr>
          </a:p>
        </p:txBody>
      </p:sp>
      <p:sp>
        <p:nvSpPr>
          <p:cNvPr id="5" name="Google Shape;775;p184">
            <a:extLst>
              <a:ext uri="{FF2B5EF4-FFF2-40B4-BE49-F238E27FC236}">
                <a16:creationId xmlns:a16="http://schemas.microsoft.com/office/drawing/2014/main" id="{749EE712-55CA-5140-9777-7364460E6153}"/>
              </a:ext>
            </a:extLst>
          </p:cNvPr>
          <p:cNvSpPr txBox="1">
            <a:spLocks/>
          </p:cNvSpPr>
          <p:nvPr userDrawn="1"/>
        </p:nvSpPr>
        <p:spPr>
          <a:xfrm>
            <a:off x="6186316" y="2437540"/>
            <a:ext cx="3864400" cy="37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chemeClr val="tx1"/>
                </a:solidFill>
                <a:latin typeface="CiscoSansTT ExtraLight" panose="020B0303020201020303" pitchFamily="34" charset="0"/>
                <a:ea typeface="Arial"/>
                <a:cs typeface="CiscoSansTT ExtraLight" panose="020B0303020201020303" pitchFamily="34" charset="0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>
              <a:buSzPts val="800"/>
            </a:pPr>
            <a:endParaRPr lang="en-US" sz="2133">
              <a:ea typeface="Helvetica Neue Light"/>
              <a:sym typeface="Helvetica Neue Light"/>
            </a:endParaRPr>
          </a:p>
        </p:txBody>
      </p:sp>
      <p:sp>
        <p:nvSpPr>
          <p:cNvPr id="6" name="Google Shape;779;p184">
            <a:extLst>
              <a:ext uri="{FF2B5EF4-FFF2-40B4-BE49-F238E27FC236}">
                <a16:creationId xmlns:a16="http://schemas.microsoft.com/office/drawing/2014/main" id="{8BE808AE-5BD5-EA4B-9F3E-BA66E4D3B144}"/>
              </a:ext>
            </a:extLst>
          </p:cNvPr>
          <p:cNvSpPr txBox="1">
            <a:spLocks/>
          </p:cNvSpPr>
          <p:nvPr userDrawn="1"/>
        </p:nvSpPr>
        <p:spPr>
          <a:xfrm>
            <a:off x="6186316" y="3212879"/>
            <a:ext cx="3864400" cy="37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chemeClr val="tx1"/>
                </a:solidFill>
                <a:latin typeface="CiscoSansTT ExtraLight" panose="020B0303020201020303" pitchFamily="34" charset="0"/>
                <a:ea typeface="Arial"/>
                <a:cs typeface="CiscoSansTT ExtraLight" panose="020B0303020201020303" pitchFamily="34" charset="0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>
              <a:buSzPts val="800"/>
            </a:pPr>
            <a:endParaRPr lang="en-US" sz="2133">
              <a:ea typeface="Helvetica Neue Light"/>
              <a:sym typeface="Helvetica Neue Light"/>
            </a:endParaRPr>
          </a:p>
        </p:txBody>
      </p:sp>
      <p:sp>
        <p:nvSpPr>
          <p:cNvPr id="7" name="Google Shape;783;p184">
            <a:extLst>
              <a:ext uri="{FF2B5EF4-FFF2-40B4-BE49-F238E27FC236}">
                <a16:creationId xmlns:a16="http://schemas.microsoft.com/office/drawing/2014/main" id="{8C9BCFAB-4B90-6F45-8D08-8BBEFDC6D5BF}"/>
              </a:ext>
            </a:extLst>
          </p:cNvPr>
          <p:cNvSpPr txBox="1">
            <a:spLocks/>
          </p:cNvSpPr>
          <p:nvPr userDrawn="1"/>
        </p:nvSpPr>
        <p:spPr>
          <a:xfrm>
            <a:off x="6186316" y="3990549"/>
            <a:ext cx="3864400" cy="37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chemeClr val="tx1"/>
                </a:solidFill>
                <a:latin typeface="CiscoSansTT ExtraLight" panose="020B0303020201020303" pitchFamily="34" charset="0"/>
                <a:ea typeface="Arial"/>
                <a:cs typeface="CiscoSansTT ExtraLight" panose="020B0303020201020303" pitchFamily="34" charset="0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>
              <a:buSzPts val="800"/>
            </a:pPr>
            <a:endParaRPr lang="en-US" sz="2133">
              <a:ea typeface="Helvetica Neue Light"/>
              <a:sym typeface="Helvetica Neue Light"/>
            </a:endParaRPr>
          </a:p>
        </p:txBody>
      </p:sp>
      <p:sp>
        <p:nvSpPr>
          <p:cNvPr id="8" name="Google Shape;784;p184">
            <a:extLst>
              <a:ext uri="{FF2B5EF4-FFF2-40B4-BE49-F238E27FC236}">
                <a16:creationId xmlns:a16="http://schemas.microsoft.com/office/drawing/2014/main" id="{A9484629-4846-104D-A9BB-D25A81C2E273}"/>
              </a:ext>
            </a:extLst>
          </p:cNvPr>
          <p:cNvSpPr txBox="1">
            <a:spLocks/>
          </p:cNvSpPr>
          <p:nvPr userDrawn="1"/>
        </p:nvSpPr>
        <p:spPr>
          <a:xfrm>
            <a:off x="6186316" y="4761256"/>
            <a:ext cx="3864400" cy="37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chemeClr val="tx1"/>
                </a:solidFill>
                <a:latin typeface="CiscoSansTT ExtraLight" panose="020B0303020201020303" pitchFamily="34" charset="0"/>
                <a:ea typeface="Arial"/>
                <a:cs typeface="CiscoSansTT ExtraLight" panose="020B0303020201020303" pitchFamily="34" charset="0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>
              <a:buSzPts val="800"/>
            </a:pPr>
            <a:endParaRPr lang="en-US" sz="2133">
              <a:ea typeface="Helvetica Neue Light"/>
              <a:sym typeface="Helvetica Neue Light"/>
            </a:endParaRPr>
          </a:p>
        </p:txBody>
      </p:sp>
      <p:sp>
        <p:nvSpPr>
          <p:cNvPr id="9" name="Google Shape;788;p184">
            <a:extLst>
              <a:ext uri="{FF2B5EF4-FFF2-40B4-BE49-F238E27FC236}">
                <a16:creationId xmlns:a16="http://schemas.microsoft.com/office/drawing/2014/main" id="{CED24F07-DF3F-3447-81C6-A74561F8A89E}"/>
              </a:ext>
            </a:extLst>
          </p:cNvPr>
          <p:cNvSpPr txBox="1">
            <a:spLocks/>
          </p:cNvSpPr>
          <p:nvPr userDrawn="1"/>
        </p:nvSpPr>
        <p:spPr>
          <a:xfrm>
            <a:off x="6186316" y="5537275"/>
            <a:ext cx="3864400" cy="37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chemeClr val="tx1"/>
                </a:solidFill>
                <a:latin typeface="CiscoSansTT ExtraLight" panose="020B0303020201020303" pitchFamily="34" charset="0"/>
                <a:ea typeface="Arial"/>
                <a:cs typeface="CiscoSansTT ExtraLight" panose="020B0303020201020303" pitchFamily="34" charset="0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>
              <a:buSzPts val="800"/>
            </a:pPr>
            <a:r>
              <a:rPr lang="en-US" sz="2133">
                <a:ea typeface="Helvetica Neue Light"/>
                <a:sym typeface="Helvetica Neue Light"/>
              </a:rPr>
              <a:t> </a:t>
            </a: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EBF62DC0-0655-46BE-8152-184906C1E57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667" y="709084"/>
            <a:ext cx="10752667" cy="90381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192C60F-F632-4C69-95CF-8B18577901A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19667" y="2070100"/>
            <a:ext cx="10752667" cy="3598333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B61F8B3-4055-4C20-963A-238ADF1932E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216400" y="6121401"/>
            <a:ext cx="7255933" cy="353484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sz="800">
                <a:solidFill>
                  <a:schemeClr val="tx1"/>
                </a:solidFill>
                <a:latin typeface="+mn-lt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11145368"/>
      </p:ext>
    </p:extLst>
  </p:cSld>
  <p:clrMap bg1="lt1" tx1="dk1" bg2="dk2" tx2="lt2" accent1="accent1" accent2="accent2" accent3="accent3" accent4="accent4" accent5="accent5" accent6="accent6" hlink="hlink" folHlink="folHlink"/>
  <p:sldLayoutIdLst>
    <p:sldLayoutId id="2147485169" r:id="rId1"/>
    <p:sldLayoutId id="2147485170" r:id="rId2"/>
    <p:sldLayoutId id="2147485171" r:id="rId3"/>
    <p:sldLayoutId id="2147485172" r:id="rId4"/>
    <p:sldLayoutId id="2147485173" r:id="rId5"/>
    <p:sldLayoutId id="2147485174" r:id="rId6"/>
    <p:sldLayoutId id="2147485175" r:id="rId7"/>
    <p:sldLayoutId id="2147485176" r:id="rId8"/>
    <p:sldLayoutId id="2147485177" r:id="rId9"/>
    <p:sldLayoutId id="2147485178" r:id="rId10"/>
    <p:sldLayoutId id="2147485179" r:id="rId11"/>
    <p:sldLayoutId id="2147485180" r:id="rId12"/>
    <p:sldLayoutId id="2147485181" r:id="rId13"/>
    <p:sldLayoutId id="2147485182" r:id="rId14"/>
    <p:sldLayoutId id="2147485183" r:id="rId15"/>
    <p:sldLayoutId id="2147485184" r:id="rId16"/>
    <p:sldLayoutId id="2147485185" r:id="rId17"/>
    <p:sldLayoutId id="2147485186" r:id="rId18"/>
    <p:sldLayoutId id="2147485187" r:id="rId19"/>
    <p:sldLayoutId id="2147485188" r:id="rId20"/>
    <p:sldLayoutId id="2147485189" r:id="rId21"/>
    <p:sldLayoutId id="2147485190" r:id="rId22"/>
    <p:sldLayoutId id="2147485191" r:id="rId23"/>
    <p:sldLayoutId id="2147485192" r:id="rId24"/>
    <p:sldLayoutId id="2147485193" r:id="rId25"/>
    <p:sldLayoutId id="2147485194" r:id="rId26"/>
    <p:sldLayoutId id="2147485195" r:id="rId27"/>
    <p:sldLayoutId id="2147485196" r:id="rId28"/>
    <p:sldLayoutId id="2147485197" r:id="rId29"/>
    <p:sldLayoutId id="2147485198" r:id="rId30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4000" b="0" i="0" u="none" strike="noStrike" cap="none">
          <a:solidFill>
            <a:schemeClr val="bg2"/>
          </a:solidFill>
          <a:latin typeface="+mj-lt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10000"/>
        </a:lnSpc>
        <a:spcBef>
          <a:spcPts val="0"/>
        </a:spcBef>
        <a:spcAft>
          <a:spcPts val="1600"/>
        </a:spcAft>
        <a:buClr>
          <a:srgbClr val="000000"/>
        </a:buClr>
        <a:buFont typeface="Arial"/>
        <a:defRPr sz="1333" b="0" i="0" u="none" strike="noStrike" cap="none">
          <a:solidFill>
            <a:schemeClr val="tx1"/>
          </a:solidFill>
          <a:latin typeface="+mn-lt"/>
          <a:ea typeface="Arial"/>
          <a:cs typeface="Arial"/>
          <a:sym typeface="Arial"/>
        </a:defRPr>
      </a:lvl1pPr>
      <a:lvl2pPr marL="143996" marR="0" lvl="1" indent="143996" algn="l" rtl="0">
        <a:lnSpc>
          <a:spcPct val="110000"/>
        </a:lnSpc>
        <a:spcBef>
          <a:spcPts val="0"/>
        </a:spcBef>
        <a:spcAft>
          <a:spcPts val="1600"/>
        </a:spcAft>
        <a:buClr>
          <a:srgbClr val="000000"/>
        </a:buClr>
        <a:buFont typeface="Arial"/>
        <a:defRPr sz="1333" b="0" i="0" u="none" strike="noStrike" cap="none">
          <a:solidFill>
            <a:schemeClr val="tx1"/>
          </a:solidFill>
          <a:latin typeface="+mn-lt"/>
          <a:ea typeface="Arial"/>
          <a:cs typeface="Arial"/>
          <a:sym typeface="Arial"/>
        </a:defRPr>
      </a:lvl2pPr>
      <a:lvl3pPr marL="287993" marR="0" lvl="2" indent="287993" algn="l" rtl="0">
        <a:lnSpc>
          <a:spcPct val="110000"/>
        </a:lnSpc>
        <a:spcBef>
          <a:spcPts val="0"/>
        </a:spcBef>
        <a:spcAft>
          <a:spcPts val="1600"/>
        </a:spcAft>
        <a:buClr>
          <a:srgbClr val="000000"/>
        </a:buClr>
        <a:buFont typeface="Arial"/>
        <a:defRPr sz="1333" b="0" i="0" u="none" strike="noStrike" cap="none">
          <a:solidFill>
            <a:schemeClr val="tx1"/>
          </a:solidFill>
          <a:latin typeface="+mn-lt"/>
          <a:ea typeface="Arial"/>
          <a:cs typeface="Arial"/>
          <a:sym typeface="Arial"/>
        </a:defRPr>
      </a:lvl3pPr>
      <a:lvl4pPr marL="431989" marR="0" lvl="3" indent="431989" algn="l" rtl="0">
        <a:lnSpc>
          <a:spcPct val="110000"/>
        </a:lnSpc>
        <a:spcBef>
          <a:spcPts val="0"/>
        </a:spcBef>
        <a:spcAft>
          <a:spcPts val="1600"/>
        </a:spcAft>
        <a:buClr>
          <a:srgbClr val="000000"/>
        </a:buClr>
        <a:buFont typeface="Arial"/>
        <a:defRPr sz="1333" b="0" i="0" u="none" strike="noStrike" cap="none">
          <a:solidFill>
            <a:schemeClr val="tx1"/>
          </a:solidFill>
          <a:latin typeface="+mn-lt"/>
          <a:ea typeface="Arial"/>
          <a:cs typeface="Arial"/>
          <a:sym typeface="Arial"/>
        </a:defRPr>
      </a:lvl4pPr>
      <a:lvl5pPr marL="575986" marR="0" lvl="4" indent="575986" algn="l" rtl="0">
        <a:lnSpc>
          <a:spcPct val="110000"/>
        </a:lnSpc>
        <a:spcBef>
          <a:spcPts val="0"/>
        </a:spcBef>
        <a:spcAft>
          <a:spcPts val="1600"/>
        </a:spcAft>
        <a:buClr>
          <a:srgbClr val="000000"/>
        </a:buClr>
        <a:buFont typeface="Arial"/>
        <a:defRPr sz="1333" b="0" i="0" u="none" strike="noStrike" cap="none">
          <a:solidFill>
            <a:schemeClr val="tx1"/>
          </a:solidFill>
          <a:latin typeface="+mn-lt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892">
          <p15:clr>
            <a:srgbClr val="F26B43"/>
          </p15:clr>
        </p15:guide>
        <p15:guide id="2" pos="340">
          <p15:clr>
            <a:srgbClr val="F26B43"/>
          </p15:clr>
        </p15:guide>
        <p15:guide id="3" pos="5420">
          <p15:clr>
            <a:srgbClr val="F26B43"/>
          </p15:clr>
        </p15:guide>
        <p15:guide id="5" orient="horz" pos="335">
          <p15:clr>
            <a:srgbClr val="F26B43"/>
          </p15:clr>
        </p15:guide>
        <p15:guide id="6" pos="2880">
          <p15:clr>
            <a:srgbClr val="F26B43"/>
          </p15:clr>
        </p15:guide>
        <p15:guide id="8">
          <p15:clr>
            <a:srgbClr val="F26B43"/>
          </p15:clr>
        </p15:guide>
        <p15:guide id="9" orient="horz">
          <p15:clr>
            <a:srgbClr val="F26B43"/>
          </p15:clr>
        </p15:guide>
        <p15:guide id="10" orient="horz" pos="3240">
          <p15:clr>
            <a:srgbClr val="F26B43"/>
          </p15:clr>
        </p15:guide>
        <p15:guide id="11" orient="horz" pos="3059">
          <p15:clr>
            <a:srgbClr val="F26B43"/>
          </p15:clr>
        </p15:guide>
        <p15:guide id="12" pos="5762">
          <p15:clr>
            <a:srgbClr val="F26B43"/>
          </p15:clr>
        </p15:guide>
        <p15:guide id="14" pos="762">
          <p15:clr>
            <a:srgbClr val="5ACBF0"/>
          </p15:clr>
        </p15:guide>
        <p15:guide id="15" pos="1188">
          <p15:clr>
            <a:srgbClr val="5ACBF0"/>
          </p15:clr>
        </p15:guide>
        <p15:guide id="16" pos="1610">
          <p15:clr>
            <a:srgbClr val="5ACBF0"/>
          </p15:clr>
        </p15:guide>
        <p15:guide id="17" pos="2031">
          <p15:clr>
            <a:srgbClr val="5ACBF0"/>
          </p15:clr>
        </p15:guide>
        <p15:guide id="18" pos="2457">
          <p15:clr>
            <a:srgbClr val="5ACBF0"/>
          </p15:clr>
        </p15:guide>
        <p15:guide id="19" pos="4149">
          <p15:clr>
            <a:srgbClr val="5ACBF0"/>
          </p15:clr>
        </p15:guide>
        <p15:guide id="20" pos="3303">
          <p15:clr>
            <a:srgbClr val="5ACBF0"/>
          </p15:clr>
        </p15:guide>
        <p15:guide id="21" pos="3726">
          <p15:clr>
            <a:srgbClr val="5ACBF0"/>
          </p15:clr>
        </p15:guide>
        <p15:guide id="23" pos="4575">
          <p15:clr>
            <a:srgbClr val="5ACBF0"/>
          </p15:clr>
        </p15:guide>
        <p15:guide id="24" pos="4998">
          <p15:clr>
            <a:srgbClr val="5ACBF0"/>
          </p15:clr>
        </p15:guide>
        <p15:guide id="26" orient="horz" pos="546">
          <p15:clr>
            <a:srgbClr val="5ACBF0"/>
          </p15:clr>
        </p15:guide>
        <p15:guide id="27" orient="horz" pos="762">
          <p15:clr>
            <a:srgbClr val="5ACBF0"/>
          </p15:clr>
        </p15:guide>
        <p15:guide id="28" orient="horz" pos="978">
          <p15:clr>
            <a:srgbClr val="5ACBF0"/>
          </p15:clr>
        </p15:guide>
        <p15:guide id="29" orient="horz" pos="1190">
          <p15:clr>
            <a:srgbClr val="5ACBF0"/>
          </p15:clr>
        </p15:guide>
        <p15:guide id="30" orient="horz" pos="1402">
          <p15:clr>
            <a:srgbClr val="5ACBF0"/>
          </p15:clr>
        </p15:guide>
        <p15:guide id="31" orient="horz" pos="1614">
          <p15:clr>
            <a:srgbClr val="5ACBF0"/>
          </p15:clr>
        </p15:guide>
        <p15:guide id="32" orient="horz" pos="1822">
          <p15:clr>
            <a:srgbClr val="5ACBF0"/>
          </p15:clr>
        </p15:guide>
        <p15:guide id="33" orient="horz" pos="2042">
          <p15:clr>
            <a:srgbClr val="5ACBF0"/>
          </p15:clr>
        </p15:guide>
        <p15:guide id="34" orient="horz" pos="2254">
          <p15:clr>
            <a:srgbClr val="5ACBF0"/>
          </p15:clr>
        </p15:guide>
        <p15:guide id="35" orient="horz" pos="2462">
          <p15:clr>
            <a:srgbClr val="5ACBF0"/>
          </p15:clr>
        </p15:guide>
        <p15:guide id="36" orient="horz" pos="2678">
          <p15:clr>
            <a:srgbClr val="5ACBF0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lt2"/>
        </a:solidFill>
        <a:effectLst/>
      </p:bgPr>
    </p:bg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Google Shape;11;p1"/>
          <p:cNvSpPr/>
          <p:nvPr/>
        </p:nvSpPr>
        <p:spPr>
          <a:xfrm>
            <a:off x="636907" y="6324615"/>
            <a:ext cx="4534800" cy="206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82100" tIns="41033" rIns="82100" bIns="41033" anchor="b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800" b="0" i="0">
                <a:solidFill>
                  <a:srgbClr val="B9BDC2"/>
                </a:solidFill>
                <a:latin typeface="+mn-lt"/>
                <a:ea typeface="Helvetica Neue Light"/>
                <a:cs typeface="CiscoSansTT ExtraLight" panose="020B0303020201020303" pitchFamily="34" charset="0"/>
                <a:sym typeface="Helvetica Neue Light"/>
              </a:rPr>
              <a:t>© 2020  Cisco and/or its affiliates. All rights reserved. Cisco Confidential</a:t>
            </a:r>
            <a:endParaRPr sz="800" b="0" i="0">
              <a:solidFill>
                <a:srgbClr val="B9BDC2"/>
              </a:solidFill>
              <a:latin typeface="+mn-lt"/>
              <a:ea typeface="Helvetica Neue Light"/>
              <a:cs typeface="CiscoSansTT ExtraLight" panose="020B0303020201020303" pitchFamily="34" charset="0"/>
              <a:sym typeface="Helvetica Neue Light"/>
            </a:endParaRPr>
          </a:p>
        </p:txBody>
      </p:sp>
      <p:sp>
        <p:nvSpPr>
          <p:cNvPr id="5" name="Google Shape;775;p184">
            <a:extLst>
              <a:ext uri="{FF2B5EF4-FFF2-40B4-BE49-F238E27FC236}">
                <a16:creationId xmlns:a16="http://schemas.microsoft.com/office/drawing/2014/main" id="{749EE712-55CA-5140-9777-7364460E6153}"/>
              </a:ext>
            </a:extLst>
          </p:cNvPr>
          <p:cNvSpPr txBox="1">
            <a:spLocks/>
          </p:cNvSpPr>
          <p:nvPr userDrawn="1"/>
        </p:nvSpPr>
        <p:spPr>
          <a:xfrm>
            <a:off x="6186316" y="2437540"/>
            <a:ext cx="3864400" cy="37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chemeClr val="tx1"/>
                </a:solidFill>
                <a:latin typeface="CiscoSansTT ExtraLight" panose="020B0303020201020303" pitchFamily="34" charset="0"/>
                <a:ea typeface="Arial"/>
                <a:cs typeface="CiscoSansTT ExtraLight" panose="020B0303020201020303" pitchFamily="34" charset="0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>
              <a:buSzPts val="800"/>
            </a:pPr>
            <a:endParaRPr lang="en-US" sz="2133">
              <a:ea typeface="Helvetica Neue Light"/>
              <a:sym typeface="Helvetica Neue Light"/>
            </a:endParaRPr>
          </a:p>
        </p:txBody>
      </p:sp>
      <p:sp>
        <p:nvSpPr>
          <p:cNvPr id="6" name="Google Shape;779;p184">
            <a:extLst>
              <a:ext uri="{FF2B5EF4-FFF2-40B4-BE49-F238E27FC236}">
                <a16:creationId xmlns:a16="http://schemas.microsoft.com/office/drawing/2014/main" id="{8BE808AE-5BD5-EA4B-9F3E-BA66E4D3B144}"/>
              </a:ext>
            </a:extLst>
          </p:cNvPr>
          <p:cNvSpPr txBox="1">
            <a:spLocks/>
          </p:cNvSpPr>
          <p:nvPr userDrawn="1"/>
        </p:nvSpPr>
        <p:spPr>
          <a:xfrm>
            <a:off x="6186316" y="3212879"/>
            <a:ext cx="3864400" cy="37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chemeClr val="tx1"/>
                </a:solidFill>
                <a:latin typeface="CiscoSansTT ExtraLight" panose="020B0303020201020303" pitchFamily="34" charset="0"/>
                <a:ea typeface="Arial"/>
                <a:cs typeface="CiscoSansTT ExtraLight" panose="020B0303020201020303" pitchFamily="34" charset="0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>
              <a:buSzPts val="800"/>
            </a:pPr>
            <a:endParaRPr lang="en-US" sz="2133">
              <a:ea typeface="Helvetica Neue Light"/>
              <a:sym typeface="Helvetica Neue Light"/>
            </a:endParaRPr>
          </a:p>
        </p:txBody>
      </p:sp>
      <p:sp>
        <p:nvSpPr>
          <p:cNvPr id="7" name="Google Shape;783;p184">
            <a:extLst>
              <a:ext uri="{FF2B5EF4-FFF2-40B4-BE49-F238E27FC236}">
                <a16:creationId xmlns:a16="http://schemas.microsoft.com/office/drawing/2014/main" id="{8C9BCFAB-4B90-6F45-8D08-8BBEFDC6D5BF}"/>
              </a:ext>
            </a:extLst>
          </p:cNvPr>
          <p:cNvSpPr txBox="1">
            <a:spLocks/>
          </p:cNvSpPr>
          <p:nvPr userDrawn="1"/>
        </p:nvSpPr>
        <p:spPr>
          <a:xfrm>
            <a:off x="6186316" y="3990549"/>
            <a:ext cx="3864400" cy="37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chemeClr val="tx1"/>
                </a:solidFill>
                <a:latin typeface="CiscoSansTT ExtraLight" panose="020B0303020201020303" pitchFamily="34" charset="0"/>
                <a:ea typeface="Arial"/>
                <a:cs typeface="CiscoSansTT ExtraLight" panose="020B0303020201020303" pitchFamily="34" charset="0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>
              <a:buSzPts val="800"/>
            </a:pPr>
            <a:endParaRPr lang="en-US" sz="2133">
              <a:ea typeface="Helvetica Neue Light"/>
              <a:sym typeface="Helvetica Neue Light"/>
            </a:endParaRPr>
          </a:p>
        </p:txBody>
      </p:sp>
      <p:sp>
        <p:nvSpPr>
          <p:cNvPr id="8" name="Google Shape;784;p184">
            <a:extLst>
              <a:ext uri="{FF2B5EF4-FFF2-40B4-BE49-F238E27FC236}">
                <a16:creationId xmlns:a16="http://schemas.microsoft.com/office/drawing/2014/main" id="{A9484629-4846-104D-A9BB-D25A81C2E273}"/>
              </a:ext>
            </a:extLst>
          </p:cNvPr>
          <p:cNvSpPr txBox="1">
            <a:spLocks/>
          </p:cNvSpPr>
          <p:nvPr userDrawn="1"/>
        </p:nvSpPr>
        <p:spPr>
          <a:xfrm>
            <a:off x="6186316" y="4761256"/>
            <a:ext cx="3864400" cy="37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chemeClr val="tx1"/>
                </a:solidFill>
                <a:latin typeface="CiscoSansTT ExtraLight" panose="020B0303020201020303" pitchFamily="34" charset="0"/>
                <a:ea typeface="Arial"/>
                <a:cs typeface="CiscoSansTT ExtraLight" panose="020B0303020201020303" pitchFamily="34" charset="0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>
              <a:buSzPts val="800"/>
            </a:pPr>
            <a:endParaRPr lang="en-US" sz="2133">
              <a:ea typeface="Helvetica Neue Light"/>
              <a:sym typeface="Helvetica Neue Light"/>
            </a:endParaRPr>
          </a:p>
        </p:txBody>
      </p:sp>
      <p:sp>
        <p:nvSpPr>
          <p:cNvPr id="9" name="Google Shape;788;p184">
            <a:extLst>
              <a:ext uri="{FF2B5EF4-FFF2-40B4-BE49-F238E27FC236}">
                <a16:creationId xmlns:a16="http://schemas.microsoft.com/office/drawing/2014/main" id="{CED24F07-DF3F-3447-81C6-A74561F8A89E}"/>
              </a:ext>
            </a:extLst>
          </p:cNvPr>
          <p:cNvSpPr txBox="1">
            <a:spLocks/>
          </p:cNvSpPr>
          <p:nvPr userDrawn="1"/>
        </p:nvSpPr>
        <p:spPr>
          <a:xfrm>
            <a:off x="6186316" y="5537275"/>
            <a:ext cx="3864400" cy="37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chemeClr val="tx1"/>
                </a:solidFill>
                <a:latin typeface="CiscoSansTT ExtraLight" panose="020B0303020201020303" pitchFamily="34" charset="0"/>
                <a:ea typeface="Arial"/>
                <a:cs typeface="CiscoSansTT ExtraLight" panose="020B0303020201020303" pitchFamily="34" charset="0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>
              <a:buSzPts val="800"/>
            </a:pPr>
            <a:r>
              <a:rPr lang="en-US" sz="2133">
                <a:ea typeface="Helvetica Neue Light"/>
                <a:sym typeface="Helvetica Neue Light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195850052"/>
      </p:ext>
    </p:extLst>
  </p:cSld>
  <p:clrMap bg1="lt1" tx1="dk1" bg2="dk2" tx2="lt2" accent1="accent1" accent2="accent2" accent3="accent3" accent4="accent4" accent5="accent5" accent6="accent6" hlink="hlink" folHlink="folHlink"/>
  <p:sldLayoutIdLst>
    <p:sldLayoutId id="2147485200" r:id="rId1"/>
    <p:sldLayoutId id="2147485201" r:id="rId2"/>
    <p:sldLayoutId id="2147485202" r:id="rId3"/>
    <p:sldLayoutId id="2147485203" r:id="rId4"/>
    <p:sldLayoutId id="2147485204" r:id="rId5"/>
    <p:sldLayoutId id="2147485205" r:id="rId6"/>
    <p:sldLayoutId id="2147485206" r:id="rId7"/>
    <p:sldLayoutId id="2147485207" r:id="rId8"/>
    <p:sldLayoutId id="2147485208" r:id="rId9"/>
    <p:sldLayoutId id="2147485209" r:id="rId10"/>
    <p:sldLayoutId id="2147485210" r:id="rId11"/>
    <p:sldLayoutId id="2147485211" r:id="rId12"/>
    <p:sldLayoutId id="2147485212" r:id="rId13"/>
    <p:sldLayoutId id="2147485213" r:id="rId14"/>
    <p:sldLayoutId id="2147485214" r:id="rId15"/>
    <p:sldLayoutId id="2147485215" r:id="rId16"/>
    <p:sldLayoutId id="2147485216" r:id="rId17"/>
    <p:sldLayoutId id="2147485217" r:id="rId18"/>
    <p:sldLayoutId id="2147485218" r:id="rId19"/>
    <p:sldLayoutId id="2147485219" r:id="rId20"/>
    <p:sldLayoutId id="2147485220" r:id="rId21"/>
    <p:sldLayoutId id="2147485221" r:id="rId22"/>
    <p:sldLayoutId id="2147485222" r:id="rId23"/>
    <p:sldLayoutId id="2147485223" r:id="rId24"/>
    <p:sldLayoutId id="2147485224" r:id="rId25"/>
    <p:sldLayoutId id="2147485225" r:id="rId26"/>
    <p:sldLayoutId id="2147485226" r:id="rId27"/>
    <p:sldLayoutId id="2147485227" r:id="rId28"/>
    <p:sldLayoutId id="2147485228" r:id="rId29"/>
    <p:sldLayoutId id="2147485229" r:id="rId30"/>
    <p:sldLayoutId id="2147485230" r:id="rId31"/>
    <p:sldLayoutId id="2147485231" r:id="rId32"/>
    <p:sldLayoutId id="2147485232" r:id="rId33"/>
    <p:sldLayoutId id="2147485233" r:id="rId34"/>
    <p:sldLayoutId id="2147485234" r:id="rId35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892">
          <p15:clr>
            <a:srgbClr val="F26B43"/>
          </p15:clr>
        </p15:guide>
        <p15:guide id="2" pos="336">
          <p15:clr>
            <a:srgbClr val="F26B43"/>
          </p15:clr>
        </p15:guide>
        <p15:guide id="3" pos="5448">
          <p15:clr>
            <a:srgbClr val="F26B43"/>
          </p15:clr>
        </p15:guide>
        <p15:guide id="4" orient="horz" pos="757">
          <p15:clr>
            <a:srgbClr val="F26B43"/>
          </p15:clr>
        </p15:guide>
        <p15:guide id="5" orient="horz" pos="335">
          <p15:clr>
            <a:srgbClr val="F26B43"/>
          </p15:clr>
        </p15:guide>
        <p15:guide id="6" pos="2876">
          <p15:clr>
            <a:srgbClr val="F26B43"/>
          </p15:clr>
        </p15:guide>
        <p15:guide id="7" orient="horz" pos="1043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2"/>
        </a:solidFill>
        <a:effectLst/>
      </p:bgPr>
    </p:bg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Google Shape;11;p1"/>
          <p:cNvSpPr/>
          <p:nvPr/>
        </p:nvSpPr>
        <p:spPr>
          <a:xfrm>
            <a:off x="719667" y="6298143"/>
            <a:ext cx="4534800" cy="177271"/>
          </a:xfrm>
          <a:prstGeom prst="rect">
            <a:avLst/>
          </a:prstGeom>
          <a:noFill/>
          <a:ln>
            <a:noFill/>
          </a:ln>
        </p:spPr>
        <p:txBody>
          <a:bodyPr spcFirstLastPara="1" vert="horz" wrap="square" lIns="0" tIns="0" rIns="0" bIns="0" anchor="b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800" b="0" i="0">
                <a:solidFill>
                  <a:srgbClr val="B9BDC2"/>
                </a:solidFill>
                <a:latin typeface="CiscoSansTT ExtraLight" panose="020B0303020201020303" pitchFamily="34" charset="0"/>
                <a:ea typeface="Helvetica Neue Light"/>
                <a:cs typeface="CiscoSansTT ExtraLight" panose="020B0303020201020303" pitchFamily="34" charset="0"/>
                <a:sym typeface="Helvetica Neue Light"/>
              </a:rPr>
              <a:t>© 2020 Cisco and/or its affiliates. All rights reserved. Cisco Confidential</a:t>
            </a:r>
            <a:endParaRPr sz="800" b="0" i="0">
              <a:solidFill>
                <a:srgbClr val="B9BDC2"/>
              </a:solidFill>
              <a:latin typeface="CiscoSansTT ExtraLight" panose="020B0303020201020303" pitchFamily="34" charset="0"/>
              <a:ea typeface="Helvetica Neue Light"/>
              <a:cs typeface="CiscoSansTT ExtraLight" panose="020B0303020201020303" pitchFamily="34" charset="0"/>
              <a:sym typeface="Helvetica Neue Light"/>
            </a:endParaRPr>
          </a:p>
        </p:txBody>
      </p:sp>
      <p:sp>
        <p:nvSpPr>
          <p:cNvPr id="5" name="Google Shape;775;p184">
            <a:extLst>
              <a:ext uri="{FF2B5EF4-FFF2-40B4-BE49-F238E27FC236}">
                <a16:creationId xmlns:a16="http://schemas.microsoft.com/office/drawing/2014/main" id="{749EE712-55CA-5140-9777-7364460E6153}"/>
              </a:ext>
            </a:extLst>
          </p:cNvPr>
          <p:cNvSpPr txBox="1">
            <a:spLocks/>
          </p:cNvSpPr>
          <p:nvPr userDrawn="1"/>
        </p:nvSpPr>
        <p:spPr>
          <a:xfrm>
            <a:off x="6186316" y="2437540"/>
            <a:ext cx="3864400" cy="37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chemeClr val="tx1"/>
                </a:solidFill>
                <a:latin typeface="CiscoSansTT ExtraLight" panose="020B0303020201020303" pitchFamily="34" charset="0"/>
                <a:ea typeface="Arial"/>
                <a:cs typeface="CiscoSansTT ExtraLight" panose="020B0303020201020303" pitchFamily="34" charset="0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>
              <a:buSzPts val="800"/>
            </a:pPr>
            <a:endParaRPr lang="en-US" sz="2133">
              <a:ea typeface="Helvetica Neue Light"/>
              <a:sym typeface="Helvetica Neue Light"/>
            </a:endParaRPr>
          </a:p>
        </p:txBody>
      </p:sp>
      <p:sp>
        <p:nvSpPr>
          <p:cNvPr id="6" name="Google Shape;779;p184">
            <a:extLst>
              <a:ext uri="{FF2B5EF4-FFF2-40B4-BE49-F238E27FC236}">
                <a16:creationId xmlns:a16="http://schemas.microsoft.com/office/drawing/2014/main" id="{8BE808AE-5BD5-EA4B-9F3E-BA66E4D3B144}"/>
              </a:ext>
            </a:extLst>
          </p:cNvPr>
          <p:cNvSpPr txBox="1">
            <a:spLocks/>
          </p:cNvSpPr>
          <p:nvPr userDrawn="1"/>
        </p:nvSpPr>
        <p:spPr>
          <a:xfrm>
            <a:off x="6186316" y="3212879"/>
            <a:ext cx="3864400" cy="37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chemeClr val="tx1"/>
                </a:solidFill>
                <a:latin typeface="CiscoSansTT ExtraLight" panose="020B0303020201020303" pitchFamily="34" charset="0"/>
                <a:ea typeface="Arial"/>
                <a:cs typeface="CiscoSansTT ExtraLight" panose="020B0303020201020303" pitchFamily="34" charset="0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>
              <a:buSzPts val="800"/>
            </a:pPr>
            <a:endParaRPr lang="en-US" sz="2133">
              <a:ea typeface="Helvetica Neue Light"/>
              <a:sym typeface="Helvetica Neue Light"/>
            </a:endParaRPr>
          </a:p>
        </p:txBody>
      </p:sp>
      <p:sp>
        <p:nvSpPr>
          <p:cNvPr id="7" name="Google Shape;783;p184">
            <a:extLst>
              <a:ext uri="{FF2B5EF4-FFF2-40B4-BE49-F238E27FC236}">
                <a16:creationId xmlns:a16="http://schemas.microsoft.com/office/drawing/2014/main" id="{8C9BCFAB-4B90-6F45-8D08-8BBEFDC6D5BF}"/>
              </a:ext>
            </a:extLst>
          </p:cNvPr>
          <p:cNvSpPr txBox="1">
            <a:spLocks/>
          </p:cNvSpPr>
          <p:nvPr userDrawn="1"/>
        </p:nvSpPr>
        <p:spPr>
          <a:xfrm>
            <a:off x="6186316" y="3990549"/>
            <a:ext cx="3864400" cy="37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chemeClr val="tx1"/>
                </a:solidFill>
                <a:latin typeface="CiscoSansTT ExtraLight" panose="020B0303020201020303" pitchFamily="34" charset="0"/>
                <a:ea typeface="Arial"/>
                <a:cs typeface="CiscoSansTT ExtraLight" panose="020B0303020201020303" pitchFamily="34" charset="0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>
              <a:buSzPts val="800"/>
            </a:pPr>
            <a:endParaRPr lang="en-US" sz="2133">
              <a:ea typeface="Helvetica Neue Light"/>
              <a:sym typeface="Helvetica Neue Light"/>
            </a:endParaRPr>
          </a:p>
        </p:txBody>
      </p:sp>
      <p:sp>
        <p:nvSpPr>
          <p:cNvPr id="8" name="Google Shape;784;p184">
            <a:extLst>
              <a:ext uri="{FF2B5EF4-FFF2-40B4-BE49-F238E27FC236}">
                <a16:creationId xmlns:a16="http://schemas.microsoft.com/office/drawing/2014/main" id="{A9484629-4846-104D-A9BB-D25A81C2E273}"/>
              </a:ext>
            </a:extLst>
          </p:cNvPr>
          <p:cNvSpPr txBox="1">
            <a:spLocks/>
          </p:cNvSpPr>
          <p:nvPr userDrawn="1"/>
        </p:nvSpPr>
        <p:spPr>
          <a:xfrm>
            <a:off x="6186316" y="4761256"/>
            <a:ext cx="3864400" cy="37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chemeClr val="tx1"/>
                </a:solidFill>
                <a:latin typeface="CiscoSansTT ExtraLight" panose="020B0303020201020303" pitchFamily="34" charset="0"/>
                <a:ea typeface="Arial"/>
                <a:cs typeface="CiscoSansTT ExtraLight" panose="020B0303020201020303" pitchFamily="34" charset="0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>
              <a:buSzPts val="800"/>
            </a:pPr>
            <a:endParaRPr lang="en-US" sz="2133">
              <a:ea typeface="Helvetica Neue Light"/>
              <a:sym typeface="Helvetica Neue Light"/>
            </a:endParaRPr>
          </a:p>
        </p:txBody>
      </p:sp>
      <p:sp>
        <p:nvSpPr>
          <p:cNvPr id="9" name="Google Shape;788;p184">
            <a:extLst>
              <a:ext uri="{FF2B5EF4-FFF2-40B4-BE49-F238E27FC236}">
                <a16:creationId xmlns:a16="http://schemas.microsoft.com/office/drawing/2014/main" id="{CED24F07-DF3F-3447-81C6-A74561F8A89E}"/>
              </a:ext>
            </a:extLst>
          </p:cNvPr>
          <p:cNvSpPr txBox="1">
            <a:spLocks/>
          </p:cNvSpPr>
          <p:nvPr userDrawn="1"/>
        </p:nvSpPr>
        <p:spPr>
          <a:xfrm>
            <a:off x="6186316" y="5537275"/>
            <a:ext cx="3864400" cy="37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chemeClr val="tx1"/>
                </a:solidFill>
                <a:latin typeface="CiscoSansTT ExtraLight" panose="020B0303020201020303" pitchFamily="34" charset="0"/>
                <a:ea typeface="Arial"/>
                <a:cs typeface="CiscoSansTT ExtraLight" panose="020B0303020201020303" pitchFamily="34" charset="0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>
              <a:buSzPts val="800"/>
            </a:pPr>
            <a:r>
              <a:rPr lang="en-US" sz="2133">
                <a:ea typeface="Helvetica Neue Light"/>
                <a:sym typeface="Helvetica Neue Light"/>
              </a:rPr>
              <a:t> </a:t>
            </a: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EBF62DC0-0655-46BE-8152-184906C1E57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668" y="709084"/>
            <a:ext cx="10752667" cy="90381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192C60F-F632-4C69-95CF-8B18577901A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19668" y="2070100"/>
            <a:ext cx="10752667" cy="359833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B61F8B3-4055-4C20-963A-238ADF1932E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216400" y="6121402"/>
            <a:ext cx="7255933" cy="353484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 algn="r">
              <a:defRPr sz="800">
                <a:solidFill>
                  <a:schemeClr val="bg1">
                    <a:lumMod val="65000"/>
                  </a:schemeClr>
                </a:solidFill>
                <a:latin typeface="+mn-lt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69852972"/>
      </p:ext>
    </p:extLst>
  </p:cSld>
  <p:clrMap bg1="lt1" tx1="dk1" bg2="dk2" tx2="lt2" accent1="accent1" accent2="accent2" accent3="accent3" accent4="accent4" accent5="accent5" accent6="accent6" hlink="hlink" folHlink="folHlink"/>
  <p:sldLayoutIdLst>
    <p:sldLayoutId id="2147485290" r:id="rId1"/>
    <p:sldLayoutId id="2147485291" r:id="rId2"/>
    <p:sldLayoutId id="2147485292" r:id="rId3"/>
    <p:sldLayoutId id="2147485293" r:id="rId4"/>
    <p:sldLayoutId id="2147485294" r:id="rId5"/>
    <p:sldLayoutId id="2147485295" r:id="rId6"/>
    <p:sldLayoutId id="2147485296" r:id="rId7"/>
    <p:sldLayoutId id="2147485297" r:id="rId8"/>
    <p:sldLayoutId id="2147485298" r:id="rId9"/>
    <p:sldLayoutId id="2147485299" r:id="rId10"/>
    <p:sldLayoutId id="2147485300" r:id="rId11"/>
    <p:sldLayoutId id="2147485301" r:id="rId12"/>
    <p:sldLayoutId id="2147485302" r:id="rId13"/>
    <p:sldLayoutId id="2147485303" r:id="rId14"/>
    <p:sldLayoutId id="2147485304" r:id="rId15"/>
    <p:sldLayoutId id="2147485305" r:id="rId16"/>
    <p:sldLayoutId id="2147485306" r:id="rId17"/>
    <p:sldLayoutId id="2147485307" r:id="rId18"/>
    <p:sldLayoutId id="2147485308" r:id="rId19"/>
    <p:sldLayoutId id="2147485309" r:id="rId20"/>
    <p:sldLayoutId id="2147485310" r:id="rId21"/>
    <p:sldLayoutId id="2147485311" r:id="rId22"/>
    <p:sldLayoutId id="2147485312" r:id="rId23"/>
    <p:sldLayoutId id="2147485313" r:id="rId24"/>
    <p:sldLayoutId id="2147485314" r:id="rId25"/>
    <p:sldLayoutId id="2147485315" r:id="rId26"/>
    <p:sldLayoutId id="2147485316" r:id="rId27"/>
    <p:sldLayoutId id="2147485317" r:id="rId28"/>
    <p:sldLayoutId id="2147485318" r:id="rId29"/>
    <p:sldLayoutId id="2147485319" r:id="rId30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4000" b="0" i="0" u="none" strike="noStrike" cap="none">
          <a:solidFill>
            <a:schemeClr val="bg2"/>
          </a:solidFill>
          <a:latin typeface="+mj-lt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10000"/>
        </a:lnSpc>
        <a:spcBef>
          <a:spcPts val="0"/>
        </a:spcBef>
        <a:spcAft>
          <a:spcPts val="1600"/>
        </a:spcAft>
        <a:buClr>
          <a:srgbClr val="000000"/>
        </a:buClr>
        <a:buFont typeface="Arial"/>
        <a:defRPr sz="1400" b="0" i="0" u="none" strike="noStrike" cap="none">
          <a:solidFill>
            <a:schemeClr val="bg2"/>
          </a:solidFill>
          <a:latin typeface="+mn-lt"/>
          <a:ea typeface="Arial"/>
          <a:cs typeface="Arial"/>
          <a:sym typeface="Arial"/>
        </a:defRPr>
      </a:lvl1pPr>
      <a:lvl2pPr marL="143992" marR="0" lvl="1" indent="143992" algn="l" rtl="0">
        <a:lnSpc>
          <a:spcPct val="110000"/>
        </a:lnSpc>
        <a:spcBef>
          <a:spcPts val="0"/>
        </a:spcBef>
        <a:spcAft>
          <a:spcPts val="1600"/>
        </a:spcAft>
        <a:buClr>
          <a:srgbClr val="000000"/>
        </a:buClr>
        <a:buFont typeface="Arial"/>
        <a:defRPr sz="1400" b="0" i="0" u="none" strike="noStrike" cap="none">
          <a:solidFill>
            <a:schemeClr val="bg2"/>
          </a:solidFill>
          <a:latin typeface="+mn-lt"/>
          <a:ea typeface="Arial"/>
          <a:cs typeface="Arial"/>
          <a:sym typeface="Arial"/>
        </a:defRPr>
      </a:lvl2pPr>
      <a:lvl3pPr marL="287986" marR="0" lvl="2" indent="287986" algn="l" rtl="0">
        <a:lnSpc>
          <a:spcPct val="110000"/>
        </a:lnSpc>
        <a:spcBef>
          <a:spcPts val="0"/>
        </a:spcBef>
        <a:spcAft>
          <a:spcPts val="1600"/>
        </a:spcAft>
        <a:buClr>
          <a:srgbClr val="000000"/>
        </a:buClr>
        <a:buFont typeface="Arial"/>
        <a:defRPr sz="1400" b="0" i="0" u="none" strike="noStrike" cap="none">
          <a:solidFill>
            <a:schemeClr val="bg2"/>
          </a:solidFill>
          <a:latin typeface="+mn-lt"/>
          <a:ea typeface="Arial"/>
          <a:cs typeface="Arial"/>
          <a:sym typeface="Arial"/>
        </a:defRPr>
      </a:lvl3pPr>
      <a:lvl4pPr marL="431979" marR="0" lvl="3" indent="431979" algn="l" rtl="0">
        <a:lnSpc>
          <a:spcPct val="110000"/>
        </a:lnSpc>
        <a:spcBef>
          <a:spcPts val="0"/>
        </a:spcBef>
        <a:spcAft>
          <a:spcPts val="1600"/>
        </a:spcAft>
        <a:buClr>
          <a:srgbClr val="000000"/>
        </a:buClr>
        <a:buFont typeface="Arial"/>
        <a:defRPr sz="1400" b="0" i="0" u="none" strike="noStrike" cap="none">
          <a:solidFill>
            <a:schemeClr val="bg2"/>
          </a:solidFill>
          <a:latin typeface="+mn-lt"/>
          <a:ea typeface="Arial"/>
          <a:cs typeface="Arial"/>
          <a:sym typeface="Arial"/>
        </a:defRPr>
      </a:lvl4pPr>
      <a:lvl5pPr marL="575972" marR="0" lvl="4" indent="575972" algn="l" rtl="0">
        <a:lnSpc>
          <a:spcPct val="110000"/>
        </a:lnSpc>
        <a:spcBef>
          <a:spcPts val="0"/>
        </a:spcBef>
        <a:spcAft>
          <a:spcPts val="1600"/>
        </a:spcAft>
        <a:buClr>
          <a:srgbClr val="000000"/>
        </a:buClr>
        <a:buFont typeface="Arial"/>
        <a:defRPr sz="1400" b="0" i="0" u="none" strike="noStrike" cap="none">
          <a:solidFill>
            <a:schemeClr val="bg2"/>
          </a:solidFill>
          <a:latin typeface="+mn-lt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856">
          <p15:clr>
            <a:srgbClr val="F26B43"/>
          </p15:clr>
        </p15:guide>
        <p15:guide id="2" pos="453">
          <p15:clr>
            <a:srgbClr val="F26B43"/>
          </p15:clr>
        </p15:guide>
        <p15:guide id="3" pos="7227">
          <p15:clr>
            <a:srgbClr val="F26B43"/>
          </p15:clr>
        </p15:guide>
        <p15:guide id="5" orient="horz" pos="447">
          <p15:clr>
            <a:srgbClr val="F26B43"/>
          </p15:clr>
        </p15:guide>
        <p15:guide id="6" pos="3840">
          <p15:clr>
            <a:srgbClr val="F26B43"/>
          </p15:clr>
        </p15:guide>
        <p15:guide id="8">
          <p15:clr>
            <a:srgbClr val="F26B43"/>
          </p15:clr>
        </p15:guide>
        <p15:guide id="9" orient="horz">
          <p15:clr>
            <a:srgbClr val="F26B43"/>
          </p15:clr>
        </p15:guide>
        <p15:guide id="10" orient="horz" pos="4320">
          <p15:clr>
            <a:srgbClr val="F26B43"/>
          </p15:clr>
        </p15:guide>
        <p15:guide id="11" orient="horz" pos="4079">
          <p15:clr>
            <a:srgbClr val="F26B43"/>
          </p15:clr>
        </p15:guide>
        <p15:guide id="12" pos="7683">
          <p15:clr>
            <a:srgbClr val="F26B43"/>
          </p15:clr>
        </p15:guide>
        <p15:guide id="14" pos="1016">
          <p15:clr>
            <a:srgbClr val="5ACBF0"/>
          </p15:clr>
        </p15:guide>
        <p15:guide id="15" pos="1584">
          <p15:clr>
            <a:srgbClr val="5ACBF0"/>
          </p15:clr>
        </p15:guide>
        <p15:guide id="16" pos="2147">
          <p15:clr>
            <a:srgbClr val="5ACBF0"/>
          </p15:clr>
        </p15:guide>
        <p15:guide id="17" pos="2708">
          <p15:clr>
            <a:srgbClr val="5ACBF0"/>
          </p15:clr>
        </p15:guide>
        <p15:guide id="18" pos="3276">
          <p15:clr>
            <a:srgbClr val="5ACBF0"/>
          </p15:clr>
        </p15:guide>
        <p15:guide id="19" pos="5532">
          <p15:clr>
            <a:srgbClr val="5ACBF0"/>
          </p15:clr>
        </p15:guide>
        <p15:guide id="20" pos="4404">
          <p15:clr>
            <a:srgbClr val="5ACBF0"/>
          </p15:clr>
        </p15:guide>
        <p15:guide id="21" pos="4968">
          <p15:clr>
            <a:srgbClr val="5ACBF0"/>
          </p15:clr>
        </p15:guide>
        <p15:guide id="23" pos="6100">
          <p15:clr>
            <a:srgbClr val="5ACBF0"/>
          </p15:clr>
        </p15:guide>
        <p15:guide id="24" pos="6664">
          <p15:clr>
            <a:srgbClr val="5ACBF0"/>
          </p15:clr>
        </p15:guide>
        <p15:guide id="26" orient="horz" pos="728">
          <p15:clr>
            <a:srgbClr val="5ACBF0"/>
          </p15:clr>
        </p15:guide>
        <p15:guide id="27" orient="horz" pos="1016">
          <p15:clr>
            <a:srgbClr val="5ACBF0"/>
          </p15:clr>
        </p15:guide>
        <p15:guide id="28" orient="horz" pos="1304">
          <p15:clr>
            <a:srgbClr val="5ACBF0"/>
          </p15:clr>
        </p15:guide>
        <p15:guide id="29" orient="horz" pos="1587">
          <p15:clr>
            <a:srgbClr val="5ACBF0"/>
          </p15:clr>
        </p15:guide>
        <p15:guide id="30" orient="horz" pos="1869">
          <p15:clr>
            <a:srgbClr val="5ACBF0"/>
          </p15:clr>
        </p15:guide>
        <p15:guide id="31" orient="horz" pos="2152">
          <p15:clr>
            <a:srgbClr val="5ACBF0"/>
          </p15:clr>
        </p15:guide>
        <p15:guide id="32" orient="horz" pos="2429">
          <p15:clr>
            <a:srgbClr val="5ACBF0"/>
          </p15:clr>
        </p15:guide>
        <p15:guide id="33" orient="horz" pos="2723">
          <p15:clr>
            <a:srgbClr val="5ACBF0"/>
          </p15:clr>
        </p15:guide>
        <p15:guide id="34" orient="horz" pos="3005">
          <p15:clr>
            <a:srgbClr val="5ACBF0"/>
          </p15:clr>
        </p15:guide>
        <p15:guide id="35" orient="horz" pos="3283">
          <p15:clr>
            <a:srgbClr val="5ACBF0"/>
          </p15:clr>
        </p15:guide>
        <p15:guide id="36" orient="horz" pos="3571">
          <p15:clr>
            <a:srgbClr val="5ACBF0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5101D7C-7F40-DB41-8368-AA8DC65A495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1"/>
            </p:custDataLst>
          </p:nvPr>
        </p:nvGraphicFramePr>
        <p:xfrm>
          <a:off x="1590" y="1590"/>
          <a:ext cx="158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128" name="think-cell Slide" r:id="rId33" imgW="7772400" imgH="10058400" progId="TCLayout.ActiveDocument.1">
                  <p:embed/>
                </p:oleObj>
              </mc:Choice>
              <mc:Fallback>
                <p:oleObj name="think-cell Slide" r:id="rId33" imgW="7772400" imgH="1005840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5101D7C-7F40-DB41-8368-AA8DC65A495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4"/>
                      <a:stretch>
                        <a:fillRect/>
                      </a:stretch>
                    </p:blipFill>
                    <p:spPr>
                      <a:xfrm>
                        <a:off x="1590" y="1590"/>
                        <a:ext cx="158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9730578B-9C4E-054E-9A28-01E34BBA3473}"/>
              </a:ext>
            </a:extLst>
          </p:cNvPr>
          <p:cNvSpPr/>
          <p:nvPr userDrawn="1">
            <p:custDataLst>
              <p:tags r:id="rId3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3733" b="0" i="0" baseline="0">
              <a:latin typeface="CiscoSansTT ExtraLight" panose="020B0303020201020303" pitchFamily="34" charset="0"/>
              <a:sym typeface="CiscoSansTT ExtraLight" panose="020B0303020201020303" pitchFamily="34" charset="0"/>
            </a:endParaRPr>
          </a:p>
        </p:txBody>
      </p:sp>
      <p:sp>
        <p:nvSpPr>
          <p:cNvPr id="1026" name="Title Placeholder 5"/>
          <p:cNvSpPr>
            <a:spLocks noGrp="1"/>
          </p:cNvSpPr>
          <p:nvPr>
            <p:ph type="title"/>
          </p:nvPr>
        </p:nvSpPr>
        <p:spPr bwMode="auto">
          <a:xfrm>
            <a:off x="583689" y="455085"/>
            <a:ext cx="11127317" cy="9757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GB"/>
              <a:t>Title Goes Here</a:t>
            </a:r>
          </a:p>
        </p:txBody>
      </p:sp>
      <p:sp>
        <p:nvSpPr>
          <p:cNvPr id="13" name="Rectangle 4"/>
          <p:cNvSpPr>
            <a:spLocks noChangeArrowheads="1"/>
          </p:cNvSpPr>
          <p:nvPr userDrawn="1"/>
        </p:nvSpPr>
        <p:spPr bwMode="ltGray">
          <a:xfrm>
            <a:off x="636906" y="6322208"/>
            <a:ext cx="4534734" cy="206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114" tIns="41056" rIns="82114" bIns="41056" anchor="b">
            <a:spAutoFit/>
          </a:bodyPr>
          <a:lstStyle/>
          <a:p>
            <a:pPr defTabSz="814326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spc="27" baseline="0">
                <a:solidFill>
                  <a:schemeClr val="bg2">
                    <a:lumMod val="65000"/>
                  </a:schemeClr>
                </a:solidFill>
                <a:latin typeface="+mn-lt"/>
                <a:ea typeface="+mn-ea"/>
                <a:cs typeface="CiscoSans Thin"/>
              </a:rPr>
              <a:t>© 2019  Cisco and/or its affiliates. All rights reserved.  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19149946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385" r:id="rId1"/>
    <p:sldLayoutId id="2147485386" r:id="rId2"/>
    <p:sldLayoutId id="2147485387" r:id="rId3"/>
    <p:sldLayoutId id="2147485388" r:id="rId4"/>
    <p:sldLayoutId id="2147485389" r:id="rId5"/>
    <p:sldLayoutId id="2147485390" r:id="rId6"/>
    <p:sldLayoutId id="2147485391" r:id="rId7"/>
    <p:sldLayoutId id="2147485392" r:id="rId8"/>
    <p:sldLayoutId id="2147485393" r:id="rId9"/>
    <p:sldLayoutId id="2147485394" r:id="rId10"/>
    <p:sldLayoutId id="2147485395" r:id="rId11"/>
    <p:sldLayoutId id="2147485396" r:id="rId12"/>
    <p:sldLayoutId id="2147485397" r:id="rId13"/>
    <p:sldLayoutId id="2147485398" r:id="rId14"/>
    <p:sldLayoutId id="2147485399" r:id="rId15"/>
    <p:sldLayoutId id="2147485400" r:id="rId16"/>
    <p:sldLayoutId id="2147485401" r:id="rId17"/>
    <p:sldLayoutId id="2147485402" r:id="rId18"/>
    <p:sldLayoutId id="2147485403" r:id="rId19"/>
    <p:sldLayoutId id="2147485404" r:id="rId20"/>
    <p:sldLayoutId id="2147485405" r:id="rId21"/>
    <p:sldLayoutId id="2147485406" r:id="rId22"/>
    <p:sldLayoutId id="2147485407" r:id="rId23"/>
    <p:sldLayoutId id="2147485408" r:id="rId24"/>
    <p:sldLayoutId id="2147485409" r:id="rId25"/>
    <p:sldLayoutId id="2147485410" r:id="rId26"/>
    <p:sldLayoutId id="2147485411" r:id="rId27"/>
    <p:sldLayoutId id="2147485412" r:id="rId28"/>
  </p:sldLayoutIdLst>
  <p:txStyles>
    <p:titleStyle>
      <a:lvl1pPr algn="l" defTabSz="912284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lang="en-US" sz="3733" b="0" i="0" u="none" kern="1200" dirty="0">
          <a:solidFill>
            <a:schemeClr val="tx2"/>
          </a:solidFill>
          <a:latin typeface="+mj-lt"/>
          <a:ea typeface="CiscoSansTT Thin" charset="0"/>
          <a:cs typeface="CiscoSansTT Thin" charset="0"/>
        </a:defRPr>
      </a:lvl1pPr>
      <a:lvl2pPr algn="l" defTabSz="912284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4267">
          <a:solidFill>
            <a:srgbClr val="676767"/>
          </a:solidFill>
          <a:latin typeface="Arial" charset="0"/>
          <a:ea typeface="ＭＳ Ｐゴシック" charset="0"/>
        </a:defRPr>
      </a:lvl2pPr>
      <a:lvl3pPr algn="l" defTabSz="912284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4267">
          <a:solidFill>
            <a:srgbClr val="676767"/>
          </a:solidFill>
          <a:latin typeface="Arial" charset="0"/>
          <a:ea typeface="ＭＳ Ｐゴシック" charset="0"/>
        </a:defRPr>
      </a:lvl3pPr>
      <a:lvl4pPr algn="l" defTabSz="912284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4267">
          <a:solidFill>
            <a:srgbClr val="676767"/>
          </a:solidFill>
          <a:latin typeface="Arial" charset="0"/>
          <a:ea typeface="ＭＳ Ｐゴシック" charset="0"/>
        </a:defRPr>
      </a:lvl4pPr>
      <a:lvl5pPr algn="l" defTabSz="912284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4267">
          <a:solidFill>
            <a:srgbClr val="676767"/>
          </a:solidFill>
          <a:latin typeface="Arial" charset="0"/>
          <a:ea typeface="ＭＳ Ｐゴシック" charset="0"/>
        </a:defRPr>
      </a:lvl5pPr>
      <a:lvl6pPr marL="609600" algn="l" defTabSz="912284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4267">
          <a:solidFill>
            <a:srgbClr val="676767"/>
          </a:solidFill>
          <a:latin typeface="Arial" charset="0"/>
          <a:ea typeface="ＭＳ Ｐゴシック" charset="0"/>
        </a:defRPr>
      </a:lvl6pPr>
      <a:lvl7pPr marL="1219201" algn="l" defTabSz="912284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4267">
          <a:solidFill>
            <a:srgbClr val="676767"/>
          </a:solidFill>
          <a:latin typeface="Arial" charset="0"/>
          <a:ea typeface="ＭＳ Ｐゴシック" charset="0"/>
        </a:defRPr>
      </a:lvl7pPr>
      <a:lvl8pPr marL="1828800" algn="l" defTabSz="912284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4267">
          <a:solidFill>
            <a:srgbClr val="676767"/>
          </a:solidFill>
          <a:latin typeface="Arial" charset="0"/>
          <a:ea typeface="ＭＳ Ｐゴシック" charset="0"/>
        </a:defRPr>
      </a:lvl8pPr>
      <a:lvl9pPr marL="2438399" algn="l" defTabSz="912284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4267">
          <a:solidFill>
            <a:srgbClr val="676767"/>
          </a:solidFill>
          <a:latin typeface="Arial" charset="0"/>
          <a:ea typeface="ＭＳ Ｐゴシック" charset="0"/>
        </a:defRPr>
      </a:lvl9pPr>
    </p:titleStyle>
    <p:bodyStyle>
      <a:lvl1pPr marL="226483" indent="-226483" algn="l" defTabSz="912284" rtl="0" eaLnBrk="1" fontAlgn="base" hangingPunct="1">
        <a:lnSpc>
          <a:spcPct val="95000"/>
        </a:lnSpc>
        <a:spcBef>
          <a:spcPts val="1433"/>
        </a:spcBef>
        <a:spcAft>
          <a:spcPct val="0"/>
        </a:spcAft>
        <a:buClr>
          <a:schemeClr val="tx2"/>
        </a:buClr>
        <a:buSzPct val="90000"/>
        <a:buFont typeface="Arial" charset="0"/>
        <a:buChar char="•"/>
        <a:defRPr lang="en-US" sz="20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1pPr>
      <a:lvl2pPr marL="478366" indent="-287866" algn="l" defTabSz="912284" rtl="0" eaLnBrk="1" fontAlgn="base" hangingPunct="1">
        <a:lnSpc>
          <a:spcPct val="95000"/>
        </a:lnSpc>
        <a:spcBef>
          <a:spcPts val="800"/>
        </a:spcBef>
        <a:spcAft>
          <a:spcPct val="0"/>
        </a:spcAft>
        <a:buClr>
          <a:schemeClr val="tx2"/>
        </a:buClr>
        <a:buFont typeface="Arial" charset="0"/>
        <a:buChar char="•"/>
        <a:defRPr lang="en-US" sz="1867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2pPr>
      <a:lvl3pPr marL="575734" indent="-226483" algn="l" defTabSz="912284" rtl="0" eaLnBrk="1" fontAlgn="base" hangingPunct="1">
        <a:lnSpc>
          <a:spcPct val="95000"/>
        </a:lnSpc>
        <a:spcBef>
          <a:spcPts val="833"/>
        </a:spcBef>
        <a:spcAft>
          <a:spcPct val="0"/>
        </a:spcAft>
        <a:buFont typeface="Arial" charset="0"/>
        <a:buChar char="•"/>
        <a:defRPr lang="en-US" sz="16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3pPr>
      <a:lvl4pPr marL="670984" indent="-226483" algn="l" defTabSz="912284" rtl="0" eaLnBrk="1" fontAlgn="base" hangingPunct="1">
        <a:lnSpc>
          <a:spcPct val="95000"/>
        </a:lnSpc>
        <a:spcBef>
          <a:spcPts val="833"/>
        </a:spcBef>
        <a:spcAft>
          <a:spcPct val="0"/>
        </a:spcAft>
        <a:buFont typeface="Arial" charset="0"/>
        <a:buChar char="•"/>
        <a:defRPr lang="en-US" sz="1467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4pPr>
      <a:lvl5pPr marL="766233" indent="-226483" algn="l" defTabSz="912284" rtl="0" eaLnBrk="1" fontAlgn="base" hangingPunct="1">
        <a:lnSpc>
          <a:spcPct val="95000"/>
        </a:lnSpc>
        <a:spcBef>
          <a:spcPts val="833"/>
        </a:spcBef>
        <a:spcAft>
          <a:spcPct val="0"/>
        </a:spcAft>
        <a:buFont typeface="Arial" charset="0"/>
        <a:buChar char="•"/>
        <a:defRPr lang="en-US" sz="1467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5pPr>
      <a:lvl6pPr marL="1151807" indent="-228594" algn="l" defTabSz="914369" rtl="0" eaLnBrk="1" latinLnBrk="0" hangingPunct="1">
        <a:spcBef>
          <a:spcPts val="800"/>
        </a:spcBef>
        <a:buFont typeface="Arial" pitchFamily="34" charset="0"/>
        <a:buChar char="•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1247792" indent="-228563" algn="l" defTabSz="914369" rtl="0" eaLnBrk="1" latinLnBrk="0" hangingPunct="1">
        <a:spcBef>
          <a:spcPts val="800"/>
        </a:spcBef>
        <a:buFont typeface="Arial" pitchFamily="34" charset="0"/>
        <a:buChar char="•"/>
        <a:defRPr sz="1067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3200293" indent="0" algn="l" defTabSz="914369" rtl="0" eaLnBrk="1" latinLnBrk="0" hangingPunct="1">
        <a:spcBef>
          <a:spcPct val="20000"/>
        </a:spcBef>
        <a:buFont typeface="Arial" pitchFamily="34" charset="0"/>
        <a:buNone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71" indent="-228594" algn="l" defTabSz="914369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69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1pPr>
      <a:lvl2pPr marL="457182" algn="l" defTabSz="914369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2pPr>
      <a:lvl3pPr marL="914369" algn="l" defTabSz="914369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3pPr>
      <a:lvl4pPr marL="1371553" algn="l" defTabSz="914369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4pPr>
      <a:lvl5pPr marL="1828740" algn="l" defTabSz="914369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5pPr>
      <a:lvl6pPr marL="2285922" algn="l" defTabSz="914369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6pPr>
      <a:lvl7pPr marL="2743110" algn="l" defTabSz="914369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7pPr>
      <a:lvl8pPr marL="3200293" algn="l" defTabSz="914369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8pPr>
      <a:lvl9pPr marL="3657481" algn="l" defTabSz="914369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892">
          <p15:clr>
            <a:srgbClr val="F26B43"/>
          </p15:clr>
        </p15:guide>
        <p15:guide id="2" pos="336">
          <p15:clr>
            <a:srgbClr val="F26B43"/>
          </p15:clr>
        </p15:guide>
        <p15:guide id="3" pos="5449">
          <p15:clr>
            <a:srgbClr val="F26B43"/>
          </p15:clr>
        </p15:guide>
        <p15:guide id="4" orient="horz" pos="757">
          <p15:clr>
            <a:srgbClr val="F26B43"/>
          </p15:clr>
        </p15:guide>
        <p15:guide id="5" orient="horz" pos="335">
          <p15:clr>
            <a:srgbClr val="F26B43"/>
          </p15:clr>
        </p15:guide>
        <p15:guide id="6" pos="2876">
          <p15:clr>
            <a:srgbClr val="F26B43"/>
          </p15:clr>
        </p15:guide>
        <p15:guide id="7" orient="horz" pos="1043">
          <p15:clr>
            <a:srgbClr val="F26B43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2"/>
        </a:solidFill>
        <a:effectLst/>
      </p:bgPr>
    </p:bg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Google Shape;11;p1"/>
          <p:cNvSpPr/>
          <p:nvPr/>
        </p:nvSpPr>
        <p:spPr>
          <a:xfrm>
            <a:off x="719667" y="6298143"/>
            <a:ext cx="3347412" cy="177270"/>
          </a:xfrm>
          <a:prstGeom prst="rect">
            <a:avLst/>
          </a:prstGeom>
          <a:noFill/>
          <a:ln>
            <a:noFill/>
          </a:ln>
        </p:spPr>
        <p:txBody>
          <a:bodyPr spcFirstLastPara="1" vert="horz" wrap="square" lIns="0" tIns="0" rIns="0" bIns="0" anchor="b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800" b="0" i="0">
                <a:solidFill>
                  <a:srgbClr val="B9BDC2"/>
                </a:solidFill>
                <a:latin typeface="CiscoSansTT ExtraLight" panose="020B0303020201020303" pitchFamily="34" charset="0"/>
                <a:ea typeface="Helvetica Neue Light"/>
                <a:cs typeface="CiscoSansTT ExtraLight" panose="020B0303020201020303" pitchFamily="34" charset="0"/>
                <a:sym typeface="Helvetica Neue Light"/>
              </a:rPr>
              <a:t>© 2020 Cisco and/or its affiliates. All rights reserved. Cisco Confidential</a:t>
            </a:r>
            <a:endParaRPr sz="800" b="0" i="0">
              <a:solidFill>
                <a:srgbClr val="B9BDC2"/>
              </a:solidFill>
              <a:latin typeface="CiscoSansTT ExtraLight" panose="020B0303020201020303" pitchFamily="34" charset="0"/>
              <a:ea typeface="Helvetica Neue Light"/>
              <a:cs typeface="CiscoSansTT ExtraLight" panose="020B0303020201020303" pitchFamily="34" charset="0"/>
              <a:sym typeface="Helvetica Neue Light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EBF62DC0-0655-46BE-8152-184906C1E57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667" y="582613"/>
            <a:ext cx="10752667" cy="90587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192C60F-F632-4C69-95CF-8B18577901A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19667" y="2070100"/>
            <a:ext cx="10752667" cy="359833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B61F8B3-4055-4C20-963A-238ADF1932E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298950" y="6121401"/>
            <a:ext cx="7173383" cy="353484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 algn="r">
              <a:defRPr sz="800">
                <a:solidFill>
                  <a:schemeClr val="bg1">
                    <a:lumMod val="65000"/>
                  </a:schemeClr>
                </a:solidFill>
                <a:latin typeface="+mn-lt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34603667"/>
      </p:ext>
    </p:extLst>
  </p:cSld>
  <p:clrMap bg1="lt1" tx1="dk1" bg2="dk2" tx2="lt2" accent1="accent1" accent2="accent2" accent3="accent3" accent4="accent4" accent5="accent5" accent6="accent6" hlink="hlink" folHlink="folHlink"/>
  <p:sldLayoutIdLst>
    <p:sldLayoutId id="2147485497" r:id="rId1"/>
    <p:sldLayoutId id="2147485498" r:id="rId2"/>
    <p:sldLayoutId id="2147485499" r:id="rId3"/>
    <p:sldLayoutId id="2147485500" r:id="rId4"/>
    <p:sldLayoutId id="2147485501" r:id="rId5"/>
    <p:sldLayoutId id="2147485502" r:id="rId6"/>
    <p:sldLayoutId id="2147485503" r:id="rId7"/>
    <p:sldLayoutId id="2147485504" r:id="rId8"/>
    <p:sldLayoutId id="2147485505" r:id="rId9"/>
    <p:sldLayoutId id="2147485506" r:id="rId10"/>
    <p:sldLayoutId id="2147485507" r:id="rId11"/>
    <p:sldLayoutId id="2147485508" r:id="rId12"/>
    <p:sldLayoutId id="2147485509" r:id="rId13"/>
    <p:sldLayoutId id="2147485510" r:id="rId14"/>
    <p:sldLayoutId id="2147485511" r:id="rId15"/>
    <p:sldLayoutId id="2147485512" r:id="rId16"/>
    <p:sldLayoutId id="2147485513" r:id="rId17"/>
    <p:sldLayoutId id="2147485514" r:id="rId18"/>
    <p:sldLayoutId id="2147485515" r:id="rId19"/>
    <p:sldLayoutId id="2147485516" r:id="rId20"/>
    <p:sldLayoutId id="2147485517" r:id="rId21"/>
    <p:sldLayoutId id="2147485518" r:id="rId22"/>
    <p:sldLayoutId id="2147485519" r:id="rId23"/>
    <p:sldLayoutId id="2147485520" r:id="rId24"/>
    <p:sldLayoutId id="2147485521" r:id="rId25"/>
    <p:sldLayoutId id="2147485522" r:id="rId26"/>
    <p:sldLayoutId id="2147485523" r:id="rId27"/>
    <p:sldLayoutId id="2147485524" r:id="rId28"/>
    <p:sldLayoutId id="2147485525" r:id="rId29"/>
    <p:sldLayoutId id="2147485526" r:id="rId30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4000" b="0" i="0" u="none" strike="noStrike" cap="none">
          <a:solidFill>
            <a:schemeClr val="bg2"/>
          </a:solidFill>
          <a:latin typeface="+mj-lt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10000"/>
        </a:lnSpc>
        <a:spcBef>
          <a:spcPts val="0"/>
        </a:spcBef>
        <a:spcAft>
          <a:spcPts val="1800"/>
        </a:spcAft>
        <a:buClr>
          <a:srgbClr val="000000"/>
        </a:buClr>
        <a:buFont typeface="Arial"/>
        <a:defRPr sz="1400" b="0" i="0" u="none" strike="noStrike" cap="none">
          <a:solidFill>
            <a:schemeClr val="bg2"/>
          </a:solidFill>
          <a:latin typeface="+mn-lt"/>
          <a:ea typeface="Arial"/>
          <a:cs typeface="Arial"/>
          <a:sym typeface="Arial"/>
        </a:defRPr>
      </a:lvl1pPr>
      <a:lvl2pPr marL="143996" marR="0" lvl="1" indent="143996" algn="l" rtl="0">
        <a:lnSpc>
          <a:spcPct val="110000"/>
        </a:lnSpc>
        <a:spcBef>
          <a:spcPts val="0"/>
        </a:spcBef>
        <a:spcAft>
          <a:spcPts val="1800"/>
        </a:spcAft>
        <a:buClr>
          <a:srgbClr val="000000"/>
        </a:buClr>
        <a:buFont typeface="Arial"/>
        <a:defRPr sz="1400" b="0" i="0" u="none" strike="noStrike" cap="none">
          <a:solidFill>
            <a:schemeClr val="bg2"/>
          </a:solidFill>
          <a:latin typeface="+mn-lt"/>
          <a:ea typeface="Arial"/>
          <a:cs typeface="Arial"/>
          <a:sym typeface="Arial"/>
        </a:defRPr>
      </a:lvl2pPr>
      <a:lvl3pPr marL="287993" marR="0" lvl="2" indent="287993" algn="l" rtl="0">
        <a:lnSpc>
          <a:spcPct val="110000"/>
        </a:lnSpc>
        <a:spcBef>
          <a:spcPts val="0"/>
        </a:spcBef>
        <a:spcAft>
          <a:spcPts val="1800"/>
        </a:spcAft>
        <a:buClr>
          <a:srgbClr val="000000"/>
        </a:buClr>
        <a:buFont typeface="Arial"/>
        <a:defRPr sz="1400" b="0" i="0" u="none" strike="noStrike" cap="none">
          <a:solidFill>
            <a:schemeClr val="bg2"/>
          </a:solidFill>
          <a:latin typeface="+mn-lt"/>
          <a:ea typeface="Arial"/>
          <a:cs typeface="Arial"/>
          <a:sym typeface="Arial"/>
        </a:defRPr>
      </a:lvl3pPr>
      <a:lvl4pPr marL="431989" marR="0" lvl="3" indent="431989" algn="l" rtl="0">
        <a:lnSpc>
          <a:spcPct val="110000"/>
        </a:lnSpc>
        <a:spcBef>
          <a:spcPts val="0"/>
        </a:spcBef>
        <a:spcAft>
          <a:spcPts val="1800"/>
        </a:spcAft>
        <a:buClr>
          <a:srgbClr val="000000"/>
        </a:buClr>
        <a:buFont typeface="Arial"/>
        <a:defRPr sz="1400" b="0" i="0" u="none" strike="noStrike" cap="none">
          <a:solidFill>
            <a:schemeClr val="bg2"/>
          </a:solidFill>
          <a:latin typeface="+mn-lt"/>
          <a:ea typeface="Arial"/>
          <a:cs typeface="Arial"/>
          <a:sym typeface="Arial"/>
        </a:defRPr>
      </a:lvl4pPr>
      <a:lvl5pPr marL="575986" marR="0" lvl="4" indent="575986" algn="l" rtl="0">
        <a:lnSpc>
          <a:spcPct val="110000"/>
        </a:lnSpc>
        <a:spcBef>
          <a:spcPts val="0"/>
        </a:spcBef>
        <a:spcAft>
          <a:spcPts val="1800"/>
        </a:spcAft>
        <a:buClr>
          <a:srgbClr val="000000"/>
        </a:buClr>
        <a:buFont typeface="Arial"/>
        <a:defRPr sz="1400" b="0" i="0" u="none" strike="noStrike" cap="none">
          <a:solidFill>
            <a:schemeClr val="bg2"/>
          </a:solidFill>
          <a:latin typeface="+mn-lt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856">
          <p15:clr>
            <a:srgbClr val="F26B43"/>
          </p15:clr>
        </p15:guide>
        <p15:guide id="2" pos="453">
          <p15:clr>
            <a:srgbClr val="F26B43"/>
          </p15:clr>
        </p15:guide>
        <p15:guide id="3" pos="7227">
          <p15:clr>
            <a:srgbClr val="F26B43"/>
          </p15:clr>
        </p15:guide>
        <p15:guide id="5" orient="horz" pos="447">
          <p15:clr>
            <a:srgbClr val="5ACBF0"/>
          </p15:clr>
        </p15:guide>
        <p15:guide id="6" pos="3840">
          <p15:clr>
            <a:srgbClr val="F26B43"/>
          </p15:clr>
        </p15:guide>
        <p15:guide id="8">
          <p15:clr>
            <a:srgbClr val="F26B43"/>
          </p15:clr>
        </p15:guide>
        <p15:guide id="9" orient="horz">
          <p15:clr>
            <a:srgbClr val="F26B43"/>
          </p15:clr>
        </p15:guide>
        <p15:guide id="10" orient="horz" pos="4320">
          <p15:clr>
            <a:srgbClr val="F26B43"/>
          </p15:clr>
        </p15:guide>
        <p15:guide id="11" orient="horz" pos="4079">
          <p15:clr>
            <a:srgbClr val="F26B43"/>
          </p15:clr>
        </p15:guide>
        <p15:guide id="12" pos="7683">
          <p15:clr>
            <a:srgbClr val="F26B43"/>
          </p15:clr>
        </p15:guide>
        <p15:guide id="14" pos="1016">
          <p15:clr>
            <a:srgbClr val="5ACBF0"/>
          </p15:clr>
        </p15:guide>
        <p15:guide id="15" pos="1584">
          <p15:clr>
            <a:srgbClr val="5ACBF0"/>
          </p15:clr>
        </p15:guide>
        <p15:guide id="16" pos="2147">
          <p15:clr>
            <a:srgbClr val="5ACBF0"/>
          </p15:clr>
        </p15:guide>
        <p15:guide id="17" pos="2708">
          <p15:clr>
            <a:srgbClr val="5ACBF0"/>
          </p15:clr>
        </p15:guide>
        <p15:guide id="18" pos="3276">
          <p15:clr>
            <a:srgbClr val="5ACBF0"/>
          </p15:clr>
        </p15:guide>
        <p15:guide id="19" pos="5532">
          <p15:clr>
            <a:srgbClr val="5ACBF0"/>
          </p15:clr>
        </p15:guide>
        <p15:guide id="20" pos="4404">
          <p15:clr>
            <a:srgbClr val="5ACBF0"/>
          </p15:clr>
        </p15:guide>
        <p15:guide id="21" pos="4968">
          <p15:clr>
            <a:srgbClr val="5ACBF0"/>
          </p15:clr>
        </p15:guide>
        <p15:guide id="23" pos="6100">
          <p15:clr>
            <a:srgbClr val="5ACBF0"/>
          </p15:clr>
        </p15:guide>
        <p15:guide id="24" pos="6664">
          <p15:clr>
            <a:srgbClr val="5ACBF0"/>
          </p15:clr>
        </p15:guide>
        <p15:guide id="26" orient="horz" pos="728">
          <p15:clr>
            <a:srgbClr val="5ACBF0"/>
          </p15:clr>
        </p15:guide>
        <p15:guide id="27" orient="horz" pos="1016">
          <p15:clr>
            <a:srgbClr val="5ACBF0"/>
          </p15:clr>
        </p15:guide>
        <p15:guide id="28" orient="horz" pos="1304">
          <p15:clr>
            <a:srgbClr val="5ACBF0"/>
          </p15:clr>
        </p15:guide>
        <p15:guide id="29" orient="horz" pos="1587">
          <p15:clr>
            <a:srgbClr val="5ACBF0"/>
          </p15:clr>
        </p15:guide>
        <p15:guide id="30" orient="horz" pos="1865">
          <p15:clr>
            <a:srgbClr val="5ACBF0"/>
          </p15:clr>
        </p15:guide>
        <p15:guide id="31" orient="horz" pos="2152">
          <p15:clr>
            <a:srgbClr val="5ACBF0"/>
          </p15:clr>
        </p15:guide>
        <p15:guide id="32" orient="horz" pos="2429">
          <p15:clr>
            <a:srgbClr val="5ACBF0"/>
          </p15:clr>
        </p15:guide>
        <p15:guide id="33" orient="horz" pos="2723">
          <p15:clr>
            <a:srgbClr val="5ACBF0"/>
          </p15:clr>
        </p15:guide>
        <p15:guide id="34" orient="horz" pos="3005">
          <p15:clr>
            <a:srgbClr val="5ACBF0"/>
          </p15:clr>
        </p15:guide>
        <p15:guide id="35" orient="horz" pos="3283">
          <p15:clr>
            <a:srgbClr val="5ACBF0"/>
          </p15:clr>
        </p15:guide>
        <p15:guide id="36" orient="horz" pos="3571">
          <p15:clr>
            <a:srgbClr val="5ACBF0"/>
          </p15:clr>
        </p15:guide>
        <p15:guide id="37" orient="horz" pos="367">
          <p15:clr>
            <a:srgbClr val="F26B43"/>
          </p15:clr>
        </p15:guide>
      </p15:sldGuideLst>
    </p:ext>
  </p:extLst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itle Placeholder 5"/>
          <p:cNvSpPr>
            <a:spLocks noGrp="1"/>
          </p:cNvSpPr>
          <p:nvPr>
            <p:ph type="title"/>
          </p:nvPr>
        </p:nvSpPr>
        <p:spPr bwMode="auto">
          <a:xfrm>
            <a:off x="583688" y="455086"/>
            <a:ext cx="11127317" cy="9757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GB"/>
              <a:t>Title Goes Here</a:t>
            </a:r>
          </a:p>
        </p:txBody>
      </p:sp>
      <p:sp>
        <p:nvSpPr>
          <p:cNvPr id="13" name="Rectangle 4"/>
          <p:cNvSpPr>
            <a:spLocks noChangeArrowheads="1"/>
          </p:cNvSpPr>
          <p:nvPr userDrawn="1"/>
        </p:nvSpPr>
        <p:spPr bwMode="ltGray">
          <a:xfrm>
            <a:off x="-65827" y="6651977"/>
            <a:ext cx="4534733" cy="206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115" tIns="41056" rIns="82115" bIns="41056" anchor="b">
            <a:spAutoFit/>
          </a:bodyPr>
          <a:lstStyle/>
          <a:p>
            <a:pPr defTabSz="814285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spc="27" baseline="0">
                <a:solidFill>
                  <a:schemeClr val="bg2">
                    <a:lumMod val="65000"/>
                  </a:schemeClr>
                </a:solidFill>
                <a:latin typeface="+mn-lt"/>
                <a:ea typeface="+mn-ea"/>
                <a:cs typeface="CiscoSans Thin"/>
              </a:rPr>
              <a:t>© 2020  Cisco and/or its affiliates. All rights reserved.  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31398397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558" r:id="rId1"/>
    <p:sldLayoutId id="2147485559" r:id="rId2"/>
    <p:sldLayoutId id="2147485560" r:id="rId3"/>
    <p:sldLayoutId id="2147485561" r:id="rId4"/>
    <p:sldLayoutId id="2147485562" r:id="rId5"/>
    <p:sldLayoutId id="2147485563" r:id="rId6"/>
    <p:sldLayoutId id="2147485564" r:id="rId7"/>
    <p:sldLayoutId id="2147485565" r:id="rId8"/>
    <p:sldLayoutId id="2147485566" r:id="rId9"/>
    <p:sldLayoutId id="2147485567" r:id="rId10"/>
    <p:sldLayoutId id="2147485568" r:id="rId11"/>
    <p:sldLayoutId id="2147485569" r:id="rId12"/>
    <p:sldLayoutId id="2147485570" r:id="rId13"/>
    <p:sldLayoutId id="2147485571" r:id="rId14"/>
    <p:sldLayoutId id="2147485572" r:id="rId15"/>
    <p:sldLayoutId id="2147485573" r:id="rId16"/>
    <p:sldLayoutId id="2147485574" r:id="rId17"/>
    <p:sldLayoutId id="2147485575" r:id="rId18"/>
    <p:sldLayoutId id="2147485576" r:id="rId19"/>
    <p:sldLayoutId id="2147485577" r:id="rId20"/>
    <p:sldLayoutId id="2147485578" r:id="rId21"/>
    <p:sldLayoutId id="2147485579" r:id="rId22"/>
    <p:sldLayoutId id="2147485580" r:id="rId23"/>
    <p:sldLayoutId id="2147485581" r:id="rId24"/>
    <p:sldLayoutId id="2147485582" r:id="rId25"/>
    <p:sldLayoutId id="2147485583" r:id="rId26"/>
  </p:sldLayoutIdLst>
  <p:txStyles>
    <p:titleStyle>
      <a:lvl1pPr algn="l" defTabSz="912239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lang="en-US" sz="3733" b="0" i="0" u="none" kern="1200" dirty="0">
          <a:solidFill>
            <a:schemeClr val="tx2"/>
          </a:solidFill>
          <a:latin typeface="+mj-lt"/>
          <a:ea typeface="CiscoSansTT Thin" charset="0"/>
          <a:cs typeface="CiscoSansTT Thin" charset="0"/>
        </a:defRPr>
      </a:lvl1pPr>
      <a:lvl2pPr algn="l" defTabSz="912239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4267">
          <a:solidFill>
            <a:srgbClr val="676767"/>
          </a:solidFill>
          <a:latin typeface="Arial" charset="0"/>
          <a:ea typeface="ＭＳ Ｐゴシック" charset="0"/>
        </a:defRPr>
      </a:lvl2pPr>
      <a:lvl3pPr algn="l" defTabSz="912239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4267">
          <a:solidFill>
            <a:srgbClr val="676767"/>
          </a:solidFill>
          <a:latin typeface="Arial" charset="0"/>
          <a:ea typeface="ＭＳ Ｐゴシック" charset="0"/>
        </a:defRPr>
      </a:lvl3pPr>
      <a:lvl4pPr algn="l" defTabSz="912239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4267">
          <a:solidFill>
            <a:srgbClr val="676767"/>
          </a:solidFill>
          <a:latin typeface="Arial" charset="0"/>
          <a:ea typeface="ＭＳ Ｐゴシック" charset="0"/>
        </a:defRPr>
      </a:lvl4pPr>
      <a:lvl5pPr algn="l" defTabSz="912239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4267">
          <a:solidFill>
            <a:srgbClr val="676767"/>
          </a:solidFill>
          <a:latin typeface="Arial" charset="0"/>
          <a:ea typeface="ＭＳ Ｐゴシック" charset="0"/>
        </a:defRPr>
      </a:lvl5pPr>
      <a:lvl6pPr marL="609570" algn="l" defTabSz="912239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4267">
          <a:solidFill>
            <a:srgbClr val="676767"/>
          </a:solidFill>
          <a:latin typeface="Arial" charset="0"/>
          <a:ea typeface="ＭＳ Ｐゴシック" charset="0"/>
        </a:defRPr>
      </a:lvl6pPr>
      <a:lvl7pPr marL="1219140" algn="l" defTabSz="912239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4267">
          <a:solidFill>
            <a:srgbClr val="676767"/>
          </a:solidFill>
          <a:latin typeface="Arial" charset="0"/>
          <a:ea typeface="ＭＳ Ｐゴシック" charset="0"/>
        </a:defRPr>
      </a:lvl7pPr>
      <a:lvl8pPr marL="1828709" algn="l" defTabSz="912239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4267">
          <a:solidFill>
            <a:srgbClr val="676767"/>
          </a:solidFill>
          <a:latin typeface="Arial" charset="0"/>
          <a:ea typeface="ＭＳ Ｐゴシック" charset="0"/>
        </a:defRPr>
      </a:lvl8pPr>
      <a:lvl9pPr marL="2438278" algn="l" defTabSz="912239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4267">
          <a:solidFill>
            <a:srgbClr val="676767"/>
          </a:solidFill>
          <a:latin typeface="Arial" charset="0"/>
          <a:ea typeface="ＭＳ Ｐゴシック" charset="0"/>
        </a:defRPr>
      </a:lvl9pPr>
    </p:titleStyle>
    <p:bodyStyle>
      <a:lvl1pPr marL="226473" indent="-226473" algn="l" defTabSz="912239" rtl="0" eaLnBrk="1" fontAlgn="base" hangingPunct="1">
        <a:lnSpc>
          <a:spcPct val="95000"/>
        </a:lnSpc>
        <a:spcBef>
          <a:spcPts val="1433"/>
        </a:spcBef>
        <a:spcAft>
          <a:spcPct val="0"/>
        </a:spcAft>
        <a:buClr>
          <a:schemeClr val="tx2"/>
        </a:buClr>
        <a:buSzPct val="90000"/>
        <a:buFont typeface="Arial" charset="0"/>
        <a:buChar char="•"/>
        <a:defRPr lang="en-US" sz="20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1pPr>
      <a:lvl2pPr marL="478343" indent="-287851" algn="l" defTabSz="912239" rtl="0" eaLnBrk="1" fontAlgn="base" hangingPunct="1">
        <a:lnSpc>
          <a:spcPct val="95000"/>
        </a:lnSpc>
        <a:spcBef>
          <a:spcPts val="800"/>
        </a:spcBef>
        <a:spcAft>
          <a:spcPct val="0"/>
        </a:spcAft>
        <a:buClr>
          <a:schemeClr val="tx2"/>
        </a:buClr>
        <a:buFont typeface="Arial" charset="0"/>
        <a:buChar char="•"/>
        <a:defRPr lang="en-US" sz="1867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2pPr>
      <a:lvl3pPr marL="575704" indent="-226473" algn="l" defTabSz="912239" rtl="0" eaLnBrk="1" fontAlgn="base" hangingPunct="1">
        <a:lnSpc>
          <a:spcPct val="95000"/>
        </a:lnSpc>
        <a:spcBef>
          <a:spcPts val="833"/>
        </a:spcBef>
        <a:spcAft>
          <a:spcPct val="0"/>
        </a:spcAft>
        <a:buFont typeface="Arial" charset="0"/>
        <a:buChar char="•"/>
        <a:defRPr lang="en-US" sz="16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3pPr>
      <a:lvl4pPr marL="670950" indent="-226473" algn="l" defTabSz="912239" rtl="0" eaLnBrk="1" fontAlgn="base" hangingPunct="1">
        <a:lnSpc>
          <a:spcPct val="95000"/>
        </a:lnSpc>
        <a:spcBef>
          <a:spcPts val="833"/>
        </a:spcBef>
        <a:spcAft>
          <a:spcPct val="0"/>
        </a:spcAft>
        <a:buFont typeface="Arial" charset="0"/>
        <a:buChar char="•"/>
        <a:defRPr lang="en-US" sz="1467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4pPr>
      <a:lvl5pPr marL="766196" indent="-226473" algn="l" defTabSz="912239" rtl="0" eaLnBrk="1" fontAlgn="base" hangingPunct="1">
        <a:lnSpc>
          <a:spcPct val="95000"/>
        </a:lnSpc>
        <a:spcBef>
          <a:spcPts val="833"/>
        </a:spcBef>
        <a:spcAft>
          <a:spcPct val="0"/>
        </a:spcAft>
        <a:buFont typeface="Arial" charset="0"/>
        <a:buChar char="•"/>
        <a:defRPr lang="en-US" sz="1467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5pPr>
      <a:lvl6pPr marL="1151750" indent="-228582" algn="l" defTabSz="914324" rtl="0" eaLnBrk="1" latinLnBrk="0" hangingPunct="1">
        <a:spcBef>
          <a:spcPts val="800"/>
        </a:spcBef>
        <a:buFont typeface="Arial" pitchFamily="34" charset="0"/>
        <a:buChar char="•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1247730" indent="-228552" algn="l" defTabSz="914324" rtl="0" eaLnBrk="1" latinLnBrk="0" hangingPunct="1">
        <a:spcBef>
          <a:spcPts val="800"/>
        </a:spcBef>
        <a:buFont typeface="Arial" pitchFamily="34" charset="0"/>
        <a:buChar char="•"/>
        <a:defRPr sz="1067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3200133" indent="0" algn="l" defTabSz="914324" rtl="0" eaLnBrk="1" latinLnBrk="0" hangingPunct="1">
        <a:spcBef>
          <a:spcPct val="20000"/>
        </a:spcBef>
        <a:buFont typeface="Arial" pitchFamily="34" charset="0"/>
        <a:buNone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878" indent="-228582" algn="l" defTabSz="914324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24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1pPr>
      <a:lvl2pPr marL="457159" algn="l" defTabSz="914324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2pPr>
      <a:lvl3pPr marL="914324" algn="l" defTabSz="914324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3pPr>
      <a:lvl4pPr marL="1371484" algn="l" defTabSz="914324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4pPr>
      <a:lvl5pPr marL="1828649" algn="l" defTabSz="914324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5pPr>
      <a:lvl6pPr marL="2285807" algn="l" defTabSz="914324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6pPr>
      <a:lvl7pPr marL="2742973" algn="l" defTabSz="914324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7pPr>
      <a:lvl8pPr marL="3200133" algn="l" defTabSz="914324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8pPr>
      <a:lvl9pPr marL="3657298" algn="l" defTabSz="914324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892">
          <p15:clr>
            <a:srgbClr val="F26B43"/>
          </p15:clr>
        </p15:guide>
        <p15:guide id="2" pos="336">
          <p15:clr>
            <a:srgbClr val="F26B43"/>
          </p15:clr>
        </p15:guide>
        <p15:guide id="3" pos="5448">
          <p15:clr>
            <a:srgbClr val="F26B43"/>
          </p15:clr>
        </p15:guide>
        <p15:guide id="4" orient="horz" pos="757">
          <p15:clr>
            <a:srgbClr val="F26B43"/>
          </p15:clr>
        </p15:guide>
        <p15:guide id="5" orient="horz" pos="335">
          <p15:clr>
            <a:srgbClr val="F26B43"/>
          </p15:clr>
        </p15:guide>
        <p15:guide id="6" pos="2876">
          <p15:clr>
            <a:srgbClr val="F26B43"/>
          </p15:clr>
        </p15:guide>
        <p15:guide id="7" orient="horz" pos="1043">
          <p15:clr>
            <a:srgbClr val="F26B43"/>
          </p15:clr>
        </p15:guide>
      </p15:sldGuideLst>
    </p:ext>
  </p:extLst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2"/>
        </a:solidFill>
        <a:effectLst/>
      </p:bgPr>
    </p:bg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Google Shape;11;p1"/>
          <p:cNvSpPr/>
          <p:nvPr/>
        </p:nvSpPr>
        <p:spPr>
          <a:xfrm>
            <a:off x="719667" y="6298143"/>
            <a:ext cx="3347412" cy="177270"/>
          </a:xfrm>
          <a:prstGeom prst="rect">
            <a:avLst/>
          </a:prstGeom>
          <a:noFill/>
          <a:ln>
            <a:noFill/>
          </a:ln>
        </p:spPr>
        <p:txBody>
          <a:bodyPr spcFirstLastPara="1" vert="horz" wrap="square" lIns="0" tIns="0" rIns="0" bIns="0" anchor="b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800" b="0" i="0">
                <a:solidFill>
                  <a:srgbClr val="B9BDC2"/>
                </a:solidFill>
                <a:latin typeface="CiscoSansTT ExtraLight" panose="020B0303020201020303" pitchFamily="34" charset="0"/>
                <a:ea typeface="Helvetica Neue Light"/>
                <a:cs typeface="CiscoSansTT ExtraLight" panose="020B0303020201020303" pitchFamily="34" charset="0"/>
                <a:sym typeface="Helvetica Neue Light"/>
              </a:rPr>
              <a:t>© 2020 Cisco and/or its affiliates. All rights reserved. Cisco Confidential</a:t>
            </a:r>
            <a:endParaRPr sz="800" b="0" i="0">
              <a:solidFill>
                <a:srgbClr val="B9BDC2"/>
              </a:solidFill>
              <a:latin typeface="CiscoSansTT ExtraLight" panose="020B0303020201020303" pitchFamily="34" charset="0"/>
              <a:ea typeface="Helvetica Neue Light"/>
              <a:cs typeface="CiscoSansTT ExtraLight" panose="020B0303020201020303" pitchFamily="34" charset="0"/>
              <a:sym typeface="Helvetica Neue Light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EBF62DC0-0655-46BE-8152-184906C1E57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667" y="582613"/>
            <a:ext cx="10752667" cy="90587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192C60F-F632-4C69-95CF-8B18577901A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19667" y="2070100"/>
            <a:ext cx="10752667" cy="359833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B61F8B3-4055-4C20-963A-238ADF1932E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298950" y="6121401"/>
            <a:ext cx="7173383" cy="353484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 algn="r">
              <a:defRPr sz="800">
                <a:solidFill>
                  <a:schemeClr val="bg1">
                    <a:lumMod val="65000"/>
                  </a:schemeClr>
                </a:solidFill>
                <a:latin typeface="+mn-lt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58511957"/>
      </p:ext>
    </p:extLst>
  </p:cSld>
  <p:clrMap bg1="lt1" tx1="dk1" bg2="dk2" tx2="lt2" accent1="accent1" accent2="accent2" accent3="accent3" accent4="accent4" accent5="accent5" accent6="accent6" hlink="hlink" folHlink="folHlink"/>
  <p:sldLayoutIdLst>
    <p:sldLayoutId id="2147485617" r:id="rId1"/>
    <p:sldLayoutId id="2147485618" r:id="rId2"/>
    <p:sldLayoutId id="2147485619" r:id="rId3"/>
    <p:sldLayoutId id="2147485620" r:id="rId4"/>
    <p:sldLayoutId id="2147485621" r:id="rId5"/>
    <p:sldLayoutId id="2147485622" r:id="rId6"/>
    <p:sldLayoutId id="2147485623" r:id="rId7"/>
    <p:sldLayoutId id="2147485624" r:id="rId8"/>
    <p:sldLayoutId id="2147485625" r:id="rId9"/>
    <p:sldLayoutId id="2147485626" r:id="rId10"/>
    <p:sldLayoutId id="2147485627" r:id="rId11"/>
    <p:sldLayoutId id="2147485628" r:id="rId12"/>
    <p:sldLayoutId id="2147485629" r:id="rId13"/>
    <p:sldLayoutId id="2147485630" r:id="rId14"/>
    <p:sldLayoutId id="2147485631" r:id="rId15"/>
    <p:sldLayoutId id="2147485632" r:id="rId16"/>
    <p:sldLayoutId id="2147485633" r:id="rId17"/>
    <p:sldLayoutId id="2147485634" r:id="rId18"/>
    <p:sldLayoutId id="2147485635" r:id="rId19"/>
    <p:sldLayoutId id="2147485636" r:id="rId20"/>
    <p:sldLayoutId id="2147485637" r:id="rId21"/>
    <p:sldLayoutId id="2147485638" r:id="rId22"/>
    <p:sldLayoutId id="2147485639" r:id="rId23"/>
    <p:sldLayoutId id="2147485640" r:id="rId24"/>
    <p:sldLayoutId id="2147485641" r:id="rId25"/>
    <p:sldLayoutId id="2147485642" r:id="rId26"/>
    <p:sldLayoutId id="2147485643" r:id="rId27"/>
    <p:sldLayoutId id="2147485644" r:id="rId28"/>
    <p:sldLayoutId id="2147485645" r:id="rId29"/>
    <p:sldLayoutId id="2147485646" r:id="rId30"/>
    <p:sldLayoutId id="2147485647" r:id="rId31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4000" b="0" i="0" u="none" strike="noStrike" cap="none">
          <a:solidFill>
            <a:schemeClr val="bg2"/>
          </a:solidFill>
          <a:latin typeface="+mj-lt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10000"/>
        </a:lnSpc>
        <a:spcBef>
          <a:spcPts val="0"/>
        </a:spcBef>
        <a:spcAft>
          <a:spcPts val="1800"/>
        </a:spcAft>
        <a:buClr>
          <a:srgbClr val="000000"/>
        </a:buClr>
        <a:buFont typeface="Arial"/>
        <a:defRPr sz="1400" b="0" i="0" u="none" strike="noStrike" cap="none">
          <a:solidFill>
            <a:schemeClr val="bg2"/>
          </a:solidFill>
          <a:latin typeface="+mn-lt"/>
          <a:ea typeface="Arial"/>
          <a:cs typeface="Arial"/>
          <a:sym typeface="Arial"/>
        </a:defRPr>
      </a:lvl1pPr>
      <a:lvl2pPr marL="143996" marR="0" lvl="1" indent="143996" algn="l" rtl="0">
        <a:lnSpc>
          <a:spcPct val="110000"/>
        </a:lnSpc>
        <a:spcBef>
          <a:spcPts val="0"/>
        </a:spcBef>
        <a:spcAft>
          <a:spcPts val="1800"/>
        </a:spcAft>
        <a:buClr>
          <a:srgbClr val="000000"/>
        </a:buClr>
        <a:buFont typeface="Arial"/>
        <a:defRPr sz="1400" b="0" i="0" u="none" strike="noStrike" cap="none">
          <a:solidFill>
            <a:schemeClr val="bg2"/>
          </a:solidFill>
          <a:latin typeface="+mn-lt"/>
          <a:ea typeface="Arial"/>
          <a:cs typeface="Arial"/>
          <a:sym typeface="Arial"/>
        </a:defRPr>
      </a:lvl2pPr>
      <a:lvl3pPr marL="287993" marR="0" lvl="2" indent="287993" algn="l" rtl="0">
        <a:lnSpc>
          <a:spcPct val="110000"/>
        </a:lnSpc>
        <a:spcBef>
          <a:spcPts val="0"/>
        </a:spcBef>
        <a:spcAft>
          <a:spcPts val="1800"/>
        </a:spcAft>
        <a:buClr>
          <a:srgbClr val="000000"/>
        </a:buClr>
        <a:buFont typeface="Arial"/>
        <a:defRPr sz="1400" b="0" i="0" u="none" strike="noStrike" cap="none">
          <a:solidFill>
            <a:schemeClr val="bg2"/>
          </a:solidFill>
          <a:latin typeface="+mn-lt"/>
          <a:ea typeface="Arial"/>
          <a:cs typeface="Arial"/>
          <a:sym typeface="Arial"/>
        </a:defRPr>
      </a:lvl3pPr>
      <a:lvl4pPr marL="431989" marR="0" lvl="3" indent="431989" algn="l" rtl="0">
        <a:lnSpc>
          <a:spcPct val="110000"/>
        </a:lnSpc>
        <a:spcBef>
          <a:spcPts val="0"/>
        </a:spcBef>
        <a:spcAft>
          <a:spcPts val="1800"/>
        </a:spcAft>
        <a:buClr>
          <a:srgbClr val="000000"/>
        </a:buClr>
        <a:buFont typeface="Arial"/>
        <a:defRPr sz="1400" b="0" i="0" u="none" strike="noStrike" cap="none">
          <a:solidFill>
            <a:schemeClr val="bg2"/>
          </a:solidFill>
          <a:latin typeface="+mn-lt"/>
          <a:ea typeface="Arial"/>
          <a:cs typeface="Arial"/>
          <a:sym typeface="Arial"/>
        </a:defRPr>
      </a:lvl4pPr>
      <a:lvl5pPr marL="575986" marR="0" lvl="4" indent="575986" algn="l" rtl="0">
        <a:lnSpc>
          <a:spcPct val="110000"/>
        </a:lnSpc>
        <a:spcBef>
          <a:spcPts val="0"/>
        </a:spcBef>
        <a:spcAft>
          <a:spcPts val="1800"/>
        </a:spcAft>
        <a:buClr>
          <a:srgbClr val="000000"/>
        </a:buClr>
        <a:buFont typeface="Arial"/>
        <a:defRPr sz="1400" b="0" i="0" u="none" strike="noStrike" cap="none">
          <a:solidFill>
            <a:schemeClr val="bg2"/>
          </a:solidFill>
          <a:latin typeface="+mn-lt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856">
          <p15:clr>
            <a:srgbClr val="F26B43"/>
          </p15:clr>
        </p15:guide>
        <p15:guide id="2" pos="453">
          <p15:clr>
            <a:srgbClr val="F26B43"/>
          </p15:clr>
        </p15:guide>
        <p15:guide id="3" pos="7227">
          <p15:clr>
            <a:srgbClr val="F26B43"/>
          </p15:clr>
        </p15:guide>
        <p15:guide id="5" orient="horz" pos="447">
          <p15:clr>
            <a:srgbClr val="5ACBF0"/>
          </p15:clr>
        </p15:guide>
        <p15:guide id="6" pos="3840">
          <p15:clr>
            <a:srgbClr val="F26B43"/>
          </p15:clr>
        </p15:guide>
        <p15:guide id="8">
          <p15:clr>
            <a:srgbClr val="F26B43"/>
          </p15:clr>
        </p15:guide>
        <p15:guide id="9" orient="horz">
          <p15:clr>
            <a:srgbClr val="F26B43"/>
          </p15:clr>
        </p15:guide>
        <p15:guide id="10" orient="horz" pos="4320">
          <p15:clr>
            <a:srgbClr val="F26B43"/>
          </p15:clr>
        </p15:guide>
        <p15:guide id="11" orient="horz" pos="4079">
          <p15:clr>
            <a:srgbClr val="F26B43"/>
          </p15:clr>
        </p15:guide>
        <p15:guide id="12" pos="7683">
          <p15:clr>
            <a:srgbClr val="F26B43"/>
          </p15:clr>
        </p15:guide>
        <p15:guide id="14" pos="1016">
          <p15:clr>
            <a:srgbClr val="5ACBF0"/>
          </p15:clr>
        </p15:guide>
        <p15:guide id="15" pos="1584">
          <p15:clr>
            <a:srgbClr val="5ACBF0"/>
          </p15:clr>
        </p15:guide>
        <p15:guide id="16" pos="2147">
          <p15:clr>
            <a:srgbClr val="5ACBF0"/>
          </p15:clr>
        </p15:guide>
        <p15:guide id="17" pos="2708">
          <p15:clr>
            <a:srgbClr val="5ACBF0"/>
          </p15:clr>
        </p15:guide>
        <p15:guide id="18" pos="3276">
          <p15:clr>
            <a:srgbClr val="5ACBF0"/>
          </p15:clr>
        </p15:guide>
        <p15:guide id="19" pos="5532">
          <p15:clr>
            <a:srgbClr val="5ACBF0"/>
          </p15:clr>
        </p15:guide>
        <p15:guide id="20" pos="4404">
          <p15:clr>
            <a:srgbClr val="5ACBF0"/>
          </p15:clr>
        </p15:guide>
        <p15:guide id="21" pos="4968">
          <p15:clr>
            <a:srgbClr val="5ACBF0"/>
          </p15:clr>
        </p15:guide>
        <p15:guide id="23" pos="6100">
          <p15:clr>
            <a:srgbClr val="5ACBF0"/>
          </p15:clr>
        </p15:guide>
        <p15:guide id="24" pos="6664">
          <p15:clr>
            <a:srgbClr val="5ACBF0"/>
          </p15:clr>
        </p15:guide>
        <p15:guide id="26" orient="horz" pos="728">
          <p15:clr>
            <a:srgbClr val="5ACBF0"/>
          </p15:clr>
        </p15:guide>
        <p15:guide id="27" orient="horz" pos="1016">
          <p15:clr>
            <a:srgbClr val="5ACBF0"/>
          </p15:clr>
        </p15:guide>
        <p15:guide id="28" orient="horz" pos="1304">
          <p15:clr>
            <a:srgbClr val="5ACBF0"/>
          </p15:clr>
        </p15:guide>
        <p15:guide id="29" orient="horz" pos="1587">
          <p15:clr>
            <a:srgbClr val="5ACBF0"/>
          </p15:clr>
        </p15:guide>
        <p15:guide id="30" orient="horz" pos="1865">
          <p15:clr>
            <a:srgbClr val="5ACBF0"/>
          </p15:clr>
        </p15:guide>
        <p15:guide id="31" orient="horz" pos="2152">
          <p15:clr>
            <a:srgbClr val="5ACBF0"/>
          </p15:clr>
        </p15:guide>
        <p15:guide id="32" orient="horz" pos="2429">
          <p15:clr>
            <a:srgbClr val="5ACBF0"/>
          </p15:clr>
        </p15:guide>
        <p15:guide id="33" orient="horz" pos="2723">
          <p15:clr>
            <a:srgbClr val="5ACBF0"/>
          </p15:clr>
        </p15:guide>
        <p15:guide id="34" orient="horz" pos="3005">
          <p15:clr>
            <a:srgbClr val="5ACBF0"/>
          </p15:clr>
        </p15:guide>
        <p15:guide id="35" orient="horz" pos="3283">
          <p15:clr>
            <a:srgbClr val="5ACBF0"/>
          </p15:clr>
        </p15:guide>
        <p15:guide id="36" orient="horz" pos="3571">
          <p15:clr>
            <a:srgbClr val="5ACBF0"/>
          </p15:clr>
        </p15:guide>
        <p15:guide id="37" orient="horz" pos="367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4.png"/><Relationship Id="rId3" Type="http://schemas.openxmlformats.org/officeDocument/2006/relationships/image" Target="../media/image59.jpeg"/><Relationship Id="rId7" Type="http://schemas.openxmlformats.org/officeDocument/2006/relationships/image" Target="../media/image63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11.xml"/><Relationship Id="rId6" Type="http://schemas.openxmlformats.org/officeDocument/2006/relationships/image" Target="../media/image62.png"/><Relationship Id="rId5" Type="http://schemas.openxmlformats.org/officeDocument/2006/relationships/image" Target="../media/image61.png"/><Relationship Id="rId4" Type="http://schemas.openxmlformats.org/officeDocument/2006/relationships/image" Target="../media/image60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9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65.xml"/><Relationship Id="rId6" Type="http://schemas.openxmlformats.org/officeDocument/2006/relationships/image" Target="../media/image82.png"/><Relationship Id="rId5" Type="http://schemas.openxmlformats.org/officeDocument/2006/relationships/image" Target="../media/image81.tiff"/><Relationship Id="rId4" Type="http://schemas.openxmlformats.org/officeDocument/2006/relationships/image" Target="../media/image80.pn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88.svg"/><Relationship Id="rId13" Type="http://schemas.openxmlformats.org/officeDocument/2006/relationships/image" Target="../media/image93.png"/><Relationship Id="rId3" Type="http://schemas.openxmlformats.org/officeDocument/2006/relationships/image" Target="../media/image83.png"/><Relationship Id="rId7" Type="http://schemas.openxmlformats.org/officeDocument/2006/relationships/image" Target="../media/image87.png"/><Relationship Id="rId12" Type="http://schemas.openxmlformats.org/officeDocument/2006/relationships/image" Target="../media/image92.sv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65.xml"/><Relationship Id="rId6" Type="http://schemas.openxmlformats.org/officeDocument/2006/relationships/image" Target="../media/image86.svg"/><Relationship Id="rId11" Type="http://schemas.openxmlformats.org/officeDocument/2006/relationships/image" Target="../media/image91.png"/><Relationship Id="rId5" Type="http://schemas.openxmlformats.org/officeDocument/2006/relationships/image" Target="../media/image85.png"/><Relationship Id="rId10" Type="http://schemas.openxmlformats.org/officeDocument/2006/relationships/image" Target="../media/image90.svg"/><Relationship Id="rId4" Type="http://schemas.openxmlformats.org/officeDocument/2006/relationships/image" Target="../media/image84.svg"/><Relationship Id="rId9" Type="http://schemas.openxmlformats.org/officeDocument/2006/relationships/image" Target="../media/image89.png"/><Relationship Id="rId14" Type="http://schemas.openxmlformats.org/officeDocument/2006/relationships/image" Target="../media/image94.sv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0.png"/><Relationship Id="rId13" Type="http://schemas.openxmlformats.org/officeDocument/2006/relationships/image" Target="../media/image104.png"/><Relationship Id="rId18" Type="http://schemas.microsoft.com/office/2007/relationships/hdphoto" Target="../media/hdphoto3.wdp"/><Relationship Id="rId26" Type="http://schemas.openxmlformats.org/officeDocument/2006/relationships/image" Target="../media/image115.png"/><Relationship Id="rId3" Type="http://schemas.openxmlformats.org/officeDocument/2006/relationships/image" Target="../media/image95.png"/><Relationship Id="rId21" Type="http://schemas.openxmlformats.org/officeDocument/2006/relationships/image" Target="../media/image110.png"/><Relationship Id="rId7" Type="http://schemas.openxmlformats.org/officeDocument/2006/relationships/image" Target="../media/image99.png"/><Relationship Id="rId12" Type="http://schemas.openxmlformats.org/officeDocument/2006/relationships/image" Target="../media/image103.png"/><Relationship Id="rId17" Type="http://schemas.openxmlformats.org/officeDocument/2006/relationships/image" Target="../media/image107.png"/><Relationship Id="rId25" Type="http://schemas.openxmlformats.org/officeDocument/2006/relationships/image" Target="../media/image114.svg"/><Relationship Id="rId2" Type="http://schemas.openxmlformats.org/officeDocument/2006/relationships/notesSlide" Target="../notesSlides/notesSlide12.xml"/><Relationship Id="rId16" Type="http://schemas.openxmlformats.org/officeDocument/2006/relationships/image" Target="../media/image106.png"/><Relationship Id="rId20" Type="http://schemas.openxmlformats.org/officeDocument/2006/relationships/image" Target="../media/image109.png"/><Relationship Id="rId29" Type="http://schemas.openxmlformats.org/officeDocument/2006/relationships/image" Target="../media/image118.svg"/><Relationship Id="rId1" Type="http://schemas.openxmlformats.org/officeDocument/2006/relationships/slideLayout" Target="../slideLayouts/slideLayout107.xml"/><Relationship Id="rId6" Type="http://schemas.openxmlformats.org/officeDocument/2006/relationships/image" Target="../media/image98.png"/><Relationship Id="rId11" Type="http://schemas.openxmlformats.org/officeDocument/2006/relationships/image" Target="../media/image102.png"/><Relationship Id="rId24" Type="http://schemas.openxmlformats.org/officeDocument/2006/relationships/image" Target="../media/image113.png"/><Relationship Id="rId5" Type="http://schemas.openxmlformats.org/officeDocument/2006/relationships/image" Target="../media/image97.png"/><Relationship Id="rId15" Type="http://schemas.openxmlformats.org/officeDocument/2006/relationships/image" Target="../media/image105.png"/><Relationship Id="rId23" Type="http://schemas.openxmlformats.org/officeDocument/2006/relationships/image" Target="../media/image112.svg"/><Relationship Id="rId28" Type="http://schemas.openxmlformats.org/officeDocument/2006/relationships/image" Target="../media/image117.png"/><Relationship Id="rId10" Type="http://schemas.microsoft.com/office/2007/relationships/hdphoto" Target="../media/hdphoto1.wdp"/><Relationship Id="rId19" Type="http://schemas.openxmlformats.org/officeDocument/2006/relationships/image" Target="../media/image108.png"/><Relationship Id="rId4" Type="http://schemas.openxmlformats.org/officeDocument/2006/relationships/image" Target="../media/image96.png"/><Relationship Id="rId9" Type="http://schemas.openxmlformats.org/officeDocument/2006/relationships/image" Target="../media/image101.png"/><Relationship Id="rId14" Type="http://schemas.microsoft.com/office/2007/relationships/hdphoto" Target="../media/hdphoto2.wdp"/><Relationship Id="rId22" Type="http://schemas.openxmlformats.org/officeDocument/2006/relationships/image" Target="../media/image111.png"/><Relationship Id="rId27" Type="http://schemas.openxmlformats.org/officeDocument/2006/relationships/image" Target="../media/image116.svg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05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65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9.png"/><Relationship Id="rId7" Type="http://schemas.openxmlformats.org/officeDocument/2006/relationships/image" Target="../media/image81.tiff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80.png"/><Relationship Id="rId5" Type="http://schemas.openxmlformats.org/officeDocument/2006/relationships/image" Target="../media/image79.png"/><Relationship Id="rId4" Type="http://schemas.openxmlformats.org/officeDocument/2006/relationships/image" Target="../media/image82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0.jpe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166.xml"/><Relationship Id="rId4" Type="http://schemas.openxmlformats.org/officeDocument/2006/relationships/image" Target="../media/image121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2.png"/><Relationship Id="rId7" Type="http://schemas.openxmlformats.org/officeDocument/2006/relationships/image" Target="../media/image88.sv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165.xml"/><Relationship Id="rId6" Type="http://schemas.openxmlformats.org/officeDocument/2006/relationships/image" Target="../media/image87.png"/><Relationship Id="rId5" Type="http://schemas.openxmlformats.org/officeDocument/2006/relationships/image" Target="../media/image124.png"/><Relationship Id="rId4" Type="http://schemas.openxmlformats.org/officeDocument/2006/relationships/image" Target="../media/image123.png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0.jpeg"/><Relationship Id="rId13" Type="http://schemas.openxmlformats.org/officeDocument/2006/relationships/image" Target="../media/image135.jpeg"/><Relationship Id="rId18" Type="http://schemas.openxmlformats.org/officeDocument/2006/relationships/image" Target="../media/image88.svg"/><Relationship Id="rId3" Type="http://schemas.openxmlformats.org/officeDocument/2006/relationships/image" Target="../media/image125.jpeg"/><Relationship Id="rId21" Type="http://schemas.openxmlformats.org/officeDocument/2006/relationships/image" Target="../media/image85.png"/><Relationship Id="rId7" Type="http://schemas.openxmlformats.org/officeDocument/2006/relationships/image" Target="../media/image129.jpeg"/><Relationship Id="rId12" Type="http://schemas.openxmlformats.org/officeDocument/2006/relationships/image" Target="../media/image134.jpeg"/><Relationship Id="rId17" Type="http://schemas.openxmlformats.org/officeDocument/2006/relationships/image" Target="../media/image87.png"/><Relationship Id="rId2" Type="http://schemas.openxmlformats.org/officeDocument/2006/relationships/notesSlide" Target="../notesSlides/notesSlide18.xml"/><Relationship Id="rId16" Type="http://schemas.openxmlformats.org/officeDocument/2006/relationships/image" Target="../media/image84.svg"/><Relationship Id="rId20" Type="http://schemas.openxmlformats.org/officeDocument/2006/relationships/image" Target="../media/image90.svg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128.jpeg"/><Relationship Id="rId11" Type="http://schemas.openxmlformats.org/officeDocument/2006/relationships/image" Target="../media/image133.jpeg"/><Relationship Id="rId5" Type="http://schemas.openxmlformats.org/officeDocument/2006/relationships/image" Target="../media/image127.jpeg"/><Relationship Id="rId15" Type="http://schemas.openxmlformats.org/officeDocument/2006/relationships/image" Target="../media/image83.png"/><Relationship Id="rId10" Type="http://schemas.openxmlformats.org/officeDocument/2006/relationships/image" Target="../media/image132.jpeg"/><Relationship Id="rId19" Type="http://schemas.openxmlformats.org/officeDocument/2006/relationships/image" Target="../media/image89.png"/><Relationship Id="rId4" Type="http://schemas.openxmlformats.org/officeDocument/2006/relationships/image" Target="../media/image126.jpeg"/><Relationship Id="rId9" Type="http://schemas.openxmlformats.org/officeDocument/2006/relationships/image" Target="../media/image131.jpeg"/><Relationship Id="rId14" Type="http://schemas.openxmlformats.org/officeDocument/2006/relationships/image" Target="../media/image136.jpeg"/><Relationship Id="rId22" Type="http://schemas.openxmlformats.org/officeDocument/2006/relationships/image" Target="../media/image86.svg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8.emf"/><Relationship Id="rId3" Type="http://schemas.openxmlformats.org/officeDocument/2006/relationships/image" Target="../media/image68.png"/><Relationship Id="rId7" Type="http://schemas.openxmlformats.org/officeDocument/2006/relationships/image" Target="../media/image88.sv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165.xml"/><Relationship Id="rId6" Type="http://schemas.openxmlformats.org/officeDocument/2006/relationships/image" Target="../media/image87.png"/><Relationship Id="rId5" Type="http://schemas.openxmlformats.org/officeDocument/2006/relationships/image" Target="../media/image124.png"/><Relationship Id="rId4" Type="http://schemas.openxmlformats.org/officeDocument/2006/relationships/image" Target="../media/image137.sv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21.xm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88.svg"/><Relationship Id="rId3" Type="http://schemas.openxmlformats.org/officeDocument/2006/relationships/image" Target="../media/image83.png"/><Relationship Id="rId7" Type="http://schemas.openxmlformats.org/officeDocument/2006/relationships/image" Target="../media/image87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86.svg"/><Relationship Id="rId5" Type="http://schemas.openxmlformats.org/officeDocument/2006/relationships/image" Target="../media/image85.png"/><Relationship Id="rId10" Type="http://schemas.openxmlformats.org/officeDocument/2006/relationships/image" Target="../media/image140.svg"/><Relationship Id="rId4" Type="http://schemas.openxmlformats.org/officeDocument/2006/relationships/image" Target="../media/image84.svg"/><Relationship Id="rId9" Type="http://schemas.openxmlformats.org/officeDocument/2006/relationships/image" Target="../media/image139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1.pn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165.xml"/><Relationship Id="rId4" Type="http://schemas.openxmlformats.org/officeDocument/2006/relationships/image" Target="../media/image141.jpeg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7.svg"/><Relationship Id="rId13" Type="http://schemas.openxmlformats.org/officeDocument/2006/relationships/image" Target="../media/image152.png"/><Relationship Id="rId3" Type="http://schemas.openxmlformats.org/officeDocument/2006/relationships/image" Target="../media/image142.png"/><Relationship Id="rId7" Type="http://schemas.openxmlformats.org/officeDocument/2006/relationships/image" Target="../media/image146.png"/><Relationship Id="rId12" Type="http://schemas.openxmlformats.org/officeDocument/2006/relationships/image" Target="../media/image151.sv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165.xml"/><Relationship Id="rId6" Type="http://schemas.openxmlformats.org/officeDocument/2006/relationships/image" Target="../media/image145.svg"/><Relationship Id="rId11" Type="http://schemas.openxmlformats.org/officeDocument/2006/relationships/image" Target="../media/image150.png"/><Relationship Id="rId5" Type="http://schemas.openxmlformats.org/officeDocument/2006/relationships/image" Target="../media/image144.png"/><Relationship Id="rId10" Type="http://schemas.openxmlformats.org/officeDocument/2006/relationships/image" Target="../media/image149.svg"/><Relationship Id="rId4" Type="http://schemas.openxmlformats.org/officeDocument/2006/relationships/image" Target="../media/image143.svg"/><Relationship Id="rId9" Type="http://schemas.openxmlformats.org/officeDocument/2006/relationships/image" Target="../media/image148.png"/><Relationship Id="rId14" Type="http://schemas.openxmlformats.org/officeDocument/2006/relationships/image" Target="../media/image153.svg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88.svg"/><Relationship Id="rId13" Type="http://schemas.openxmlformats.org/officeDocument/2006/relationships/image" Target="../media/image93.png"/><Relationship Id="rId3" Type="http://schemas.openxmlformats.org/officeDocument/2006/relationships/image" Target="../media/image83.png"/><Relationship Id="rId7" Type="http://schemas.openxmlformats.org/officeDocument/2006/relationships/image" Target="../media/image87.png"/><Relationship Id="rId12" Type="http://schemas.openxmlformats.org/officeDocument/2006/relationships/image" Target="../media/image92.svg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165.xml"/><Relationship Id="rId6" Type="http://schemas.openxmlformats.org/officeDocument/2006/relationships/image" Target="../media/image86.svg"/><Relationship Id="rId11" Type="http://schemas.openxmlformats.org/officeDocument/2006/relationships/image" Target="../media/image91.png"/><Relationship Id="rId5" Type="http://schemas.openxmlformats.org/officeDocument/2006/relationships/image" Target="../media/image85.png"/><Relationship Id="rId10" Type="http://schemas.openxmlformats.org/officeDocument/2006/relationships/image" Target="../media/image90.svg"/><Relationship Id="rId4" Type="http://schemas.openxmlformats.org/officeDocument/2006/relationships/image" Target="../media/image84.svg"/><Relationship Id="rId9" Type="http://schemas.openxmlformats.org/officeDocument/2006/relationships/image" Target="../media/image89.png"/><Relationship Id="rId14" Type="http://schemas.openxmlformats.org/officeDocument/2006/relationships/image" Target="../media/image94.svg"/></Relationships>
</file>

<file path=ppt/slides/_rels/slide24.xml.rels><?xml version="1.0" encoding="UTF-8" standalone="yes"?>
<Relationships xmlns="http://schemas.openxmlformats.org/package/2006/relationships"><Relationship Id="rId8" Type="http://schemas.microsoft.com/office/2007/relationships/hdphoto" Target="../media/hdphoto6.wdp"/><Relationship Id="rId13" Type="http://schemas.openxmlformats.org/officeDocument/2006/relationships/image" Target="../media/image159.png"/><Relationship Id="rId18" Type="http://schemas.microsoft.com/office/2007/relationships/hdphoto" Target="../media/hdphoto11.wdp"/><Relationship Id="rId26" Type="http://schemas.microsoft.com/office/2007/relationships/hdphoto" Target="../media/hdphoto15.wdp"/><Relationship Id="rId39" Type="http://schemas.openxmlformats.org/officeDocument/2006/relationships/image" Target="../media/image166.svg"/><Relationship Id="rId3" Type="http://schemas.openxmlformats.org/officeDocument/2006/relationships/image" Target="../media/image154.png"/><Relationship Id="rId21" Type="http://schemas.openxmlformats.org/officeDocument/2006/relationships/image" Target="../media/image163.png"/><Relationship Id="rId34" Type="http://schemas.openxmlformats.org/officeDocument/2006/relationships/image" Target="../media/image90.svg"/><Relationship Id="rId42" Type="http://schemas.openxmlformats.org/officeDocument/2006/relationships/image" Target="../media/image169.svg"/><Relationship Id="rId7" Type="http://schemas.openxmlformats.org/officeDocument/2006/relationships/image" Target="../media/image156.png"/><Relationship Id="rId12" Type="http://schemas.microsoft.com/office/2007/relationships/hdphoto" Target="../media/hdphoto8.wdp"/><Relationship Id="rId17" Type="http://schemas.openxmlformats.org/officeDocument/2006/relationships/image" Target="../media/image161.png"/><Relationship Id="rId25" Type="http://schemas.openxmlformats.org/officeDocument/2006/relationships/image" Target="../media/image165.png"/><Relationship Id="rId33" Type="http://schemas.openxmlformats.org/officeDocument/2006/relationships/image" Target="../media/image89.png"/><Relationship Id="rId38" Type="http://schemas.openxmlformats.org/officeDocument/2006/relationships/image" Target="../media/image92.svg"/><Relationship Id="rId2" Type="http://schemas.openxmlformats.org/officeDocument/2006/relationships/notesSlide" Target="../notesSlides/notesSlide24.xml"/><Relationship Id="rId16" Type="http://schemas.microsoft.com/office/2007/relationships/hdphoto" Target="../media/hdphoto10.wdp"/><Relationship Id="rId20" Type="http://schemas.microsoft.com/office/2007/relationships/hdphoto" Target="../media/hdphoto12.wdp"/><Relationship Id="rId29" Type="http://schemas.openxmlformats.org/officeDocument/2006/relationships/image" Target="../media/image85.png"/><Relationship Id="rId41" Type="http://schemas.openxmlformats.org/officeDocument/2006/relationships/image" Target="../media/image168.svg"/><Relationship Id="rId1" Type="http://schemas.openxmlformats.org/officeDocument/2006/relationships/slideLayout" Target="../slideLayouts/slideLayout43.xml"/><Relationship Id="rId6" Type="http://schemas.microsoft.com/office/2007/relationships/hdphoto" Target="../media/hdphoto5.wdp"/><Relationship Id="rId11" Type="http://schemas.openxmlformats.org/officeDocument/2006/relationships/image" Target="../media/image158.png"/><Relationship Id="rId24" Type="http://schemas.microsoft.com/office/2007/relationships/hdphoto" Target="../media/hdphoto14.wdp"/><Relationship Id="rId32" Type="http://schemas.openxmlformats.org/officeDocument/2006/relationships/image" Target="../media/image88.svg"/><Relationship Id="rId37" Type="http://schemas.openxmlformats.org/officeDocument/2006/relationships/image" Target="../media/image91.png"/><Relationship Id="rId40" Type="http://schemas.openxmlformats.org/officeDocument/2006/relationships/image" Target="../media/image167.svg"/><Relationship Id="rId5" Type="http://schemas.openxmlformats.org/officeDocument/2006/relationships/image" Target="../media/image155.png"/><Relationship Id="rId15" Type="http://schemas.openxmlformats.org/officeDocument/2006/relationships/image" Target="../media/image160.png"/><Relationship Id="rId23" Type="http://schemas.openxmlformats.org/officeDocument/2006/relationships/image" Target="../media/image164.png"/><Relationship Id="rId28" Type="http://schemas.openxmlformats.org/officeDocument/2006/relationships/image" Target="../media/image84.svg"/><Relationship Id="rId36" Type="http://schemas.openxmlformats.org/officeDocument/2006/relationships/image" Target="../media/image94.svg"/><Relationship Id="rId10" Type="http://schemas.microsoft.com/office/2007/relationships/hdphoto" Target="../media/hdphoto7.wdp"/><Relationship Id="rId19" Type="http://schemas.openxmlformats.org/officeDocument/2006/relationships/image" Target="../media/image162.png"/><Relationship Id="rId31" Type="http://schemas.openxmlformats.org/officeDocument/2006/relationships/image" Target="../media/image87.png"/><Relationship Id="rId44" Type="http://schemas.openxmlformats.org/officeDocument/2006/relationships/image" Target="../media/image171.svg"/><Relationship Id="rId4" Type="http://schemas.microsoft.com/office/2007/relationships/hdphoto" Target="../media/hdphoto4.wdp"/><Relationship Id="rId9" Type="http://schemas.openxmlformats.org/officeDocument/2006/relationships/image" Target="../media/image157.png"/><Relationship Id="rId14" Type="http://schemas.microsoft.com/office/2007/relationships/hdphoto" Target="../media/hdphoto9.wdp"/><Relationship Id="rId22" Type="http://schemas.microsoft.com/office/2007/relationships/hdphoto" Target="../media/hdphoto13.wdp"/><Relationship Id="rId27" Type="http://schemas.openxmlformats.org/officeDocument/2006/relationships/image" Target="../media/image83.png"/><Relationship Id="rId30" Type="http://schemas.openxmlformats.org/officeDocument/2006/relationships/image" Target="../media/image86.svg"/><Relationship Id="rId35" Type="http://schemas.openxmlformats.org/officeDocument/2006/relationships/image" Target="../media/image93.png"/><Relationship Id="rId43" Type="http://schemas.openxmlformats.org/officeDocument/2006/relationships/image" Target="../media/image170.svg"/></Relationships>
</file>

<file path=ppt/slides/_rels/slide2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1.svg"/><Relationship Id="rId3" Type="http://schemas.openxmlformats.org/officeDocument/2006/relationships/image" Target="../media/image172.png"/><Relationship Id="rId7" Type="http://schemas.openxmlformats.org/officeDocument/2006/relationships/image" Target="../media/image150.png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165.xml"/><Relationship Id="rId6" Type="http://schemas.openxmlformats.org/officeDocument/2006/relationships/image" Target="../media/image153.svg"/><Relationship Id="rId5" Type="http://schemas.openxmlformats.org/officeDocument/2006/relationships/image" Target="../media/image152.png"/><Relationship Id="rId10" Type="http://schemas.openxmlformats.org/officeDocument/2006/relationships/image" Target="../media/image175.svg"/><Relationship Id="rId4" Type="http://schemas.openxmlformats.org/officeDocument/2006/relationships/image" Target="../media/image173.svg"/><Relationship Id="rId9" Type="http://schemas.openxmlformats.org/officeDocument/2006/relationships/image" Target="../media/image174.png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7.svg"/><Relationship Id="rId13" Type="http://schemas.openxmlformats.org/officeDocument/2006/relationships/image" Target="../media/image178.png"/><Relationship Id="rId3" Type="http://schemas.openxmlformats.org/officeDocument/2006/relationships/image" Target="../media/image83.png"/><Relationship Id="rId7" Type="http://schemas.openxmlformats.org/officeDocument/2006/relationships/image" Target="../media/image176.png"/><Relationship Id="rId12" Type="http://schemas.openxmlformats.org/officeDocument/2006/relationships/image" Target="../media/image140.svg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86.svg"/><Relationship Id="rId11" Type="http://schemas.openxmlformats.org/officeDocument/2006/relationships/image" Target="../media/image139.png"/><Relationship Id="rId5" Type="http://schemas.openxmlformats.org/officeDocument/2006/relationships/image" Target="../media/image85.png"/><Relationship Id="rId10" Type="http://schemas.openxmlformats.org/officeDocument/2006/relationships/image" Target="../media/image88.svg"/><Relationship Id="rId4" Type="http://schemas.openxmlformats.org/officeDocument/2006/relationships/image" Target="../media/image84.svg"/><Relationship Id="rId9" Type="http://schemas.openxmlformats.org/officeDocument/2006/relationships/image" Target="../media/image87.png"/><Relationship Id="rId14" Type="http://schemas.openxmlformats.org/officeDocument/2006/relationships/image" Target="../media/image179.svg"/></Relationships>
</file>

<file path=ppt/slides/_rels/slide2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7.svg"/><Relationship Id="rId13" Type="http://schemas.openxmlformats.org/officeDocument/2006/relationships/image" Target="../media/image178.png"/><Relationship Id="rId3" Type="http://schemas.openxmlformats.org/officeDocument/2006/relationships/image" Target="../media/image83.png"/><Relationship Id="rId7" Type="http://schemas.openxmlformats.org/officeDocument/2006/relationships/image" Target="../media/image176.png"/><Relationship Id="rId12" Type="http://schemas.openxmlformats.org/officeDocument/2006/relationships/image" Target="../media/image140.svg"/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86.svg"/><Relationship Id="rId11" Type="http://schemas.openxmlformats.org/officeDocument/2006/relationships/image" Target="../media/image139.png"/><Relationship Id="rId5" Type="http://schemas.openxmlformats.org/officeDocument/2006/relationships/image" Target="../media/image85.png"/><Relationship Id="rId10" Type="http://schemas.openxmlformats.org/officeDocument/2006/relationships/image" Target="../media/image88.svg"/><Relationship Id="rId4" Type="http://schemas.openxmlformats.org/officeDocument/2006/relationships/image" Target="../media/image84.svg"/><Relationship Id="rId9" Type="http://schemas.openxmlformats.org/officeDocument/2006/relationships/image" Target="../media/image87.png"/><Relationship Id="rId14" Type="http://schemas.openxmlformats.org/officeDocument/2006/relationships/image" Target="../media/image179.svg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0.png"/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165.xml"/><Relationship Id="rId5" Type="http://schemas.openxmlformats.org/officeDocument/2006/relationships/image" Target="../media/image64.png"/><Relationship Id="rId4" Type="http://schemas.openxmlformats.org/officeDocument/2006/relationships/image" Target="../media/image181.png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2.png"/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165.xml"/><Relationship Id="rId5" Type="http://schemas.openxmlformats.org/officeDocument/2006/relationships/image" Target="../media/image184.png"/><Relationship Id="rId4" Type="http://schemas.openxmlformats.org/officeDocument/2006/relationships/image" Target="../media/image183.png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21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2.png"/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165.xml"/><Relationship Id="rId5" Type="http://schemas.openxmlformats.org/officeDocument/2006/relationships/image" Target="../media/image184.png"/><Relationship Id="rId4" Type="http://schemas.openxmlformats.org/officeDocument/2006/relationships/image" Target="../media/image183.png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2.png"/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165.xml"/><Relationship Id="rId5" Type="http://schemas.openxmlformats.org/officeDocument/2006/relationships/image" Target="../media/image184.png"/><Relationship Id="rId4" Type="http://schemas.openxmlformats.org/officeDocument/2006/relationships/image" Target="../media/image183.png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2.png"/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165.xml"/><Relationship Id="rId5" Type="http://schemas.openxmlformats.org/officeDocument/2006/relationships/image" Target="../media/image184.png"/><Relationship Id="rId4" Type="http://schemas.openxmlformats.org/officeDocument/2006/relationships/image" Target="../media/image183.png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5.jpeg"/><Relationship Id="rId2" Type="http://schemas.openxmlformats.org/officeDocument/2006/relationships/notesSlide" Target="../notesSlides/notesSlide33.xml"/><Relationship Id="rId1" Type="http://schemas.openxmlformats.org/officeDocument/2006/relationships/slideLayout" Target="../slideLayouts/slideLayout13.xml"/><Relationship Id="rId5" Type="http://schemas.openxmlformats.org/officeDocument/2006/relationships/image" Target="../media/image186.png"/><Relationship Id="rId4" Type="http://schemas.openxmlformats.org/officeDocument/2006/relationships/hyperlink" Target="http://cisco.com/go/businesscriticalservices" TargetMode="Externa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4.xml"/><Relationship Id="rId1" Type="http://schemas.openxmlformats.org/officeDocument/2006/relationships/slideLayout" Target="../slideLayouts/slideLayout42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5.xml"/><Relationship Id="rId1" Type="http://schemas.openxmlformats.org/officeDocument/2006/relationships/slideLayout" Target="../slideLayouts/slideLayout13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3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5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65.xml"/><Relationship Id="rId5" Type="http://schemas.openxmlformats.org/officeDocument/2006/relationships/image" Target="../media/image67.wmf"/><Relationship Id="rId4" Type="http://schemas.openxmlformats.org/officeDocument/2006/relationships/image" Target="../media/image66.wmf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73.svg"/><Relationship Id="rId3" Type="http://schemas.openxmlformats.org/officeDocument/2006/relationships/image" Target="../media/image68.png"/><Relationship Id="rId7" Type="http://schemas.openxmlformats.org/officeDocument/2006/relationships/image" Target="../media/image72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18.xml"/><Relationship Id="rId6" Type="http://schemas.openxmlformats.org/officeDocument/2006/relationships/image" Target="../media/image71.svg"/><Relationship Id="rId5" Type="http://schemas.openxmlformats.org/officeDocument/2006/relationships/image" Target="../media/image70.png"/><Relationship Id="rId10" Type="http://schemas.openxmlformats.org/officeDocument/2006/relationships/image" Target="../media/image75.png"/><Relationship Id="rId4" Type="http://schemas.openxmlformats.org/officeDocument/2006/relationships/image" Target="../media/image69.svg"/><Relationship Id="rId9" Type="http://schemas.openxmlformats.org/officeDocument/2006/relationships/image" Target="../media/image74.jpe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6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42.xml"/><Relationship Id="rId5" Type="http://schemas.openxmlformats.org/officeDocument/2006/relationships/image" Target="../media/image78.png"/><Relationship Id="rId4" Type="http://schemas.openxmlformats.org/officeDocument/2006/relationships/image" Target="../media/image77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9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42.xml"/><Relationship Id="rId6" Type="http://schemas.openxmlformats.org/officeDocument/2006/relationships/image" Target="../media/image82.png"/><Relationship Id="rId5" Type="http://schemas.openxmlformats.org/officeDocument/2006/relationships/image" Target="../media/image81.tiff"/><Relationship Id="rId4" Type="http://schemas.openxmlformats.org/officeDocument/2006/relationships/image" Target="../media/image80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: Top Corners Rounded 7">
            <a:extLst>
              <a:ext uri="{FF2B5EF4-FFF2-40B4-BE49-F238E27FC236}">
                <a16:creationId xmlns:a16="http://schemas.microsoft.com/office/drawing/2014/main" id="{FAEAC4AA-2FF2-4CB0-A133-C6270CFAFD90}"/>
              </a:ext>
            </a:extLst>
          </p:cNvPr>
          <p:cNvSpPr/>
          <p:nvPr/>
        </p:nvSpPr>
        <p:spPr>
          <a:xfrm rot="16200000">
            <a:off x="6110632" y="-298305"/>
            <a:ext cx="694640" cy="11477626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iscoSansTT ExtraLight"/>
              <a:ea typeface="+mn-ea"/>
              <a:cs typeface="+mn-cs"/>
              <a:sym typeface="Arial"/>
            </a:endParaRPr>
          </a:p>
        </p:txBody>
      </p:sp>
      <p:pic>
        <p:nvPicPr>
          <p:cNvPr id="39" name="Picture Placeholder 14" descr="A group of people sitting at a table&#10;&#10;Description automatically generated">
            <a:extLst>
              <a:ext uri="{FF2B5EF4-FFF2-40B4-BE49-F238E27FC236}">
                <a16:creationId xmlns:a16="http://schemas.microsoft.com/office/drawing/2014/main" id="{01E825E0-1B97-C643-A12F-6CD93490BBF2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261100" y="0"/>
            <a:ext cx="5930899" cy="6858000"/>
          </a:xfrm>
        </p:spPr>
      </p:pic>
      <p:sp>
        <p:nvSpPr>
          <p:cNvPr id="31" name="Text Placeholder 1">
            <a:extLst>
              <a:ext uri="{FF2B5EF4-FFF2-40B4-BE49-F238E27FC236}">
                <a16:creationId xmlns:a16="http://schemas.microsoft.com/office/drawing/2014/main" id="{792A1CFF-26E3-418C-8DFD-10038115BA4C}"/>
              </a:ext>
            </a:extLst>
          </p:cNvPr>
          <p:cNvSpPr txBox="1">
            <a:spLocks/>
          </p:cNvSpPr>
          <p:nvPr/>
        </p:nvSpPr>
        <p:spPr>
          <a:xfrm>
            <a:off x="719667" y="3280306"/>
            <a:ext cx="3312584" cy="51543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10000"/>
              </a:lnSpc>
              <a:spcBef>
                <a:spcPts val="0"/>
              </a:spcBef>
              <a:spcAft>
                <a:spcPts val="1800"/>
              </a:spcAft>
              <a:buClr>
                <a:srgbClr val="000000"/>
              </a:buClr>
              <a:buFont typeface="Arial"/>
              <a:defRPr sz="2000" b="0" i="0" u="none" strike="noStrike" cap="none">
                <a:solidFill>
                  <a:schemeClr val="accent1"/>
                </a:solidFill>
                <a:latin typeface="+mn-lt"/>
                <a:ea typeface="Arial"/>
                <a:cs typeface="CiscoSansTT ExtraLight" panose="020B0303020201020303" pitchFamily="34" charset="0"/>
                <a:sym typeface="Arial"/>
              </a:defRPr>
            </a:lvl1pPr>
            <a:lvl2pPr marL="143996" marR="0" lvl="1" indent="143996" algn="l" rtl="0">
              <a:lnSpc>
                <a:spcPct val="110000"/>
              </a:lnSpc>
              <a:spcBef>
                <a:spcPts val="0"/>
              </a:spcBef>
              <a:spcAft>
                <a:spcPts val="1800"/>
              </a:spcAft>
              <a:buClr>
                <a:srgbClr val="000000"/>
              </a:buClr>
              <a:buFont typeface="Arial"/>
              <a:defRPr sz="2133" b="0" i="0" u="none" strike="noStrike" cap="none">
                <a:solidFill>
                  <a:schemeClr val="tx1"/>
                </a:solidFill>
                <a:latin typeface="CiscoSansTT ExtraLight" panose="020B0303020201020303" pitchFamily="34" charset="0"/>
                <a:ea typeface="Arial"/>
                <a:cs typeface="CiscoSansTT ExtraLight" panose="020B0303020201020303" pitchFamily="34" charset="0"/>
                <a:sym typeface="Arial"/>
              </a:defRPr>
            </a:lvl2pPr>
            <a:lvl3pPr marL="287993" marR="0" lvl="2" indent="287993" algn="l" rtl="0">
              <a:lnSpc>
                <a:spcPct val="110000"/>
              </a:lnSpc>
              <a:spcBef>
                <a:spcPts val="0"/>
              </a:spcBef>
              <a:spcAft>
                <a:spcPts val="1800"/>
              </a:spcAft>
              <a:buClr>
                <a:srgbClr val="000000"/>
              </a:buClr>
              <a:buFont typeface="Arial"/>
              <a:defRPr sz="2133" b="0" i="0" u="none" strike="noStrike" cap="none">
                <a:solidFill>
                  <a:schemeClr val="tx1"/>
                </a:solidFill>
                <a:latin typeface="CiscoSansTT ExtraLight" panose="020B0303020201020303" pitchFamily="34" charset="0"/>
                <a:ea typeface="Arial"/>
                <a:cs typeface="CiscoSansTT ExtraLight" panose="020B0303020201020303" pitchFamily="34" charset="0"/>
                <a:sym typeface="Arial"/>
              </a:defRPr>
            </a:lvl3pPr>
            <a:lvl4pPr marL="431989" marR="0" lvl="3" indent="431989" algn="l" rtl="0">
              <a:lnSpc>
                <a:spcPct val="110000"/>
              </a:lnSpc>
              <a:spcBef>
                <a:spcPts val="0"/>
              </a:spcBef>
              <a:spcAft>
                <a:spcPts val="1800"/>
              </a:spcAft>
              <a:buClr>
                <a:srgbClr val="000000"/>
              </a:buClr>
              <a:buFont typeface="Arial"/>
              <a:defRPr sz="2133" b="0" i="0" u="none" strike="noStrike" cap="none">
                <a:solidFill>
                  <a:schemeClr val="tx1"/>
                </a:solidFill>
                <a:latin typeface="CiscoSansTT ExtraLight" panose="020B0303020201020303" pitchFamily="34" charset="0"/>
                <a:ea typeface="Arial"/>
                <a:cs typeface="CiscoSansTT ExtraLight" panose="020B0303020201020303" pitchFamily="34" charset="0"/>
                <a:sym typeface="Arial"/>
              </a:defRPr>
            </a:lvl4pPr>
            <a:lvl5pPr marL="575986" marR="0" lvl="4" indent="575986" algn="l" rtl="0">
              <a:lnSpc>
                <a:spcPct val="110000"/>
              </a:lnSpc>
              <a:spcBef>
                <a:spcPts val="0"/>
              </a:spcBef>
              <a:spcAft>
                <a:spcPts val="1800"/>
              </a:spcAft>
              <a:buClr>
                <a:srgbClr val="000000"/>
              </a:buClr>
              <a:buFont typeface="Arial"/>
              <a:defRPr sz="2133" b="0" i="0" u="none" strike="noStrike" cap="none">
                <a:solidFill>
                  <a:schemeClr val="tx1"/>
                </a:solidFill>
                <a:latin typeface="CiscoSansTT ExtraLight" panose="020B0303020201020303" pitchFamily="34" charset="0"/>
                <a:ea typeface="Arial"/>
                <a:cs typeface="CiscoSansTT ExtraLight" panose="020B0303020201020303" pitchFamily="34" charset="0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80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GB" sz="20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iscoSansTT ExtraLight"/>
                <a:cs typeface="CiscoSansTT ExtraLight" panose="020B0303020201020303" pitchFamily="34" charset="0"/>
                <a:sym typeface="Arial"/>
              </a:rPr>
              <a:t>Analytics-Driven Guidance</a:t>
            </a:r>
          </a:p>
        </p:txBody>
      </p:sp>
      <p:sp>
        <p:nvSpPr>
          <p:cNvPr id="35" name="Google Shape;735;p181">
            <a:extLst>
              <a:ext uri="{FF2B5EF4-FFF2-40B4-BE49-F238E27FC236}">
                <a16:creationId xmlns:a16="http://schemas.microsoft.com/office/drawing/2014/main" id="{DB8F776D-2E50-4E40-9201-1ED871072430}"/>
              </a:ext>
            </a:extLst>
          </p:cNvPr>
          <p:cNvSpPr/>
          <p:nvPr/>
        </p:nvSpPr>
        <p:spPr>
          <a:xfrm>
            <a:off x="713229" y="661025"/>
            <a:ext cx="826145" cy="438900"/>
          </a:xfrm>
          <a:custGeom>
            <a:avLst/>
            <a:gdLst/>
            <a:ahLst/>
            <a:cxnLst/>
            <a:rect l="l" t="t" r="r" b="b"/>
            <a:pathLst>
              <a:path w="3456" h="1834" extrusionOk="0">
                <a:moveTo>
                  <a:pt x="2828" y="1362"/>
                </a:moveTo>
                <a:lnTo>
                  <a:pt x="2798" y="1364"/>
                </a:lnTo>
                <a:lnTo>
                  <a:pt x="2771" y="1371"/>
                </a:lnTo>
                <a:lnTo>
                  <a:pt x="2747" y="1384"/>
                </a:lnTo>
                <a:lnTo>
                  <a:pt x="2725" y="1400"/>
                </a:lnTo>
                <a:lnTo>
                  <a:pt x="2706" y="1419"/>
                </a:lnTo>
                <a:lnTo>
                  <a:pt x="2691" y="1441"/>
                </a:lnTo>
                <a:lnTo>
                  <a:pt x="2680" y="1465"/>
                </a:lnTo>
                <a:lnTo>
                  <a:pt x="2674" y="1492"/>
                </a:lnTo>
                <a:lnTo>
                  <a:pt x="2671" y="1521"/>
                </a:lnTo>
                <a:lnTo>
                  <a:pt x="2674" y="1549"/>
                </a:lnTo>
                <a:lnTo>
                  <a:pt x="2680" y="1577"/>
                </a:lnTo>
                <a:lnTo>
                  <a:pt x="2691" y="1601"/>
                </a:lnTo>
                <a:lnTo>
                  <a:pt x="2706" y="1623"/>
                </a:lnTo>
                <a:lnTo>
                  <a:pt x="2725" y="1642"/>
                </a:lnTo>
                <a:lnTo>
                  <a:pt x="2747" y="1658"/>
                </a:lnTo>
                <a:lnTo>
                  <a:pt x="2771" y="1669"/>
                </a:lnTo>
                <a:lnTo>
                  <a:pt x="2798" y="1677"/>
                </a:lnTo>
                <a:lnTo>
                  <a:pt x="2828" y="1680"/>
                </a:lnTo>
                <a:lnTo>
                  <a:pt x="2857" y="1677"/>
                </a:lnTo>
                <a:lnTo>
                  <a:pt x="2883" y="1669"/>
                </a:lnTo>
                <a:lnTo>
                  <a:pt x="2908" y="1658"/>
                </a:lnTo>
                <a:lnTo>
                  <a:pt x="2930" y="1642"/>
                </a:lnTo>
                <a:lnTo>
                  <a:pt x="2948" y="1623"/>
                </a:lnTo>
                <a:lnTo>
                  <a:pt x="2964" y="1601"/>
                </a:lnTo>
                <a:lnTo>
                  <a:pt x="2975" y="1577"/>
                </a:lnTo>
                <a:lnTo>
                  <a:pt x="2982" y="1549"/>
                </a:lnTo>
                <a:lnTo>
                  <a:pt x="2985" y="1521"/>
                </a:lnTo>
                <a:lnTo>
                  <a:pt x="2982" y="1492"/>
                </a:lnTo>
                <a:lnTo>
                  <a:pt x="2975" y="1465"/>
                </a:lnTo>
                <a:lnTo>
                  <a:pt x="2964" y="1441"/>
                </a:lnTo>
                <a:lnTo>
                  <a:pt x="2948" y="1419"/>
                </a:lnTo>
                <a:lnTo>
                  <a:pt x="2930" y="1400"/>
                </a:lnTo>
                <a:lnTo>
                  <a:pt x="2908" y="1384"/>
                </a:lnTo>
                <a:lnTo>
                  <a:pt x="2883" y="1371"/>
                </a:lnTo>
                <a:lnTo>
                  <a:pt x="2857" y="1364"/>
                </a:lnTo>
                <a:lnTo>
                  <a:pt x="2828" y="1362"/>
                </a:lnTo>
                <a:close/>
                <a:moveTo>
                  <a:pt x="977" y="1218"/>
                </a:moveTo>
                <a:lnTo>
                  <a:pt x="1129" y="1218"/>
                </a:lnTo>
                <a:lnTo>
                  <a:pt x="1129" y="1823"/>
                </a:lnTo>
                <a:lnTo>
                  <a:pt x="977" y="1823"/>
                </a:lnTo>
                <a:lnTo>
                  <a:pt x="977" y="1218"/>
                </a:lnTo>
                <a:close/>
                <a:moveTo>
                  <a:pt x="2828" y="1208"/>
                </a:moveTo>
                <a:lnTo>
                  <a:pt x="2873" y="1211"/>
                </a:lnTo>
                <a:lnTo>
                  <a:pt x="2916" y="1219"/>
                </a:lnTo>
                <a:lnTo>
                  <a:pt x="2955" y="1232"/>
                </a:lnTo>
                <a:lnTo>
                  <a:pt x="2992" y="1251"/>
                </a:lnTo>
                <a:lnTo>
                  <a:pt x="3026" y="1273"/>
                </a:lnTo>
                <a:lnTo>
                  <a:pt x="3056" y="1299"/>
                </a:lnTo>
                <a:lnTo>
                  <a:pt x="3082" y="1330"/>
                </a:lnTo>
                <a:lnTo>
                  <a:pt x="3104" y="1363"/>
                </a:lnTo>
                <a:lnTo>
                  <a:pt x="3121" y="1398"/>
                </a:lnTo>
                <a:lnTo>
                  <a:pt x="3134" y="1437"/>
                </a:lnTo>
                <a:lnTo>
                  <a:pt x="3142" y="1479"/>
                </a:lnTo>
                <a:lnTo>
                  <a:pt x="3145" y="1521"/>
                </a:lnTo>
                <a:lnTo>
                  <a:pt x="3142" y="1563"/>
                </a:lnTo>
                <a:lnTo>
                  <a:pt x="3134" y="1604"/>
                </a:lnTo>
                <a:lnTo>
                  <a:pt x="3121" y="1642"/>
                </a:lnTo>
                <a:lnTo>
                  <a:pt x="3104" y="1679"/>
                </a:lnTo>
                <a:lnTo>
                  <a:pt x="3082" y="1712"/>
                </a:lnTo>
                <a:lnTo>
                  <a:pt x="3056" y="1742"/>
                </a:lnTo>
                <a:lnTo>
                  <a:pt x="3026" y="1769"/>
                </a:lnTo>
                <a:lnTo>
                  <a:pt x="2992" y="1791"/>
                </a:lnTo>
                <a:lnTo>
                  <a:pt x="2955" y="1809"/>
                </a:lnTo>
                <a:lnTo>
                  <a:pt x="2916" y="1822"/>
                </a:lnTo>
                <a:lnTo>
                  <a:pt x="2873" y="1831"/>
                </a:lnTo>
                <a:lnTo>
                  <a:pt x="2828" y="1834"/>
                </a:lnTo>
                <a:lnTo>
                  <a:pt x="2783" y="1831"/>
                </a:lnTo>
                <a:lnTo>
                  <a:pt x="2740" y="1822"/>
                </a:lnTo>
                <a:lnTo>
                  <a:pt x="2700" y="1809"/>
                </a:lnTo>
                <a:lnTo>
                  <a:pt x="2663" y="1791"/>
                </a:lnTo>
                <a:lnTo>
                  <a:pt x="2630" y="1769"/>
                </a:lnTo>
                <a:lnTo>
                  <a:pt x="2599" y="1742"/>
                </a:lnTo>
                <a:lnTo>
                  <a:pt x="2573" y="1712"/>
                </a:lnTo>
                <a:lnTo>
                  <a:pt x="2551" y="1679"/>
                </a:lnTo>
                <a:lnTo>
                  <a:pt x="2534" y="1642"/>
                </a:lnTo>
                <a:lnTo>
                  <a:pt x="2521" y="1604"/>
                </a:lnTo>
                <a:lnTo>
                  <a:pt x="2513" y="1563"/>
                </a:lnTo>
                <a:lnTo>
                  <a:pt x="2510" y="1521"/>
                </a:lnTo>
                <a:lnTo>
                  <a:pt x="2513" y="1479"/>
                </a:lnTo>
                <a:lnTo>
                  <a:pt x="2521" y="1437"/>
                </a:lnTo>
                <a:lnTo>
                  <a:pt x="2534" y="1398"/>
                </a:lnTo>
                <a:lnTo>
                  <a:pt x="2551" y="1363"/>
                </a:lnTo>
                <a:lnTo>
                  <a:pt x="2573" y="1330"/>
                </a:lnTo>
                <a:lnTo>
                  <a:pt x="2599" y="1299"/>
                </a:lnTo>
                <a:lnTo>
                  <a:pt x="2630" y="1273"/>
                </a:lnTo>
                <a:lnTo>
                  <a:pt x="2663" y="1251"/>
                </a:lnTo>
                <a:lnTo>
                  <a:pt x="2700" y="1232"/>
                </a:lnTo>
                <a:lnTo>
                  <a:pt x="2740" y="1219"/>
                </a:lnTo>
                <a:lnTo>
                  <a:pt x="2783" y="1211"/>
                </a:lnTo>
                <a:lnTo>
                  <a:pt x="2828" y="1208"/>
                </a:lnTo>
                <a:close/>
                <a:moveTo>
                  <a:pt x="2213" y="1208"/>
                </a:moveTo>
                <a:lnTo>
                  <a:pt x="2242" y="1209"/>
                </a:lnTo>
                <a:lnTo>
                  <a:pt x="2268" y="1211"/>
                </a:lnTo>
                <a:lnTo>
                  <a:pt x="2292" y="1215"/>
                </a:lnTo>
                <a:lnTo>
                  <a:pt x="2312" y="1219"/>
                </a:lnTo>
                <a:lnTo>
                  <a:pt x="2329" y="1223"/>
                </a:lnTo>
                <a:lnTo>
                  <a:pt x="2343" y="1227"/>
                </a:lnTo>
                <a:lnTo>
                  <a:pt x="2351" y="1230"/>
                </a:lnTo>
                <a:lnTo>
                  <a:pt x="2351" y="1392"/>
                </a:lnTo>
                <a:lnTo>
                  <a:pt x="2346" y="1389"/>
                </a:lnTo>
                <a:lnTo>
                  <a:pt x="2335" y="1384"/>
                </a:lnTo>
                <a:lnTo>
                  <a:pt x="2321" y="1377"/>
                </a:lnTo>
                <a:lnTo>
                  <a:pt x="2302" y="1371"/>
                </a:lnTo>
                <a:lnTo>
                  <a:pt x="2279" y="1365"/>
                </a:lnTo>
                <a:lnTo>
                  <a:pt x="2253" y="1360"/>
                </a:lnTo>
                <a:lnTo>
                  <a:pt x="2223" y="1359"/>
                </a:lnTo>
                <a:lnTo>
                  <a:pt x="2192" y="1362"/>
                </a:lnTo>
                <a:lnTo>
                  <a:pt x="2163" y="1369"/>
                </a:lnTo>
                <a:lnTo>
                  <a:pt x="2136" y="1381"/>
                </a:lnTo>
                <a:lnTo>
                  <a:pt x="2113" y="1396"/>
                </a:lnTo>
                <a:lnTo>
                  <a:pt x="2095" y="1415"/>
                </a:lnTo>
                <a:lnTo>
                  <a:pt x="2079" y="1437"/>
                </a:lnTo>
                <a:lnTo>
                  <a:pt x="2067" y="1463"/>
                </a:lnTo>
                <a:lnTo>
                  <a:pt x="2060" y="1490"/>
                </a:lnTo>
                <a:lnTo>
                  <a:pt x="2058" y="1521"/>
                </a:lnTo>
                <a:lnTo>
                  <a:pt x="2060" y="1550"/>
                </a:lnTo>
                <a:lnTo>
                  <a:pt x="2066" y="1578"/>
                </a:lnTo>
                <a:lnTo>
                  <a:pt x="2078" y="1602"/>
                </a:lnTo>
                <a:lnTo>
                  <a:pt x="2093" y="1625"/>
                </a:lnTo>
                <a:lnTo>
                  <a:pt x="2112" y="1644"/>
                </a:lnTo>
                <a:lnTo>
                  <a:pt x="2135" y="1660"/>
                </a:lnTo>
                <a:lnTo>
                  <a:pt x="2162" y="1672"/>
                </a:lnTo>
                <a:lnTo>
                  <a:pt x="2191" y="1679"/>
                </a:lnTo>
                <a:lnTo>
                  <a:pt x="2223" y="1682"/>
                </a:lnTo>
                <a:lnTo>
                  <a:pt x="2253" y="1680"/>
                </a:lnTo>
                <a:lnTo>
                  <a:pt x="2279" y="1676"/>
                </a:lnTo>
                <a:lnTo>
                  <a:pt x="2301" y="1671"/>
                </a:lnTo>
                <a:lnTo>
                  <a:pt x="2321" y="1664"/>
                </a:lnTo>
                <a:lnTo>
                  <a:pt x="2335" y="1658"/>
                </a:lnTo>
                <a:lnTo>
                  <a:pt x="2346" y="1653"/>
                </a:lnTo>
                <a:lnTo>
                  <a:pt x="2351" y="1649"/>
                </a:lnTo>
                <a:lnTo>
                  <a:pt x="2351" y="1812"/>
                </a:lnTo>
                <a:lnTo>
                  <a:pt x="2339" y="1816"/>
                </a:lnTo>
                <a:lnTo>
                  <a:pt x="2322" y="1820"/>
                </a:lnTo>
                <a:lnTo>
                  <a:pt x="2300" y="1826"/>
                </a:lnTo>
                <a:lnTo>
                  <a:pt x="2275" y="1830"/>
                </a:lnTo>
                <a:lnTo>
                  <a:pt x="2245" y="1833"/>
                </a:lnTo>
                <a:lnTo>
                  <a:pt x="2213" y="1834"/>
                </a:lnTo>
                <a:lnTo>
                  <a:pt x="2174" y="1832"/>
                </a:lnTo>
                <a:lnTo>
                  <a:pt x="2136" y="1826"/>
                </a:lnTo>
                <a:lnTo>
                  <a:pt x="2100" y="1815"/>
                </a:lnTo>
                <a:lnTo>
                  <a:pt x="2065" y="1801"/>
                </a:lnTo>
                <a:lnTo>
                  <a:pt x="2033" y="1783"/>
                </a:lnTo>
                <a:lnTo>
                  <a:pt x="2002" y="1762"/>
                </a:lnTo>
                <a:lnTo>
                  <a:pt x="1975" y="1737"/>
                </a:lnTo>
                <a:lnTo>
                  <a:pt x="1952" y="1710"/>
                </a:lnTo>
                <a:lnTo>
                  <a:pt x="1931" y="1678"/>
                </a:lnTo>
                <a:lnTo>
                  <a:pt x="1915" y="1643"/>
                </a:lnTo>
                <a:lnTo>
                  <a:pt x="1903" y="1605"/>
                </a:lnTo>
                <a:lnTo>
                  <a:pt x="1896" y="1564"/>
                </a:lnTo>
                <a:lnTo>
                  <a:pt x="1892" y="1521"/>
                </a:lnTo>
                <a:lnTo>
                  <a:pt x="1896" y="1477"/>
                </a:lnTo>
                <a:lnTo>
                  <a:pt x="1904" y="1434"/>
                </a:lnTo>
                <a:lnTo>
                  <a:pt x="1917" y="1395"/>
                </a:lnTo>
                <a:lnTo>
                  <a:pt x="1934" y="1359"/>
                </a:lnTo>
                <a:lnTo>
                  <a:pt x="1957" y="1326"/>
                </a:lnTo>
                <a:lnTo>
                  <a:pt x="1984" y="1296"/>
                </a:lnTo>
                <a:lnTo>
                  <a:pt x="2014" y="1271"/>
                </a:lnTo>
                <a:lnTo>
                  <a:pt x="2047" y="1249"/>
                </a:lnTo>
                <a:lnTo>
                  <a:pt x="2085" y="1231"/>
                </a:lnTo>
                <a:lnTo>
                  <a:pt x="2125" y="1218"/>
                </a:lnTo>
                <a:lnTo>
                  <a:pt x="2168" y="1211"/>
                </a:lnTo>
                <a:lnTo>
                  <a:pt x="2213" y="1208"/>
                </a:lnTo>
                <a:close/>
                <a:moveTo>
                  <a:pt x="630" y="1208"/>
                </a:moveTo>
                <a:lnTo>
                  <a:pt x="660" y="1209"/>
                </a:lnTo>
                <a:lnTo>
                  <a:pt x="687" y="1211"/>
                </a:lnTo>
                <a:lnTo>
                  <a:pt x="711" y="1215"/>
                </a:lnTo>
                <a:lnTo>
                  <a:pt x="731" y="1219"/>
                </a:lnTo>
                <a:lnTo>
                  <a:pt x="748" y="1223"/>
                </a:lnTo>
                <a:lnTo>
                  <a:pt x="760" y="1227"/>
                </a:lnTo>
                <a:lnTo>
                  <a:pt x="769" y="1230"/>
                </a:lnTo>
                <a:lnTo>
                  <a:pt x="769" y="1392"/>
                </a:lnTo>
                <a:lnTo>
                  <a:pt x="763" y="1389"/>
                </a:lnTo>
                <a:lnTo>
                  <a:pt x="754" y="1384"/>
                </a:lnTo>
                <a:lnTo>
                  <a:pt x="739" y="1377"/>
                </a:lnTo>
                <a:lnTo>
                  <a:pt x="721" y="1371"/>
                </a:lnTo>
                <a:lnTo>
                  <a:pt x="697" y="1365"/>
                </a:lnTo>
                <a:lnTo>
                  <a:pt x="671" y="1360"/>
                </a:lnTo>
                <a:lnTo>
                  <a:pt x="642" y="1359"/>
                </a:lnTo>
                <a:lnTo>
                  <a:pt x="611" y="1362"/>
                </a:lnTo>
                <a:lnTo>
                  <a:pt x="581" y="1369"/>
                </a:lnTo>
                <a:lnTo>
                  <a:pt x="555" y="1381"/>
                </a:lnTo>
                <a:lnTo>
                  <a:pt x="532" y="1396"/>
                </a:lnTo>
                <a:lnTo>
                  <a:pt x="513" y="1415"/>
                </a:lnTo>
                <a:lnTo>
                  <a:pt x="497" y="1437"/>
                </a:lnTo>
                <a:lnTo>
                  <a:pt x="485" y="1463"/>
                </a:lnTo>
                <a:lnTo>
                  <a:pt x="479" y="1490"/>
                </a:lnTo>
                <a:lnTo>
                  <a:pt x="475" y="1521"/>
                </a:lnTo>
                <a:lnTo>
                  <a:pt x="479" y="1550"/>
                </a:lnTo>
                <a:lnTo>
                  <a:pt x="485" y="1578"/>
                </a:lnTo>
                <a:lnTo>
                  <a:pt x="496" y="1602"/>
                </a:lnTo>
                <a:lnTo>
                  <a:pt x="512" y="1625"/>
                </a:lnTo>
                <a:lnTo>
                  <a:pt x="531" y="1644"/>
                </a:lnTo>
                <a:lnTo>
                  <a:pt x="554" y="1660"/>
                </a:lnTo>
                <a:lnTo>
                  <a:pt x="580" y="1672"/>
                </a:lnTo>
                <a:lnTo>
                  <a:pt x="610" y="1679"/>
                </a:lnTo>
                <a:lnTo>
                  <a:pt x="642" y="1682"/>
                </a:lnTo>
                <a:lnTo>
                  <a:pt x="671" y="1680"/>
                </a:lnTo>
                <a:lnTo>
                  <a:pt x="697" y="1676"/>
                </a:lnTo>
                <a:lnTo>
                  <a:pt x="719" y="1671"/>
                </a:lnTo>
                <a:lnTo>
                  <a:pt x="738" y="1664"/>
                </a:lnTo>
                <a:lnTo>
                  <a:pt x="753" y="1658"/>
                </a:lnTo>
                <a:lnTo>
                  <a:pt x="763" y="1653"/>
                </a:lnTo>
                <a:lnTo>
                  <a:pt x="769" y="1649"/>
                </a:lnTo>
                <a:lnTo>
                  <a:pt x="769" y="1812"/>
                </a:lnTo>
                <a:lnTo>
                  <a:pt x="757" y="1816"/>
                </a:lnTo>
                <a:lnTo>
                  <a:pt x="740" y="1820"/>
                </a:lnTo>
                <a:lnTo>
                  <a:pt x="718" y="1826"/>
                </a:lnTo>
                <a:lnTo>
                  <a:pt x="692" y="1830"/>
                </a:lnTo>
                <a:lnTo>
                  <a:pt x="663" y="1833"/>
                </a:lnTo>
                <a:lnTo>
                  <a:pt x="630" y="1834"/>
                </a:lnTo>
                <a:lnTo>
                  <a:pt x="592" y="1832"/>
                </a:lnTo>
                <a:lnTo>
                  <a:pt x="554" y="1826"/>
                </a:lnTo>
                <a:lnTo>
                  <a:pt x="518" y="1815"/>
                </a:lnTo>
                <a:lnTo>
                  <a:pt x="484" y="1801"/>
                </a:lnTo>
                <a:lnTo>
                  <a:pt x="451" y="1783"/>
                </a:lnTo>
                <a:lnTo>
                  <a:pt x="421" y="1762"/>
                </a:lnTo>
                <a:lnTo>
                  <a:pt x="394" y="1737"/>
                </a:lnTo>
                <a:lnTo>
                  <a:pt x="370" y="1710"/>
                </a:lnTo>
                <a:lnTo>
                  <a:pt x="350" y="1678"/>
                </a:lnTo>
                <a:lnTo>
                  <a:pt x="333" y="1643"/>
                </a:lnTo>
                <a:lnTo>
                  <a:pt x="322" y="1605"/>
                </a:lnTo>
                <a:lnTo>
                  <a:pt x="314" y="1564"/>
                </a:lnTo>
                <a:lnTo>
                  <a:pt x="311" y="1521"/>
                </a:lnTo>
                <a:lnTo>
                  <a:pt x="314" y="1477"/>
                </a:lnTo>
                <a:lnTo>
                  <a:pt x="323" y="1434"/>
                </a:lnTo>
                <a:lnTo>
                  <a:pt x="335" y="1395"/>
                </a:lnTo>
                <a:lnTo>
                  <a:pt x="353" y="1359"/>
                </a:lnTo>
                <a:lnTo>
                  <a:pt x="375" y="1326"/>
                </a:lnTo>
                <a:lnTo>
                  <a:pt x="402" y="1296"/>
                </a:lnTo>
                <a:lnTo>
                  <a:pt x="433" y="1271"/>
                </a:lnTo>
                <a:lnTo>
                  <a:pt x="466" y="1249"/>
                </a:lnTo>
                <a:lnTo>
                  <a:pt x="503" y="1231"/>
                </a:lnTo>
                <a:lnTo>
                  <a:pt x="544" y="1218"/>
                </a:lnTo>
                <a:lnTo>
                  <a:pt x="585" y="1211"/>
                </a:lnTo>
                <a:lnTo>
                  <a:pt x="630" y="1208"/>
                </a:lnTo>
                <a:close/>
                <a:moveTo>
                  <a:pt x="1556" y="1208"/>
                </a:moveTo>
                <a:lnTo>
                  <a:pt x="1583" y="1209"/>
                </a:lnTo>
                <a:lnTo>
                  <a:pt x="1610" y="1211"/>
                </a:lnTo>
                <a:lnTo>
                  <a:pt x="1634" y="1213"/>
                </a:lnTo>
                <a:lnTo>
                  <a:pt x="1656" y="1217"/>
                </a:lnTo>
                <a:lnTo>
                  <a:pt x="1675" y="1220"/>
                </a:lnTo>
                <a:lnTo>
                  <a:pt x="1689" y="1223"/>
                </a:lnTo>
                <a:lnTo>
                  <a:pt x="1699" y="1226"/>
                </a:lnTo>
                <a:lnTo>
                  <a:pt x="1704" y="1227"/>
                </a:lnTo>
                <a:lnTo>
                  <a:pt x="1704" y="1356"/>
                </a:lnTo>
                <a:lnTo>
                  <a:pt x="1700" y="1355"/>
                </a:lnTo>
                <a:lnTo>
                  <a:pt x="1691" y="1353"/>
                </a:lnTo>
                <a:lnTo>
                  <a:pt x="1679" y="1350"/>
                </a:lnTo>
                <a:lnTo>
                  <a:pt x="1663" y="1347"/>
                </a:lnTo>
                <a:lnTo>
                  <a:pt x="1645" y="1343"/>
                </a:lnTo>
                <a:lnTo>
                  <a:pt x="1625" y="1340"/>
                </a:lnTo>
                <a:lnTo>
                  <a:pt x="1605" y="1338"/>
                </a:lnTo>
                <a:lnTo>
                  <a:pt x="1586" y="1337"/>
                </a:lnTo>
                <a:lnTo>
                  <a:pt x="1557" y="1339"/>
                </a:lnTo>
                <a:lnTo>
                  <a:pt x="1534" y="1344"/>
                </a:lnTo>
                <a:lnTo>
                  <a:pt x="1515" y="1351"/>
                </a:lnTo>
                <a:lnTo>
                  <a:pt x="1502" y="1362"/>
                </a:lnTo>
                <a:lnTo>
                  <a:pt x="1494" y="1373"/>
                </a:lnTo>
                <a:lnTo>
                  <a:pt x="1491" y="1387"/>
                </a:lnTo>
                <a:lnTo>
                  <a:pt x="1494" y="1402"/>
                </a:lnTo>
                <a:lnTo>
                  <a:pt x="1501" y="1413"/>
                </a:lnTo>
                <a:lnTo>
                  <a:pt x="1511" y="1423"/>
                </a:lnTo>
                <a:lnTo>
                  <a:pt x="1523" y="1430"/>
                </a:lnTo>
                <a:lnTo>
                  <a:pt x="1536" y="1436"/>
                </a:lnTo>
                <a:lnTo>
                  <a:pt x="1549" y="1441"/>
                </a:lnTo>
                <a:lnTo>
                  <a:pt x="1560" y="1445"/>
                </a:lnTo>
                <a:lnTo>
                  <a:pt x="1602" y="1458"/>
                </a:lnTo>
                <a:lnTo>
                  <a:pt x="1634" y="1470"/>
                </a:lnTo>
                <a:lnTo>
                  <a:pt x="1661" y="1484"/>
                </a:lnTo>
                <a:lnTo>
                  <a:pt x="1684" y="1501"/>
                </a:lnTo>
                <a:lnTo>
                  <a:pt x="1703" y="1519"/>
                </a:lnTo>
                <a:lnTo>
                  <a:pt x="1719" y="1539"/>
                </a:lnTo>
                <a:lnTo>
                  <a:pt x="1731" y="1560"/>
                </a:lnTo>
                <a:lnTo>
                  <a:pt x="1740" y="1583"/>
                </a:lnTo>
                <a:lnTo>
                  <a:pt x="1745" y="1606"/>
                </a:lnTo>
                <a:lnTo>
                  <a:pt x="1746" y="1630"/>
                </a:lnTo>
                <a:lnTo>
                  <a:pt x="1744" y="1664"/>
                </a:lnTo>
                <a:lnTo>
                  <a:pt x="1737" y="1694"/>
                </a:lnTo>
                <a:lnTo>
                  <a:pt x="1727" y="1720"/>
                </a:lnTo>
                <a:lnTo>
                  <a:pt x="1712" y="1744"/>
                </a:lnTo>
                <a:lnTo>
                  <a:pt x="1696" y="1764"/>
                </a:lnTo>
                <a:lnTo>
                  <a:pt x="1676" y="1781"/>
                </a:lnTo>
                <a:lnTo>
                  <a:pt x="1654" y="1796"/>
                </a:lnTo>
                <a:lnTo>
                  <a:pt x="1630" y="1809"/>
                </a:lnTo>
                <a:lnTo>
                  <a:pt x="1604" y="1818"/>
                </a:lnTo>
                <a:lnTo>
                  <a:pt x="1578" y="1826"/>
                </a:lnTo>
                <a:lnTo>
                  <a:pt x="1551" y="1830"/>
                </a:lnTo>
                <a:lnTo>
                  <a:pt x="1524" y="1833"/>
                </a:lnTo>
                <a:lnTo>
                  <a:pt x="1498" y="1834"/>
                </a:lnTo>
                <a:lnTo>
                  <a:pt x="1467" y="1833"/>
                </a:lnTo>
                <a:lnTo>
                  <a:pt x="1439" y="1832"/>
                </a:lnTo>
                <a:lnTo>
                  <a:pt x="1412" y="1829"/>
                </a:lnTo>
                <a:lnTo>
                  <a:pt x="1388" y="1827"/>
                </a:lnTo>
                <a:lnTo>
                  <a:pt x="1368" y="1823"/>
                </a:lnTo>
                <a:lnTo>
                  <a:pt x="1351" y="1820"/>
                </a:lnTo>
                <a:lnTo>
                  <a:pt x="1339" y="1818"/>
                </a:lnTo>
                <a:lnTo>
                  <a:pt x="1334" y="1817"/>
                </a:lnTo>
                <a:lnTo>
                  <a:pt x="1334" y="1678"/>
                </a:lnTo>
                <a:lnTo>
                  <a:pt x="1343" y="1680"/>
                </a:lnTo>
                <a:lnTo>
                  <a:pt x="1356" y="1684"/>
                </a:lnTo>
                <a:lnTo>
                  <a:pt x="1375" y="1688"/>
                </a:lnTo>
                <a:lnTo>
                  <a:pt x="1397" y="1693"/>
                </a:lnTo>
                <a:lnTo>
                  <a:pt x="1422" y="1697"/>
                </a:lnTo>
                <a:lnTo>
                  <a:pt x="1448" y="1700"/>
                </a:lnTo>
                <a:lnTo>
                  <a:pt x="1477" y="1701"/>
                </a:lnTo>
                <a:lnTo>
                  <a:pt x="1507" y="1699"/>
                </a:lnTo>
                <a:lnTo>
                  <a:pt x="1531" y="1696"/>
                </a:lnTo>
                <a:lnTo>
                  <a:pt x="1552" y="1690"/>
                </a:lnTo>
                <a:lnTo>
                  <a:pt x="1568" y="1681"/>
                </a:lnTo>
                <a:lnTo>
                  <a:pt x="1578" y="1671"/>
                </a:lnTo>
                <a:lnTo>
                  <a:pt x="1585" y="1658"/>
                </a:lnTo>
                <a:lnTo>
                  <a:pt x="1587" y="1644"/>
                </a:lnTo>
                <a:lnTo>
                  <a:pt x="1585" y="1629"/>
                </a:lnTo>
                <a:lnTo>
                  <a:pt x="1578" y="1618"/>
                </a:lnTo>
                <a:lnTo>
                  <a:pt x="1567" y="1607"/>
                </a:lnTo>
                <a:lnTo>
                  <a:pt x="1553" y="1598"/>
                </a:lnTo>
                <a:lnTo>
                  <a:pt x="1537" y="1590"/>
                </a:lnTo>
                <a:lnTo>
                  <a:pt x="1520" y="1584"/>
                </a:lnTo>
                <a:lnTo>
                  <a:pt x="1509" y="1581"/>
                </a:lnTo>
                <a:lnTo>
                  <a:pt x="1498" y="1577"/>
                </a:lnTo>
                <a:lnTo>
                  <a:pt x="1487" y="1574"/>
                </a:lnTo>
                <a:lnTo>
                  <a:pt x="1462" y="1565"/>
                </a:lnTo>
                <a:lnTo>
                  <a:pt x="1439" y="1555"/>
                </a:lnTo>
                <a:lnTo>
                  <a:pt x="1416" y="1542"/>
                </a:lnTo>
                <a:lnTo>
                  <a:pt x="1396" y="1528"/>
                </a:lnTo>
                <a:lnTo>
                  <a:pt x="1378" y="1512"/>
                </a:lnTo>
                <a:lnTo>
                  <a:pt x="1363" y="1494"/>
                </a:lnTo>
                <a:lnTo>
                  <a:pt x="1350" y="1473"/>
                </a:lnTo>
                <a:lnTo>
                  <a:pt x="1341" y="1451"/>
                </a:lnTo>
                <a:lnTo>
                  <a:pt x="1334" y="1425"/>
                </a:lnTo>
                <a:lnTo>
                  <a:pt x="1332" y="1396"/>
                </a:lnTo>
                <a:lnTo>
                  <a:pt x="1334" y="1364"/>
                </a:lnTo>
                <a:lnTo>
                  <a:pt x="1342" y="1333"/>
                </a:lnTo>
                <a:lnTo>
                  <a:pt x="1354" y="1306"/>
                </a:lnTo>
                <a:lnTo>
                  <a:pt x="1371" y="1281"/>
                </a:lnTo>
                <a:lnTo>
                  <a:pt x="1392" y="1259"/>
                </a:lnTo>
                <a:lnTo>
                  <a:pt x="1417" y="1241"/>
                </a:lnTo>
                <a:lnTo>
                  <a:pt x="1446" y="1227"/>
                </a:lnTo>
                <a:lnTo>
                  <a:pt x="1479" y="1216"/>
                </a:lnTo>
                <a:lnTo>
                  <a:pt x="1515" y="1210"/>
                </a:lnTo>
                <a:lnTo>
                  <a:pt x="1556" y="1208"/>
                </a:lnTo>
                <a:close/>
                <a:moveTo>
                  <a:pt x="3381" y="493"/>
                </a:moveTo>
                <a:lnTo>
                  <a:pt x="3400" y="496"/>
                </a:lnTo>
                <a:lnTo>
                  <a:pt x="3418" y="503"/>
                </a:lnTo>
                <a:lnTo>
                  <a:pt x="3434" y="515"/>
                </a:lnTo>
                <a:lnTo>
                  <a:pt x="3446" y="531"/>
                </a:lnTo>
                <a:lnTo>
                  <a:pt x="3453" y="548"/>
                </a:lnTo>
                <a:lnTo>
                  <a:pt x="3456" y="569"/>
                </a:lnTo>
                <a:lnTo>
                  <a:pt x="3456" y="727"/>
                </a:lnTo>
                <a:lnTo>
                  <a:pt x="3453" y="748"/>
                </a:lnTo>
                <a:lnTo>
                  <a:pt x="3446" y="766"/>
                </a:lnTo>
                <a:lnTo>
                  <a:pt x="3434" y="780"/>
                </a:lnTo>
                <a:lnTo>
                  <a:pt x="3418" y="793"/>
                </a:lnTo>
                <a:lnTo>
                  <a:pt x="3400" y="801"/>
                </a:lnTo>
                <a:lnTo>
                  <a:pt x="3381" y="803"/>
                </a:lnTo>
                <a:lnTo>
                  <a:pt x="3361" y="801"/>
                </a:lnTo>
                <a:lnTo>
                  <a:pt x="3343" y="793"/>
                </a:lnTo>
                <a:lnTo>
                  <a:pt x="3328" y="780"/>
                </a:lnTo>
                <a:lnTo>
                  <a:pt x="3316" y="766"/>
                </a:lnTo>
                <a:lnTo>
                  <a:pt x="3308" y="748"/>
                </a:lnTo>
                <a:lnTo>
                  <a:pt x="3306" y="727"/>
                </a:lnTo>
                <a:lnTo>
                  <a:pt x="3306" y="569"/>
                </a:lnTo>
                <a:lnTo>
                  <a:pt x="3308" y="548"/>
                </a:lnTo>
                <a:lnTo>
                  <a:pt x="3316" y="531"/>
                </a:lnTo>
                <a:lnTo>
                  <a:pt x="3328" y="515"/>
                </a:lnTo>
                <a:lnTo>
                  <a:pt x="3343" y="503"/>
                </a:lnTo>
                <a:lnTo>
                  <a:pt x="3361" y="496"/>
                </a:lnTo>
                <a:lnTo>
                  <a:pt x="3381" y="493"/>
                </a:lnTo>
                <a:close/>
                <a:moveTo>
                  <a:pt x="1728" y="493"/>
                </a:moveTo>
                <a:lnTo>
                  <a:pt x="1748" y="496"/>
                </a:lnTo>
                <a:lnTo>
                  <a:pt x="1766" y="503"/>
                </a:lnTo>
                <a:lnTo>
                  <a:pt x="1781" y="515"/>
                </a:lnTo>
                <a:lnTo>
                  <a:pt x="1793" y="531"/>
                </a:lnTo>
                <a:lnTo>
                  <a:pt x="1800" y="548"/>
                </a:lnTo>
                <a:lnTo>
                  <a:pt x="1803" y="569"/>
                </a:lnTo>
                <a:lnTo>
                  <a:pt x="1803" y="727"/>
                </a:lnTo>
                <a:lnTo>
                  <a:pt x="1800" y="748"/>
                </a:lnTo>
                <a:lnTo>
                  <a:pt x="1793" y="766"/>
                </a:lnTo>
                <a:lnTo>
                  <a:pt x="1781" y="780"/>
                </a:lnTo>
                <a:lnTo>
                  <a:pt x="1766" y="793"/>
                </a:lnTo>
                <a:lnTo>
                  <a:pt x="1748" y="801"/>
                </a:lnTo>
                <a:lnTo>
                  <a:pt x="1728" y="803"/>
                </a:lnTo>
                <a:lnTo>
                  <a:pt x="1708" y="801"/>
                </a:lnTo>
                <a:lnTo>
                  <a:pt x="1690" y="793"/>
                </a:lnTo>
                <a:lnTo>
                  <a:pt x="1675" y="780"/>
                </a:lnTo>
                <a:lnTo>
                  <a:pt x="1663" y="766"/>
                </a:lnTo>
                <a:lnTo>
                  <a:pt x="1656" y="748"/>
                </a:lnTo>
                <a:lnTo>
                  <a:pt x="1653" y="727"/>
                </a:lnTo>
                <a:lnTo>
                  <a:pt x="1653" y="569"/>
                </a:lnTo>
                <a:lnTo>
                  <a:pt x="1656" y="548"/>
                </a:lnTo>
                <a:lnTo>
                  <a:pt x="1663" y="531"/>
                </a:lnTo>
                <a:lnTo>
                  <a:pt x="1675" y="515"/>
                </a:lnTo>
                <a:lnTo>
                  <a:pt x="1690" y="503"/>
                </a:lnTo>
                <a:lnTo>
                  <a:pt x="1708" y="496"/>
                </a:lnTo>
                <a:lnTo>
                  <a:pt x="1728" y="493"/>
                </a:lnTo>
                <a:close/>
                <a:moveTo>
                  <a:pt x="75" y="493"/>
                </a:moveTo>
                <a:lnTo>
                  <a:pt x="95" y="496"/>
                </a:lnTo>
                <a:lnTo>
                  <a:pt x="113" y="503"/>
                </a:lnTo>
                <a:lnTo>
                  <a:pt x="129" y="515"/>
                </a:lnTo>
                <a:lnTo>
                  <a:pt x="140" y="531"/>
                </a:lnTo>
                <a:lnTo>
                  <a:pt x="148" y="548"/>
                </a:lnTo>
                <a:lnTo>
                  <a:pt x="151" y="569"/>
                </a:lnTo>
                <a:lnTo>
                  <a:pt x="151" y="727"/>
                </a:lnTo>
                <a:lnTo>
                  <a:pt x="148" y="748"/>
                </a:lnTo>
                <a:lnTo>
                  <a:pt x="140" y="766"/>
                </a:lnTo>
                <a:lnTo>
                  <a:pt x="129" y="780"/>
                </a:lnTo>
                <a:lnTo>
                  <a:pt x="113" y="793"/>
                </a:lnTo>
                <a:lnTo>
                  <a:pt x="95" y="801"/>
                </a:lnTo>
                <a:lnTo>
                  <a:pt x="75" y="803"/>
                </a:lnTo>
                <a:lnTo>
                  <a:pt x="56" y="801"/>
                </a:lnTo>
                <a:lnTo>
                  <a:pt x="38" y="793"/>
                </a:lnTo>
                <a:lnTo>
                  <a:pt x="22" y="780"/>
                </a:lnTo>
                <a:lnTo>
                  <a:pt x="10" y="766"/>
                </a:lnTo>
                <a:lnTo>
                  <a:pt x="3" y="748"/>
                </a:lnTo>
                <a:lnTo>
                  <a:pt x="0" y="727"/>
                </a:lnTo>
                <a:lnTo>
                  <a:pt x="0" y="569"/>
                </a:lnTo>
                <a:lnTo>
                  <a:pt x="3" y="548"/>
                </a:lnTo>
                <a:lnTo>
                  <a:pt x="10" y="531"/>
                </a:lnTo>
                <a:lnTo>
                  <a:pt x="22" y="515"/>
                </a:lnTo>
                <a:lnTo>
                  <a:pt x="38" y="503"/>
                </a:lnTo>
                <a:lnTo>
                  <a:pt x="56" y="496"/>
                </a:lnTo>
                <a:lnTo>
                  <a:pt x="75" y="493"/>
                </a:lnTo>
                <a:close/>
                <a:moveTo>
                  <a:pt x="2968" y="285"/>
                </a:moveTo>
                <a:lnTo>
                  <a:pt x="2988" y="287"/>
                </a:lnTo>
                <a:lnTo>
                  <a:pt x="3006" y="295"/>
                </a:lnTo>
                <a:lnTo>
                  <a:pt x="3021" y="307"/>
                </a:lnTo>
                <a:lnTo>
                  <a:pt x="3033" y="322"/>
                </a:lnTo>
                <a:lnTo>
                  <a:pt x="3040" y="340"/>
                </a:lnTo>
                <a:lnTo>
                  <a:pt x="3043" y="360"/>
                </a:lnTo>
                <a:lnTo>
                  <a:pt x="3043" y="727"/>
                </a:lnTo>
                <a:lnTo>
                  <a:pt x="3040" y="748"/>
                </a:lnTo>
                <a:lnTo>
                  <a:pt x="3033" y="766"/>
                </a:lnTo>
                <a:lnTo>
                  <a:pt x="3021" y="780"/>
                </a:lnTo>
                <a:lnTo>
                  <a:pt x="3006" y="793"/>
                </a:lnTo>
                <a:lnTo>
                  <a:pt x="2988" y="801"/>
                </a:lnTo>
                <a:lnTo>
                  <a:pt x="2968" y="803"/>
                </a:lnTo>
                <a:lnTo>
                  <a:pt x="2947" y="801"/>
                </a:lnTo>
                <a:lnTo>
                  <a:pt x="2929" y="793"/>
                </a:lnTo>
                <a:lnTo>
                  <a:pt x="2915" y="780"/>
                </a:lnTo>
                <a:lnTo>
                  <a:pt x="2903" y="766"/>
                </a:lnTo>
                <a:lnTo>
                  <a:pt x="2895" y="748"/>
                </a:lnTo>
                <a:lnTo>
                  <a:pt x="2893" y="727"/>
                </a:lnTo>
                <a:lnTo>
                  <a:pt x="2893" y="360"/>
                </a:lnTo>
                <a:lnTo>
                  <a:pt x="2895" y="340"/>
                </a:lnTo>
                <a:lnTo>
                  <a:pt x="2903" y="322"/>
                </a:lnTo>
                <a:lnTo>
                  <a:pt x="2915" y="307"/>
                </a:lnTo>
                <a:lnTo>
                  <a:pt x="2929" y="295"/>
                </a:lnTo>
                <a:lnTo>
                  <a:pt x="2947" y="287"/>
                </a:lnTo>
                <a:lnTo>
                  <a:pt x="2968" y="285"/>
                </a:lnTo>
                <a:close/>
                <a:moveTo>
                  <a:pt x="2142" y="285"/>
                </a:moveTo>
                <a:lnTo>
                  <a:pt x="2162" y="287"/>
                </a:lnTo>
                <a:lnTo>
                  <a:pt x="2179" y="295"/>
                </a:lnTo>
                <a:lnTo>
                  <a:pt x="2194" y="307"/>
                </a:lnTo>
                <a:lnTo>
                  <a:pt x="2207" y="322"/>
                </a:lnTo>
                <a:lnTo>
                  <a:pt x="2214" y="340"/>
                </a:lnTo>
                <a:lnTo>
                  <a:pt x="2216" y="360"/>
                </a:lnTo>
                <a:lnTo>
                  <a:pt x="2216" y="727"/>
                </a:lnTo>
                <a:lnTo>
                  <a:pt x="2214" y="748"/>
                </a:lnTo>
                <a:lnTo>
                  <a:pt x="2207" y="766"/>
                </a:lnTo>
                <a:lnTo>
                  <a:pt x="2194" y="780"/>
                </a:lnTo>
                <a:lnTo>
                  <a:pt x="2179" y="793"/>
                </a:lnTo>
                <a:lnTo>
                  <a:pt x="2162" y="801"/>
                </a:lnTo>
                <a:lnTo>
                  <a:pt x="2142" y="803"/>
                </a:lnTo>
                <a:lnTo>
                  <a:pt x="2122" y="801"/>
                </a:lnTo>
                <a:lnTo>
                  <a:pt x="2104" y="793"/>
                </a:lnTo>
                <a:lnTo>
                  <a:pt x="2088" y="780"/>
                </a:lnTo>
                <a:lnTo>
                  <a:pt x="2077" y="766"/>
                </a:lnTo>
                <a:lnTo>
                  <a:pt x="2069" y="748"/>
                </a:lnTo>
                <a:lnTo>
                  <a:pt x="2066" y="727"/>
                </a:lnTo>
                <a:lnTo>
                  <a:pt x="2066" y="360"/>
                </a:lnTo>
                <a:lnTo>
                  <a:pt x="2069" y="340"/>
                </a:lnTo>
                <a:lnTo>
                  <a:pt x="2077" y="322"/>
                </a:lnTo>
                <a:lnTo>
                  <a:pt x="2088" y="307"/>
                </a:lnTo>
                <a:lnTo>
                  <a:pt x="2104" y="295"/>
                </a:lnTo>
                <a:lnTo>
                  <a:pt x="2122" y="287"/>
                </a:lnTo>
                <a:lnTo>
                  <a:pt x="2142" y="285"/>
                </a:lnTo>
                <a:close/>
                <a:moveTo>
                  <a:pt x="1315" y="285"/>
                </a:moveTo>
                <a:lnTo>
                  <a:pt x="1335" y="287"/>
                </a:lnTo>
                <a:lnTo>
                  <a:pt x="1353" y="295"/>
                </a:lnTo>
                <a:lnTo>
                  <a:pt x="1368" y="307"/>
                </a:lnTo>
                <a:lnTo>
                  <a:pt x="1380" y="322"/>
                </a:lnTo>
                <a:lnTo>
                  <a:pt x="1388" y="340"/>
                </a:lnTo>
                <a:lnTo>
                  <a:pt x="1390" y="360"/>
                </a:lnTo>
                <a:lnTo>
                  <a:pt x="1390" y="727"/>
                </a:lnTo>
                <a:lnTo>
                  <a:pt x="1388" y="748"/>
                </a:lnTo>
                <a:lnTo>
                  <a:pt x="1380" y="766"/>
                </a:lnTo>
                <a:lnTo>
                  <a:pt x="1368" y="780"/>
                </a:lnTo>
                <a:lnTo>
                  <a:pt x="1353" y="793"/>
                </a:lnTo>
                <a:lnTo>
                  <a:pt x="1335" y="801"/>
                </a:lnTo>
                <a:lnTo>
                  <a:pt x="1315" y="803"/>
                </a:lnTo>
                <a:lnTo>
                  <a:pt x="1295" y="801"/>
                </a:lnTo>
                <a:lnTo>
                  <a:pt x="1277" y="793"/>
                </a:lnTo>
                <a:lnTo>
                  <a:pt x="1262" y="780"/>
                </a:lnTo>
                <a:lnTo>
                  <a:pt x="1250" y="766"/>
                </a:lnTo>
                <a:lnTo>
                  <a:pt x="1242" y="748"/>
                </a:lnTo>
                <a:lnTo>
                  <a:pt x="1240" y="727"/>
                </a:lnTo>
                <a:lnTo>
                  <a:pt x="1240" y="360"/>
                </a:lnTo>
                <a:lnTo>
                  <a:pt x="1242" y="340"/>
                </a:lnTo>
                <a:lnTo>
                  <a:pt x="1250" y="322"/>
                </a:lnTo>
                <a:lnTo>
                  <a:pt x="1262" y="307"/>
                </a:lnTo>
                <a:lnTo>
                  <a:pt x="1277" y="295"/>
                </a:lnTo>
                <a:lnTo>
                  <a:pt x="1295" y="287"/>
                </a:lnTo>
                <a:lnTo>
                  <a:pt x="1315" y="285"/>
                </a:lnTo>
                <a:close/>
                <a:moveTo>
                  <a:pt x="488" y="285"/>
                </a:moveTo>
                <a:lnTo>
                  <a:pt x="508" y="287"/>
                </a:lnTo>
                <a:lnTo>
                  <a:pt x="527" y="295"/>
                </a:lnTo>
                <a:lnTo>
                  <a:pt x="541" y="307"/>
                </a:lnTo>
                <a:lnTo>
                  <a:pt x="553" y="322"/>
                </a:lnTo>
                <a:lnTo>
                  <a:pt x="561" y="340"/>
                </a:lnTo>
                <a:lnTo>
                  <a:pt x="563" y="360"/>
                </a:lnTo>
                <a:lnTo>
                  <a:pt x="563" y="727"/>
                </a:lnTo>
                <a:lnTo>
                  <a:pt x="561" y="748"/>
                </a:lnTo>
                <a:lnTo>
                  <a:pt x="553" y="766"/>
                </a:lnTo>
                <a:lnTo>
                  <a:pt x="541" y="780"/>
                </a:lnTo>
                <a:lnTo>
                  <a:pt x="527" y="793"/>
                </a:lnTo>
                <a:lnTo>
                  <a:pt x="508" y="801"/>
                </a:lnTo>
                <a:lnTo>
                  <a:pt x="488" y="803"/>
                </a:lnTo>
                <a:lnTo>
                  <a:pt x="468" y="801"/>
                </a:lnTo>
                <a:lnTo>
                  <a:pt x="450" y="793"/>
                </a:lnTo>
                <a:lnTo>
                  <a:pt x="436" y="780"/>
                </a:lnTo>
                <a:lnTo>
                  <a:pt x="423" y="766"/>
                </a:lnTo>
                <a:lnTo>
                  <a:pt x="416" y="748"/>
                </a:lnTo>
                <a:lnTo>
                  <a:pt x="414" y="727"/>
                </a:lnTo>
                <a:lnTo>
                  <a:pt x="414" y="360"/>
                </a:lnTo>
                <a:lnTo>
                  <a:pt x="416" y="340"/>
                </a:lnTo>
                <a:lnTo>
                  <a:pt x="423" y="322"/>
                </a:lnTo>
                <a:lnTo>
                  <a:pt x="436" y="307"/>
                </a:lnTo>
                <a:lnTo>
                  <a:pt x="450" y="295"/>
                </a:lnTo>
                <a:lnTo>
                  <a:pt x="468" y="287"/>
                </a:lnTo>
                <a:lnTo>
                  <a:pt x="488" y="285"/>
                </a:lnTo>
                <a:close/>
                <a:moveTo>
                  <a:pt x="2555" y="0"/>
                </a:moveTo>
                <a:lnTo>
                  <a:pt x="2575" y="2"/>
                </a:lnTo>
                <a:lnTo>
                  <a:pt x="2593" y="10"/>
                </a:lnTo>
                <a:lnTo>
                  <a:pt x="2608" y="22"/>
                </a:lnTo>
                <a:lnTo>
                  <a:pt x="2619" y="37"/>
                </a:lnTo>
                <a:lnTo>
                  <a:pt x="2628" y="55"/>
                </a:lnTo>
                <a:lnTo>
                  <a:pt x="2630" y="75"/>
                </a:lnTo>
                <a:lnTo>
                  <a:pt x="2630" y="879"/>
                </a:lnTo>
                <a:lnTo>
                  <a:pt x="2628" y="899"/>
                </a:lnTo>
                <a:lnTo>
                  <a:pt x="2619" y="917"/>
                </a:lnTo>
                <a:lnTo>
                  <a:pt x="2608" y="931"/>
                </a:lnTo>
                <a:lnTo>
                  <a:pt x="2593" y="944"/>
                </a:lnTo>
                <a:lnTo>
                  <a:pt x="2575" y="951"/>
                </a:lnTo>
                <a:lnTo>
                  <a:pt x="2555" y="953"/>
                </a:lnTo>
                <a:lnTo>
                  <a:pt x="2535" y="951"/>
                </a:lnTo>
                <a:lnTo>
                  <a:pt x="2517" y="944"/>
                </a:lnTo>
                <a:lnTo>
                  <a:pt x="2502" y="931"/>
                </a:lnTo>
                <a:lnTo>
                  <a:pt x="2490" y="917"/>
                </a:lnTo>
                <a:lnTo>
                  <a:pt x="2483" y="899"/>
                </a:lnTo>
                <a:lnTo>
                  <a:pt x="2480" y="879"/>
                </a:lnTo>
                <a:lnTo>
                  <a:pt x="2480" y="75"/>
                </a:lnTo>
                <a:lnTo>
                  <a:pt x="2483" y="55"/>
                </a:lnTo>
                <a:lnTo>
                  <a:pt x="2490" y="37"/>
                </a:lnTo>
                <a:lnTo>
                  <a:pt x="2502" y="22"/>
                </a:lnTo>
                <a:lnTo>
                  <a:pt x="2517" y="10"/>
                </a:lnTo>
                <a:lnTo>
                  <a:pt x="2535" y="2"/>
                </a:lnTo>
                <a:lnTo>
                  <a:pt x="2555" y="0"/>
                </a:lnTo>
                <a:close/>
                <a:moveTo>
                  <a:pt x="902" y="0"/>
                </a:moveTo>
                <a:lnTo>
                  <a:pt x="922" y="2"/>
                </a:lnTo>
                <a:lnTo>
                  <a:pt x="939" y="10"/>
                </a:lnTo>
                <a:lnTo>
                  <a:pt x="955" y="22"/>
                </a:lnTo>
                <a:lnTo>
                  <a:pt x="967" y="37"/>
                </a:lnTo>
                <a:lnTo>
                  <a:pt x="974" y="55"/>
                </a:lnTo>
                <a:lnTo>
                  <a:pt x="977" y="75"/>
                </a:lnTo>
                <a:lnTo>
                  <a:pt x="977" y="879"/>
                </a:lnTo>
                <a:lnTo>
                  <a:pt x="974" y="899"/>
                </a:lnTo>
                <a:lnTo>
                  <a:pt x="967" y="917"/>
                </a:lnTo>
                <a:lnTo>
                  <a:pt x="955" y="931"/>
                </a:lnTo>
                <a:lnTo>
                  <a:pt x="939" y="944"/>
                </a:lnTo>
                <a:lnTo>
                  <a:pt x="922" y="951"/>
                </a:lnTo>
                <a:lnTo>
                  <a:pt x="902" y="953"/>
                </a:lnTo>
                <a:lnTo>
                  <a:pt x="882" y="951"/>
                </a:lnTo>
                <a:lnTo>
                  <a:pt x="864" y="944"/>
                </a:lnTo>
                <a:lnTo>
                  <a:pt x="848" y="931"/>
                </a:lnTo>
                <a:lnTo>
                  <a:pt x="837" y="917"/>
                </a:lnTo>
                <a:lnTo>
                  <a:pt x="829" y="899"/>
                </a:lnTo>
                <a:lnTo>
                  <a:pt x="826" y="879"/>
                </a:lnTo>
                <a:lnTo>
                  <a:pt x="826" y="75"/>
                </a:lnTo>
                <a:lnTo>
                  <a:pt x="829" y="55"/>
                </a:lnTo>
                <a:lnTo>
                  <a:pt x="837" y="37"/>
                </a:lnTo>
                <a:lnTo>
                  <a:pt x="848" y="22"/>
                </a:lnTo>
                <a:lnTo>
                  <a:pt x="864" y="10"/>
                </a:lnTo>
                <a:lnTo>
                  <a:pt x="882" y="2"/>
                </a:lnTo>
                <a:lnTo>
                  <a:pt x="902" y="0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spcFirstLastPara="1" wrap="square" lIns="121900" tIns="60933" rIns="121900" bIns="60933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tabLst/>
              <a:defRPr/>
            </a:pPr>
            <a:endParaRPr kumimoji="0" sz="24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2B0A6AF6-3953-D94B-9D33-CE52F600525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19667" y="1675657"/>
            <a:ext cx="4799243" cy="1386605"/>
          </a:xfrm>
        </p:spPr>
        <p:txBody>
          <a:bodyPr/>
          <a:lstStyle/>
          <a:p>
            <a:pPr lvl="0">
              <a:lnSpc>
                <a:spcPct val="100000"/>
              </a:lnSpc>
              <a:spcAft>
                <a:spcPts val="0"/>
              </a:spcAft>
              <a:defRPr/>
            </a:pPr>
            <a:r>
              <a:rPr lang="en-US">
                <a:solidFill>
                  <a:srgbClr val="FFFFFF"/>
                </a:solidFill>
                <a:cs typeface="Arial"/>
              </a:rPr>
              <a:t>Cisco Business Critical Services</a:t>
            </a:r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B4A3DDE9-A1B3-46A3-9AC8-BEFD3134B2A3}"/>
              </a:ext>
            </a:extLst>
          </p:cNvPr>
          <p:cNvGrpSpPr/>
          <p:nvPr/>
        </p:nvGrpSpPr>
        <p:grpSpPr>
          <a:xfrm>
            <a:off x="1100689" y="5290668"/>
            <a:ext cx="747083" cy="747083"/>
            <a:chOff x="1100689" y="5290668"/>
            <a:chExt cx="747083" cy="747083"/>
          </a:xfrm>
        </p:grpSpPr>
        <p:sp>
          <p:nvSpPr>
            <p:cNvPr id="32" name="Oval 31">
              <a:extLst>
                <a:ext uri="{FF2B5EF4-FFF2-40B4-BE49-F238E27FC236}">
                  <a16:creationId xmlns:a16="http://schemas.microsoft.com/office/drawing/2014/main" id="{E61CAA6D-9F0F-4A9D-AD65-91EFCAE3234C}"/>
                </a:ext>
              </a:extLst>
            </p:cNvPr>
            <p:cNvSpPr/>
            <p:nvPr/>
          </p:nvSpPr>
          <p:spPr>
            <a:xfrm>
              <a:off x="1100689" y="5290668"/>
              <a:ext cx="747083" cy="747083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iscoSansTT ExtraLight"/>
                <a:ea typeface="+mn-ea"/>
                <a:cs typeface="+mn-cs"/>
                <a:sym typeface="Arial"/>
              </a:endParaRPr>
            </a:p>
          </p:txBody>
        </p:sp>
        <p:pic>
          <p:nvPicPr>
            <p:cNvPr id="40" name="Picture 39">
              <a:extLst>
                <a:ext uri="{FF2B5EF4-FFF2-40B4-BE49-F238E27FC236}">
                  <a16:creationId xmlns:a16="http://schemas.microsoft.com/office/drawing/2014/main" id="{83A7A0EE-AEC5-4D9C-B228-7838A78A5878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150230" y="5340209"/>
              <a:ext cx="648000" cy="648000"/>
            </a:xfrm>
            <a:prstGeom prst="rect">
              <a:avLst/>
            </a:prstGeom>
          </p:spPr>
        </p:pic>
      </p:grpSp>
      <p:grpSp>
        <p:nvGrpSpPr>
          <p:cNvPr id="41" name="Group 40">
            <a:extLst>
              <a:ext uri="{FF2B5EF4-FFF2-40B4-BE49-F238E27FC236}">
                <a16:creationId xmlns:a16="http://schemas.microsoft.com/office/drawing/2014/main" id="{4DC5AB9D-541C-4C36-8620-836DE26238DD}"/>
              </a:ext>
            </a:extLst>
          </p:cNvPr>
          <p:cNvGrpSpPr/>
          <p:nvPr/>
        </p:nvGrpSpPr>
        <p:grpSpPr>
          <a:xfrm>
            <a:off x="2161456" y="5290668"/>
            <a:ext cx="747083" cy="747083"/>
            <a:chOff x="2161456" y="5290668"/>
            <a:chExt cx="747083" cy="747083"/>
          </a:xfrm>
        </p:grpSpPr>
        <p:sp>
          <p:nvSpPr>
            <p:cNvPr id="42" name="Oval 41">
              <a:extLst>
                <a:ext uri="{FF2B5EF4-FFF2-40B4-BE49-F238E27FC236}">
                  <a16:creationId xmlns:a16="http://schemas.microsoft.com/office/drawing/2014/main" id="{0E90F708-6D7C-4B3B-AFD7-0A72FA5046CB}"/>
                </a:ext>
              </a:extLst>
            </p:cNvPr>
            <p:cNvSpPr/>
            <p:nvPr/>
          </p:nvSpPr>
          <p:spPr>
            <a:xfrm>
              <a:off x="2161456" y="5290668"/>
              <a:ext cx="747083" cy="747083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iscoSansTT ExtraLight"/>
                <a:ea typeface="+mn-ea"/>
                <a:cs typeface="+mn-cs"/>
                <a:sym typeface="Arial"/>
              </a:endParaRPr>
            </a:p>
          </p:txBody>
        </p:sp>
        <p:pic>
          <p:nvPicPr>
            <p:cNvPr id="43" name="Picture 42">
              <a:extLst>
                <a:ext uri="{FF2B5EF4-FFF2-40B4-BE49-F238E27FC236}">
                  <a16:creationId xmlns:a16="http://schemas.microsoft.com/office/drawing/2014/main" id="{0F8EE4E3-5FD0-4A96-8C79-1AC21526F33F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210997" y="5340209"/>
              <a:ext cx="648000" cy="648000"/>
            </a:xfrm>
            <a:prstGeom prst="rect">
              <a:avLst/>
            </a:prstGeom>
          </p:spPr>
        </p:pic>
      </p:grpSp>
      <p:grpSp>
        <p:nvGrpSpPr>
          <p:cNvPr id="44" name="Group 43">
            <a:extLst>
              <a:ext uri="{FF2B5EF4-FFF2-40B4-BE49-F238E27FC236}">
                <a16:creationId xmlns:a16="http://schemas.microsoft.com/office/drawing/2014/main" id="{A2F7D919-107A-459E-BA7D-A0C785A91B72}"/>
              </a:ext>
            </a:extLst>
          </p:cNvPr>
          <p:cNvGrpSpPr/>
          <p:nvPr/>
        </p:nvGrpSpPr>
        <p:grpSpPr>
          <a:xfrm>
            <a:off x="3222223" y="5290668"/>
            <a:ext cx="747083" cy="747083"/>
            <a:chOff x="3222223" y="5290668"/>
            <a:chExt cx="747083" cy="747083"/>
          </a:xfrm>
        </p:grpSpPr>
        <p:sp>
          <p:nvSpPr>
            <p:cNvPr id="45" name="Oval 44">
              <a:extLst>
                <a:ext uri="{FF2B5EF4-FFF2-40B4-BE49-F238E27FC236}">
                  <a16:creationId xmlns:a16="http://schemas.microsoft.com/office/drawing/2014/main" id="{DEDBAA67-151D-4C53-B229-FF0031A616E0}"/>
                </a:ext>
              </a:extLst>
            </p:cNvPr>
            <p:cNvSpPr/>
            <p:nvPr/>
          </p:nvSpPr>
          <p:spPr>
            <a:xfrm>
              <a:off x="3222223" y="5290668"/>
              <a:ext cx="747083" cy="747083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iscoSansTT ExtraLight"/>
                <a:ea typeface="+mn-ea"/>
                <a:cs typeface="+mn-cs"/>
                <a:sym typeface="Arial"/>
              </a:endParaRPr>
            </a:p>
          </p:txBody>
        </p:sp>
        <p:pic>
          <p:nvPicPr>
            <p:cNvPr id="46" name="Picture 45">
              <a:extLst>
                <a:ext uri="{FF2B5EF4-FFF2-40B4-BE49-F238E27FC236}">
                  <a16:creationId xmlns:a16="http://schemas.microsoft.com/office/drawing/2014/main" id="{F99C582E-308A-43AE-8592-55A028BBEBD4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271764" y="5340209"/>
              <a:ext cx="648000" cy="648000"/>
            </a:xfrm>
            <a:prstGeom prst="rect">
              <a:avLst/>
            </a:prstGeom>
          </p:spPr>
        </p:pic>
      </p:grpSp>
      <p:grpSp>
        <p:nvGrpSpPr>
          <p:cNvPr id="47" name="Group 46">
            <a:extLst>
              <a:ext uri="{FF2B5EF4-FFF2-40B4-BE49-F238E27FC236}">
                <a16:creationId xmlns:a16="http://schemas.microsoft.com/office/drawing/2014/main" id="{C94735BC-701E-46CB-BA46-7E3E1EB68CB0}"/>
              </a:ext>
            </a:extLst>
          </p:cNvPr>
          <p:cNvGrpSpPr/>
          <p:nvPr/>
        </p:nvGrpSpPr>
        <p:grpSpPr>
          <a:xfrm>
            <a:off x="4282990" y="5290668"/>
            <a:ext cx="747083" cy="747083"/>
            <a:chOff x="4282990" y="5290668"/>
            <a:chExt cx="747083" cy="747083"/>
          </a:xfrm>
        </p:grpSpPr>
        <p:sp>
          <p:nvSpPr>
            <p:cNvPr id="48" name="Oval 47">
              <a:extLst>
                <a:ext uri="{FF2B5EF4-FFF2-40B4-BE49-F238E27FC236}">
                  <a16:creationId xmlns:a16="http://schemas.microsoft.com/office/drawing/2014/main" id="{D6F487AA-BBD3-4A1E-A995-E1854F874227}"/>
                </a:ext>
              </a:extLst>
            </p:cNvPr>
            <p:cNvSpPr/>
            <p:nvPr/>
          </p:nvSpPr>
          <p:spPr>
            <a:xfrm>
              <a:off x="4282990" y="5290668"/>
              <a:ext cx="747083" cy="747083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iscoSansTT ExtraLight"/>
                <a:ea typeface="+mn-ea"/>
                <a:cs typeface="+mn-cs"/>
                <a:sym typeface="Arial"/>
              </a:endParaRPr>
            </a:p>
          </p:txBody>
        </p:sp>
        <p:pic>
          <p:nvPicPr>
            <p:cNvPr id="49" name="Picture 48">
              <a:extLst>
                <a:ext uri="{FF2B5EF4-FFF2-40B4-BE49-F238E27FC236}">
                  <a16:creationId xmlns:a16="http://schemas.microsoft.com/office/drawing/2014/main" id="{63865DA7-0019-42E1-BC4B-A1D28AD28882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332531" y="5340209"/>
              <a:ext cx="648000" cy="648000"/>
            </a:xfrm>
            <a:prstGeom prst="rect">
              <a:avLst/>
            </a:prstGeom>
          </p:spPr>
        </p:pic>
      </p:grpSp>
      <p:grpSp>
        <p:nvGrpSpPr>
          <p:cNvPr id="50" name="Group 49">
            <a:extLst>
              <a:ext uri="{FF2B5EF4-FFF2-40B4-BE49-F238E27FC236}">
                <a16:creationId xmlns:a16="http://schemas.microsoft.com/office/drawing/2014/main" id="{C1FD3654-0D7B-4FE5-B0BC-3995A34FCD21}"/>
              </a:ext>
            </a:extLst>
          </p:cNvPr>
          <p:cNvGrpSpPr/>
          <p:nvPr/>
        </p:nvGrpSpPr>
        <p:grpSpPr>
          <a:xfrm>
            <a:off x="5343757" y="5290668"/>
            <a:ext cx="747083" cy="747083"/>
            <a:chOff x="5343757" y="5290668"/>
            <a:chExt cx="747083" cy="747083"/>
          </a:xfrm>
        </p:grpSpPr>
        <p:sp>
          <p:nvSpPr>
            <p:cNvPr id="51" name="Oval 50">
              <a:extLst>
                <a:ext uri="{FF2B5EF4-FFF2-40B4-BE49-F238E27FC236}">
                  <a16:creationId xmlns:a16="http://schemas.microsoft.com/office/drawing/2014/main" id="{800C5A40-49E4-405F-8EA3-180A72E00F6F}"/>
                </a:ext>
              </a:extLst>
            </p:cNvPr>
            <p:cNvSpPr/>
            <p:nvPr/>
          </p:nvSpPr>
          <p:spPr>
            <a:xfrm>
              <a:off x="5343757" y="5290668"/>
              <a:ext cx="747083" cy="747083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iscoSansTT ExtraLight"/>
                <a:ea typeface="+mn-ea"/>
                <a:cs typeface="+mn-cs"/>
                <a:sym typeface="Arial"/>
              </a:endParaRPr>
            </a:p>
          </p:txBody>
        </p:sp>
        <p:pic>
          <p:nvPicPr>
            <p:cNvPr id="52" name="Picture 51">
              <a:extLst>
                <a:ext uri="{FF2B5EF4-FFF2-40B4-BE49-F238E27FC236}">
                  <a16:creationId xmlns:a16="http://schemas.microsoft.com/office/drawing/2014/main" id="{B961E8BC-FEFA-4834-889D-7BF0481342C7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393298" y="5340209"/>
              <a:ext cx="648000" cy="6480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48496413"/>
      </p:ext>
    </p:extLst>
  </p:cSld>
  <p:clrMapOvr>
    <a:masterClrMapping/>
  </p:clrMapOvr>
  <p:transition>
    <p:fade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Box 13">
            <a:extLst>
              <a:ext uri="{FF2B5EF4-FFF2-40B4-BE49-F238E27FC236}">
                <a16:creationId xmlns:a16="http://schemas.microsoft.com/office/drawing/2014/main" id="{15E7B114-12B1-4FE0-BB62-0EF4F343946D}"/>
              </a:ext>
            </a:extLst>
          </p:cNvPr>
          <p:cNvSpPr txBox="1"/>
          <p:nvPr/>
        </p:nvSpPr>
        <p:spPr>
          <a:xfrm>
            <a:off x="719667" y="2893963"/>
            <a:ext cx="2213864" cy="28576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609539" rtl="0" eaLnBrk="1" fontAlgn="base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rgbClr val="00BCEB"/>
              </a:buClr>
              <a:buSzTx/>
              <a:buFont typeface="Arial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14284A"/>
                </a:solidFill>
                <a:effectLst/>
                <a:uLnTx/>
                <a:uFillTx/>
                <a:latin typeface="CiscoSansTT ExtraLight" panose="020B0303020201020303" pitchFamily="34" charset="0"/>
                <a:ea typeface="ＭＳ Ｐゴシック" charset="0"/>
                <a:cs typeface="CiscoSansTT ExtraLight" panose="020B0303020201020303" pitchFamily="34" charset="0"/>
                <a:sym typeface="Arial"/>
              </a:rPr>
              <a:t>Routing and Switching</a:t>
            </a:r>
          </a:p>
          <a:p>
            <a:pPr marL="0" marR="0" lvl="0" indent="0" algn="l" defTabSz="609539" rtl="0" eaLnBrk="1" fontAlgn="base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rgbClr val="00BCEB"/>
              </a:buClr>
              <a:buSzTx/>
              <a:buFont typeface="Arial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14284A"/>
                </a:solidFill>
                <a:effectLst/>
                <a:uLnTx/>
                <a:uFillTx/>
                <a:latin typeface="CiscoSansTT ExtraLight" panose="020B0303020201020303" pitchFamily="34" charset="0"/>
                <a:ea typeface="ＭＳ Ｐゴシック" charset="0"/>
                <a:cs typeface="CiscoSansTT ExtraLight" panose="020B0303020201020303" pitchFamily="34" charset="0"/>
                <a:sym typeface="Arial"/>
              </a:rPr>
              <a:t>Wireless Networking</a:t>
            </a:r>
          </a:p>
          <a:p>
            <a:pPr marL="0" marR="0" lvl="0" indent="0" algn="l" defTabSz="609539" rtl="0" eaLnBrk="1" fontAlgn="base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rgbClr val="00BCEB"/>
              </a:buClr>
              <a:buSzTx/>
              <a:buFont typeface="Arial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14284A"/>
                </a:solidFill>
                <a:effectLst/>
                <a:uLnTx/>
                <a:uFillTx/>
                <a:latin typeface="CiscoSansTT ExtraLight" panose="020B0303020201020303" pitchFamily="34" charset="0"/>
                <a:ea typeface="ＭＳ Ｐゴシック" charset="0"/>
                <a:cs typeface="CiscoSansTT ExtraLight" panose="020B0303020201020303" pitchFamily="34" charset="0"/>
                <a:sym typeface="Arial"/>
              </a:rPr>
              <a:t>Network Management </a:t>
            </a:r>
            <a:b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14284A"/>
                </a:solidFill>
                <a:effectLst/>
                <a:uLnTx/>
                <a:uFillTx/>
                <a:latin typeface="CiscoSansTT ExtraLight" panose="020B0303020201020303" pitchFamily="34" charset="0"/>
                <a:ea typeface="ＭＳ Ｐゴシック" charset="0"/>
                <a:cs typeface="CiscoSansTT ExtraLight" panose="020B0303020201020303" pitchFamily="34" charset="0"/>
                <a:sym typeface="Arial"/>
              </a:rPr>
            </a:b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14284A"/>
                </a:solidFill>
                <a:effectLst/>
                <a:uLnTx/>
                <a:uFillTx/>
                <a:latin typeface="CiscoSansTT ExtraLight" panose="020B0303020201020303" pitchFamily="34" charset="0"/>
                <a:ea typeface="ＭＳ Ｐゴシック" charset="0"/>
                <a:cs typeface="CiscoSansTT ExtraLight" panose="020B0303020201020303" pitchFamily="34" charset="0"/>
                <a:sym typeface="Arial"/>
              </a:rPr>
              <a:t>and Orchestration</a:t>
            </a:r>
          </a:p>
          <a:p>
            <a:pPr marL="0" marR="0" lvl="0" indent="0" algn="l" defTabSz="609539" rtl="0" eaLnBrk="1" fontAlgn="base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rgbClr val="00BCEB"/>
              </a:buClr>
              <a:buSzTx/>
              <a:buFont typeface="Arial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14284A"/>
                </a:solidFill>
                <a:effectLst/>
                <a:uLnTx/>
                <a:uFillTx/>
                <a:latin typeface="CiscoSansTT ExtraLight" panose="020B0303020201020303" pitchFamily="34" charset="0"/>
                <a:ea typeface="ＭＳ Ｐゴシック" charset="0"/>
                <a:cs typeface="CiscoSansTT ExtraLight" panose="020B0303020201020303" pitchFamily="34" charset="0"/>
                <a:sym typeface="Arial"/>
              </a:rPr>
              <a:t>Optical Networking </a:t>
            </a:r>
          </a:p>
          <a:p>
            <a:pPr marL="0" marR="0" lvl="0" indent="0" algn="l" defTabSz="609539" rtl="0" eaLnBrk="1" fontAlgn="base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rgbClr val="00BCEB"/>
              </a:buClr>
              <a:buSzTx/>
              <a:buFont typeface="Arial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14284A"/>
                </a:solidFill>
                <a:effectLst/>
                <a:uLnTx/>
                <a:uFillTx/>
                <a:latin typeface="CiscoSansTT ExtraLight" panose="020B0303020201020303" pitchFamily="34" charset="0"/>
                <a:ea typeface="ＭＳ Ｐゴシック" charset="0"/>
                <a:cs typeface="CiscoSansTT ExtraLight" panose="020B0303020201020303" pitchFamily="34" charset="0"/>
                <a:sym typeface="Arial"/>
              </a:rPr>
              <a:t>Next-Generation </a:t>
            </a:r>
            <a:b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14284A"/>
                </a:solidFill>
                <a:effectLst/>
                <a:uLnTx/>
                <a:uFillTx/>
                <a:latin typeface="CiscoSansTT ExtraLight" panose="020B0303020201020303" pitchFamily="34" charset="0"/>
                <a:ea typeface="ＭＳ Ｐゴシック" charset="0"/>
                <a:cs typeface="CiscoSansTT ExtraLight" panose="020B0303020201020303" pitchFamily="34" charset="0"/>
                <a:sym typeface="Arial"/>
              </a:rPr>
            </a:b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14284A"/>
                </a:solidFill>
                <a:effectLst/>
                <a:uLnTx/>
                <a:uFillTx/>
                <a:latin typeface="CiscoSansTT ExtraLight" panose="020B0303020201020303" pitchFamily="34" charset="0"/>
                <a:ea typeface="ＭＳ Ｐゴシック" charset="0"/>
                <a:cs typeface="CiscoSansTT ExtraLight" panose="020B0303020201020303" pitchFamily="34" charset="0"/>
                <a:sym typeface="Arial"/>
              </a:rPr>
              <a:t>Cable Access</a:t>
            </a:r>
          </a:p>
          <a:p>
            <a:pPr marL="0" marR="0" lvl="0" indent="0" algn="l" defTabSz="609539" rtl="0" eaLnBrk="1" fontAlgn="base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333" b="0" i="0" u="none" strike="noStrike" kern="0" cap="none" spc="0" normalizeH="0" baseline="0" noProof="0">
              <a:ln>
                <a:noFill/>
              </a:ln>
              <a:solidFill>
                <a:srgbClr val="14284A"/>
              </a:solidFill>
              <a:effectLst/>
              <a:uLnTx/>
              <a:uFillTx/>
              <a:latin typeface="CiscoSansTT ExtraLight" panose="020B0303020201020303" pitchFamily="34" charset="0"/>
              <a:ea typeface="ＭＳ Ｐゴシック" charset="0"/>
              <a:cs typeface="CiscoSansTT ExtraLight" panose="020B0303020201020303" pitchFamily="34" charset="0"/>
              <a:sym typeface="Arial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FB5657F9-3176-43C7-B799-4425C0F9513D}"/>
              </a:ext>
            </a:extLst>
          </p:cNvPr>
          <p:cNvSpPr txBox="1"/>
          <p:nvPr/>
        </p:nvSpPr>
        <p:spPr>
          <a:xfrm>
            <a:off x="3575117" y="2893963"/>
            <a:ext cx="2213864" cy="2857600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 marL="0" marR="0" lvl="0" indent="0" algn="l" defTabSz="609539" rtl="0" eaLnBrk="1" fontAlgn="base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rgbClr val="6EBE4A"/>
              </a:buClr>
              <a:buSzTx/>
              <a:buFont typeface="Arial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14284A"/>
                </a:solidFill>
                <a:effectLst/>
                <a:uLnTx/>
                <a:uFillTx/>
                <a:latin typeface="CiscoSansTT ExtraLight" panose="020B0303020201020303" pitchFamily="34" charset="0"/>
                <a:ea typeface="ＭＳ Ｐゴシック" charset="0"/>
                <a:cs typeface="CiscoSansTT ExtraLight" panose="020B0303020201020303" pitchFamily="34" charset="0"/>
                <a:sym typeface="Arial"/>
              </a:rPr>
              <a:t>Computing Systems</a:t>
            </a:r>
          </a:p>
          <a:p>
            <a:pPr marL="0" marR="0" lvl="0" indent="0" algn="l" defTabSz="609539" rtl="0" eaLnBrk="1" fontAlgn="base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rgbClr val="6EBE4A"/>
              </a:buClr>
              <a:buSzTx/>
              <a:buFont typeface="Arial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14284A"/>
                </a:solidFill>
                <a:effectLst/>
                <a:uLnTx/>
                <a:uFillTx/>
                <a:latin typeface="CiscoSansTT ExtraLight" panose="020B0303020201020303" pitchFamily="34" charset="0"/>
                <a:ea typeface="ＭＳ Ｐゴシック" charset="0"/>
                <a:cs typeface="CiscoSansTT ExtraLight" panose="020B0303020201020303" pitchFamily="34" charset="0"/>
                <a:sym typeface="Arial"/>
              </a:rPr>
              <a:t>Data Center Switching</a:t>
            </a:r>
          </a:p>
          <a:p>
            <a:pPr marL="0" marR="0" lvl="0" indent="0" algn="l" defTabSz="609539" rtl="0" eaLnBrk="1" fontAlgn="base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rgbClr val="6EBE4A"/>
              </a:buClr>
              <a:buSzTx/>
              <a:buFont typeface="Arial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14284A"/>
                </a:solidFill>
                <a:effectLst/>
                <a:uLnTx/>
                <a:uFillTx/>
                <a:latin typeface="CiscoSansTT ExtraLight" panose="020B0303020201020303" pitchFamily="34" charset="0"/>
                <a:ea typeface="ＭＳ Ｐゴシック" charset="0"/>
                <a:cs typeface="CiscoSansTT ExtraLight" panose="020B0303020201020303" pitchFamily="34" charset="0"/>
                <a:sym typeface="Arial"/>
              </a:rPr>
              <a:t>Storage Area Networking (SAN)</a:t>
            </a:r>
          </a:p>
          <a:p>
            <a:pPr marL="0" marR="0" lvl="0" indent="0" algn="l" defTabSz="609539" rtl="0" eaLnBrk="1" fontAlgn="base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rgbClr val="6EBE4A"/>
              </a:buClr>
              <a:buSzTx/>
              <a:buFont typeface="Arial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14284A"/>
                </a:solidFill>
                <a:effectLst/>
                <a:uLnTx/>
                <a:uFillTx/>
                <a:latin typeface="CiscoSansTT ExtraLight"/>
                <a:ea typeface="ＭＳ Ｐゴシック"/>
                <a:cs typeface="CiscoSansTT ExtraLight" panose="020B0303020201020303" pitchFamily="34" charset="0"/>
                <a:sym typeface="Arial"/>
              </a:rPr>
              <a:t>Application Centric Infrastructure (ACI™)</a:t>
            </a:r>
          </a:p>
          <a:p>
            <a:pPr marL="0" marR="0" lvl="0" indent="0" algn="l" defTabSz="609539" rtl="0" eaLnBrk="1" fontAlgn="base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rgbClr val="6EBE4A"/>
              </a:buClr>
              <a:buSzTx/>
              <a:buFont typeface="Arial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14284A"/>
                </a:solidFill>
                <a:effectLst/>
                <a:uLnTx/>
                <a:uFillTx/>
                <a:latin typeface="CiscoSansTT ExtraLight" panose="020B0303020201020303" pitchFamily="34" charset="0"/>
                <a:ea typeface="ＭＳ Ｐゴシック" charset="0"/>
                <a:cs typeface="CiscoSansTT ExtraLight" panose="020B0303020201020303" pitchFamily="34" charset="0"/>
                <a:sym typeface="Arial"/>
              </a:rPr>
              <a:t>Data Center Orchestration and Automation</a:t>
            </a:r>
          </a:p>
          <a:p>
            <a:pPr marL="0" marR="0" lvl="0" indent="0" algn="l" defTabSz="609539" rtl="0" eaLnBrk="1" fontAlgn="base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333" b="0" i="0" u="none" strike="noStrike" kern="0" cap="none" spc="0" normalizeH="0" baseline="0" noProof="0">
              <a:ln>
                <a:noFill/>
              </a:ln>
              <a:solidFill>
                <a:srgbClr val="14284A"/>
              </a:solidFill>
              <a:effectLst/>
              <a:uLnTx/>
              <a:uFillTx/>
              <a:latin typeface="CiscoSansTT ExtraLight" panose="020B0303020201020303" pitchFamily="34" charset="0"/>
              <a:ea typeface="ＭＳ Ｐゴシック" charset="0"/>
              <a:cs typeface="CiscoSansTT ExtraLight" panose="020B0303020201020303" pitchFamily="34" charset="0"/>
              <a:sym typeface="Arial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F2A96330-4F5E-45E3-89EB-28F7C155A745}"/>
              </a:ext>
            </a:extLst>
          </p:cNvPr>
          <p:cNvSpPr txBox="1"/>
          <p:nvPr/>
        </p:nvSpPr>
        <p:spPr>
          <a:xfrm>
            <a:off x="9286017" y="2893963"/>
            <a:ext cx="2347177" cy="2857600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 marL="0" marR="0" lvl="0" indent="0" algn="l" defTabSz="609539" rtl="0" eaLnBrk="1" fontAlgn="base" latinLnBrk="0" hangingPunct="1">
              <a:lnSpc>
                <a:spcPct val="110000"/>
              </a:lnSpc>
              <a:spcBef>
                <a:spcPts val="0"/>
              </a:spcBef>
              <a:spcAft>
                <a:spcPts val="267"/>
              </a:spcAft>
              <a:buClr>
                <a:srgbClr val="005073"/>
              </a:buClr>
              <a:buSzTx/>
              <a:buFont typeface="Arial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14284A"/>
                </a:solidFill>
                <a:effectLst/>
                <a:uLnTx/>
                <a:uFillTx/>
                <a:latin typeface="CiscoSansTT ExtraLight"/>
                <a:ea typeface="ＭＳ Ｐゴシック"/>
                <a:cs typeface="CiscoSansTT ExtraLight" panose="020B0303020201020303" pitchFamily="34" charset="0"/>
                <a:sym typeface="Arial"/>
              </a:rPr>
              <a:t>Calling</a:t>
            </a:r>
          </a:p>
          <a:p>
            <a:pPr marL="180975" marR="0" lvl="1" indent="0" algn="l" defTabSz="609539" rtl="0" eaLnBrk="1" fontAlgn="base" latinLnBrk="0" hangingPunct="1">
              <a:lnSpc>
                <a:spcPct val="110000"/>
              </a:lnSpc>
              <a:spcBef>
                <a:spcPts val="0"/>
              </a:spcBef>
              <a:spcAft>
                <a:spcPts val="267"/>
              </a:spcAft>
              <a:buClr>
                <a:srgbClr val="005073"/>
              </a:buClr>
              <a:buSzTx/>
              <a:buFont typeface="Arial"/>
              <a:buNone/>
              <a:tabLst/>
              <a:defRPr/>
            </a:pPr>
            <a:r>
              <a:rPr kumimoji="0" lang="en-US" sz="1067" b="0" i="0" u="none" strike="noStrike" kern="0" cap="none" spc="0" normalizeH="0" baseline="0" noProof="0">
                <a:ln>
                  <a:noFill/>
                </a:ln>
                <a:solidFill>
                  <a:srgbClr val="14284A"/>
                </a:solidFill>
                <a:effectLst/>
                <a:uLnTx/>
                <a:uFillTx/>
                <a:latin typeface="CiscoSansTT ExtraLight"/>
                <a:ea typeface="ＭＳ Ｐゴシック"/>
                <a:cs typeface="CiscoSansTT ExtraLight" panose="020B0303020201020303" pitchFamily="34" charset="0"/>
                <a:sym typeface="Arial"/>
              </a:rPr>
              <a:t>Unified Communications </a:t>
            </a:r>
            <a:endParaRPr kumimoji="0" lang="en-US" sz="1067" b="0" i="0" u="none" strike="noStrike" kern="0" cap="none" spc="0" normalizeH="0" baseline="0" noProof="0">
              <a:ln>
                <a:noFill/>
              </a:ln>
              <a:solidFill>
                <a:srgbClr val="14284A"/>
              </a:solidFill>
              <a:effectLst/>
              <a:uLnTx/>
              <a:uFillTx/>
              <a:latin typeface="CiscoSansTT ExtraLight" panose="020B0303020201020303" pitchFamily="34" charset="0"/>
              <a:ea typeface="ＭＳ Ｐゴシック" charset="0"/>
              <a:cs typeface="CiscoSansTT ExtraLight" panose="020B0303020201020303" pitchFamily="34" charset="0"/>
              <a:sym typeface="Arial"/>
            </a:endParaRPr>
          </a:p>
          <a:p>
            <a:pPr marL="180975" marR="0" lvl="1" indent="0" algn="l" defTabSz="609539" rtl="0" eaLnBrk="1" fontAlgn="base" latinLnBrk="0" hangingPunct="1">
              <a:lnSpc>
                <a:spcPct val="110000"/>
              </a:lnSpc>
              <a:spcBef>
                <a:spcPts val="0"/>
              </a:spcBef>
              <a:spcAft>
                <a:spcPts val="267"/>
              </a:spcAft>
              <a:buClr>
                <a:srgbClr val="005073"/>
              </a:buClr>
              <a:buSzTx/>
              <a:buFont typeface="Arial"/>
              <a:buNone/>
              <a:tabLst/>
              <a:defRPr/>
            </a:pPr>
            <a:r>
              <a:rPr kumimoji="0" lang="en-US" sz="1067" b="0" i="0" u="none" strike="noStrike" kern="0" cap="none" spc="0" normalizeH="0" baseline="0" noProof="0">
                <a:ln>
                  <a:noFill/>
                </a:ln>
                <a:solidFill>
                  <a:srgbClr val="14284A"/>
                </a:solidFill>
                <a:effectLst/>
                <a:uLnTx/>
                <a:uFillTx/>
                <a:latin typeface="CiscoSansTT ExtraLight"/>
                <a:ea typeface="ＭＳ Ｐゴシック"/>
                <a:cs typeface="CiscoSansTT ExtraLight" panose="020B0303020201020303" pitchFamily="34" charset="0"/>
                <a:sym typeface="Arial"/>
              </a:rPr>
              <a:t>Unified Communications Manager</a:t>
            </a:r>
          </a:p>
          <a:p>
            <a:pPr marL="180975" marR="0" lvl="1" indent="0" algn="l" defTabSz="609539" rtl="0" eaLnBrk="1" fontAlgn="base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rgbClr val="005073"/>
              </a:buClr>
              <a:buSzTx/>
              <a:buFont typeface="Arial"/>
              <a:buNone/>
              <a:tabLst/>
              <a:defRPr/>
            </a:pPr>
            <a:r>
              <a:rPr kumimoji="0" lang="en-US" sz="1067" b="0" i="0" u="none" strike="noStrike" kern="0" cap="none" spc="0" normalizeH="0" baseline="0" noProof="0">
                <a:ln>
                  <a:noFill/>
                </a:ln>
                <a:solidFill>
                  <a:srgbClr val="14284A"/>
                </a:solidFill>
                <a:effectLst/>
                <a:uLnTx/>
                <a:uFillTx/>
                <a:latin typeface="CiscoSansTT ExtraLight"/>
                <a:ea typeface="ＭＳ Ｐゴシック"/>
                <a:cs typeface="CiscoSansTT ExtraLight" panose="020B0303020201020303" pitchFamily="34" charset="0"/>
                <a:sym typeface="Arial"/>
              </a:rPr>
              <a:t>Webex® Calling</a:t>
            </a:r>
          </a:p>
          <a:p>
            <a:pPr marL="12700" marR="0" lvl="0" indent="0" algn="l" defTabSz="609539" rtl="0" eaLnBrk="1" fontAlgn="base" latinLnBrk="0" hangingPunct="1">
              <a:lnSpc>
                <a:spcPct val="110000"/>
              </a:lnSpc>
              <a:spcBef>
                <a:spcPts val="0"/>
              </a:spcBef>
              <a:spcAft>
                <a:spcPts val="267"/>
              </a:spcAft>
              <a:buClr>
                <a:srgbClr val="005073"/>
              </a:buClr>
              <a:buSzTx/>
              <a:buFont typeface="Arial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14284A"/>
                </a:solidFill>
                <a:effectLst/>
                <a:uLnTx/>
                <a:uFillTx/>
                <a:latin typeface="CiscoSansTT ExtraLight"/>
                <a:ea typeface="ＭＳ Ｐゴシック"/>
                <a:cs typeface="CiscoSansTT ExtraLight" panose="020B0303020201020303" pitchFamily="34" charset="0"/>
                <a:sym typeface="Arial"/>
              </a:rPr>
              <a:t>Contact Center</a:t>
            </a:r>
          </a:p>
          <a:p>
            <a:pPr marL="180975" marR="0" lvl="1" indent="0" algn="l" defTabSz="609539" rtl="0" eaLnBrk="1" fontAlgn="base" latinLnBrk="0" hangingPunct="1">
              <a:lnSpc>
                <a:spcPct val="110000"/>
              </a:lnSpc>
              <a:spcBef>
                <a:spcPts val="0"/>
              </a:spcBef>
              <a:spcAft>
                <a:spcPts val="267"/>
              </a:spcAft>
              <a:buClr>
                <a:srgbClr val="005073"/>
              </a:buClr>
              <a:buSzTx/>
              <a:buFont typeface="Arial"/>
              <a:buNone/>
              <a:tabLst/>
              <a:defRPr/>
            </a:pPr>
            <a:r>
              <a:rPr kumimoji="0" lang="en-US" sz="1067" b="0" i="0" u="none" strike="noStrike" kern="0" cap="none" spc="0" normalizeH="0" baseline="0" noProof="0">
                <a:ln>
                  <a:noFill/>
                </a:ln>
                <a:solidFill>
                  <a:srgbClr val="14284A"/>
                </a:solidFill>
                <a:effectLst/>
                <a:uLnTx/>
                <a:uFillTx/>
                <a:latin typeface="CiscoSansTT ExtraLight"/>
                <a:ea typeface="ＭＳ Ｐゴシック"/>
                <a:cs typeface="CiscoSansTT ExtraLight" panose="020B0303020201020303" pitchFamily="34" charset="0"/>
                <a:sym typeface="Arial"/>
              </a:rPr>
              <a:t>Unified Contact Center Enterprise</a:t>
            </a:r>
          </a:p>
          <a:p>
            <a:pPr marL="180975" marR="0" lvl="1" indent="0" algn="l" defTabSz="609539" rtl="0" eaLnBrk="1" fontAlgn="base" latinLnBrk="0" hangingPunct="1">
              <a:lnSpc>
                <a:spcPct val="110000"/>
              </a:lnSpc>
              <a:spcBef>
                <a:spcPts val="0"/>
              </a:spcBef>
              <a:spcAft>
                <a:spcPts val="267"/>
              </a:spcAft>
              <a:buClr>
                <a:srgbClr val="005073"/>
              </a:buClr>
              <a:buSzTx/>
              <a:buFont typeface="Arial"/>
              <a:buNone/>
              <a:tabLst/>
              <a:defRPr/>
            </a:pPr>
            <a:r>
              <a:rPr kumimoji="0" lang="en-US" sz="1067" b="0" i="0" u="none" strike="noStrike" kern="0" cap="none" spc="0" normalizeH="0" baseline="0" noProof="0">
                <a:ln>
                  <a:noFill/>
                </a:ln>
                <a:solidFill>
                  <a:srgbClr val="14284A"/>
                </a:solidFill>
                <a:effectLst/>
                <a:uLnTx/>
                <a:uFillTx/>
                <a:latin typeface="CiscoSansTT ExtraLight"/>
                <a:ea typeface="ＭＳ Ｐゴシック"/>
                <a:cs typeface="CiscoSansTT ExtraLight" panose="020B0303020201020303" pitchFamily="34" charset="0"/>
                <a:sym typeface="Arial"/>
              </a:rPr>
              <a:t>Webex Contact Center Enterprise</a:t>
            </a:r>
          </a:p>
          <a:p>
            <a:pPr marL="180975" marR="0" lvl="1" indent="0" algn="l" defTabSz="609539" rtl="0" eaLnBrk="1" fontAlgn="base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rgbClr val="005073"/>
              </a:buClr>
              <a:buSzTx/>
              <a:buFont typeface="Arial"/>
              <a:buNone/>
              <a:tabLst/>
              <a:defRPr/>
            </a:pPr>
            <a:r>
              <a:rPr kumimoji="0" lang="en-US" sz="1067" b="0" i="0" u="none" strike="noStrike" kern="0" cap="none" spc="0" normalizeH="0" baseline="0" noProof="0">
                <a:ln>
                  <a:noFill/>
                </a:ln>
                <a:solidFill>
                  <a:srgbClr val="14284A"/>
                </a:solidFill>
                <a:effectLst/>
                <a:uLnTx/>
                <a:uFillTx/>
                <a:latin typeface="CiscoSansTT ExtraLight"/>
                <a:ea typeface="ＭＳ Ｐゴシック"/>
                <a:cs typeface="CiscoSansTT ExtraLight" panose="020B0303020201020303" pitchFamily="34" charset="0"/>
                <a:sym typeface="Arial"/>
              </a:rPr>
              <a:t>Webex Contact Center</a:t>
            </a:r>
          </a:p>
          <a:p>
            <a:pPr marL="0" marR="0" lvl="0" indent="0" algn="l" defTabSz="609539" rtl="0" eaLnBrk="1" fontAlgn="base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rgbClr val="005073"/>
              </a:buClr>
              <a:buSzTx/>
              <a:buFont typeface="Arial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14284A"/>
                </a:solidFill>
                <a:effectLst/>
                <a:uLnTx/>
                <a:uFillTx/>
                <a:latin typeface="CiscoSansTT ExtraLight"/>
                <a:ea typeface="ＭＳ Ｐゴシック"/>
                <a:cs typeface="CiscoSansTT ExtraLight" panose="020B0303020201020303" pitchFamily="34" charset="0"/>
                <a:sym typeface="Arial"/>
              </a:rPr>
              <a:t>Video Collaboration</a:t>
            </a:r>
          </a:p>
          <a:p>
            <a:pPr marL="0" marR="0" lvl="0" indent="0" algn="l" defTabSz="609539" rtl="0" eaLnBrk="1" fontAlgn="base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rgbClr val="005073"/>
              </a:buClr>
              <a:buSzTx/>
              <a:buFont typeface="Arial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14284A"/>
                </a:solidFill>
                <a:effectLst/>
                <a:uLnTx/>
                <a:uFillTx/>
                <a:latin typeface="CiscoSansTT ExtraLight"/>
                <a:ea typeface="ＭＳ Ｐゴシック"/>
                <a:cs typeface="CiscoSansTT ExtraLight" panose="020B0303020201020303" pitchFamily="34" charset="0"/>
                <a:sym typeface="Arial"/>
              </a:rPr>
              <a:t>Cloud Meetings and Messaging</a:t>
            </a:r>
          </a:p>
          <a:p>
            <a:pPr marL="0" marR="0" lvl="0" indent="0" algn="l" defTabSz="609539" rtl="0" eaLnBrk="1" fontAlgn="base" latinLnBrk="0" hangingPunct="1">
              <a:lnSpc>
                <a:spcPct val="110000"/>
              </a:lnSpc>
              <a:spcBef>
                <a:spcPts val="0"/>
              </a:spcBef>
              <a:spcAft>
                <a:spcPts val="80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333" b="0" i="0" u="none" strike="noStrike" kern="0" cap="none" spc="0" normalizeH="0" baseline="0" noProof="0">
              <a:ln>
                <a:noFill/>
              </a:ln>
              <a:solidFill>
                <a:srgbClr val="14284A"/>
              </a:solidFill>
              <a:effectLst/>
              <a:uLnTx/>
              <a:uFillTx/>
              <a:latin typeface="CiscoSansTT ExtraLight" panose="020B0303020201020303" pitchFamily="34" charset="0"/>
              <a:ea typeface="ＭＳ Ｐゴシック" charset="0"/>
              <a:cs typeface="CiscoSansTT ExtraLight" panose="020B0303020201020303" pitchFamily="34" charset="0"/>
              <a:sym typeface="Arial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2302C8A7-9541-480D-8C1E-3591FEEF9C29}"/>
              </a:ext>
            </a:extLst>
          </p:cNvPr>
          <p:cNvSpPr/>
          <p:nvPr/>
        </p:nvSpPr>
        <p:spPr>
          <a:xfrm>
            <a:off x="4298953" y="6148918"/>
            <a:ext cx="7173913" cy="333383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800" b="0" i="0" u="none" strike="noStrike" kern="0" cap="none" spc="0" normalizeH="0" baseline="0" noProof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CiscoSansTT ExtraLight"/>
                <a:cs typeface="Arial"/>
                <a:sym typeface="Arial"/>
              </a:rPr>
              <a:t>*Other Cisco technologies will be covered in subsequent Business Critical Services releases.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7E50CB66-78F9-4A54-A2EA-901159592AAF}"/>
              </a:ext>
            </a:extLst>
          </p:cNvPr>
          <p:cNvSpPr txBox="1"/>
          <p:nvPr/>
        </p:nvSpPr>
        <p:spPr>
          <a:xfrm>
            <a:off x="6430568" y="2893963"/>
            <a:ext cx="2213864" cy="2857600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 marL="0" marR="0" lvl="0" indent="0" algn="l" defTabSz="609539" rtl="0" eaLnBrk="1" fontAlgn="base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rgbClr val="FBAB18"/>
              </a:buClr>
              <a:buSzTx/>
              <a:buFont typeface="Arial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14284A"/>
                </a:solidFill>
                <a:effectLst/>
                <a:uLnTx/>
                <a:uFillTx/>
                <a:latin typeface="CiscoSansTT ExtraLight" panose="020B0303020201020303" pitchFamily="34" charset="0"/>
                <a:ea typeface="ＭＳ Ｐゴシック" charset="0"/>
                <a:cs typeface="CiscoSansTT ExtraLight" panose="020B0303020201020303" pitchFamily="34" charset="0"/>
                <a:sym typeface="Arial"/>
              </a:rPr>
              <a:t>Network Security </a:t>
            </a:r>
          </a:p>
          <a:p>
            <a:pPr marL="0" marR="0" lvl="0" indent="0" algn="l" defTabSz="609539" rtl="0" eaLnBrk="1" fontAlgn="base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rgbClr val="FBAB18"/>
              </a:buClr>
              <a:buSzTx/>
              <a:buFont typeface="Arial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14284A"/>
                </a:solidFill>
                <a:effectLst/>
                <a:uLnTx/>
                <a:uFillTx/>
                <a:latin typeface="CiscoSansTT ExtraLight" panose="020B0303020201020303" pitchFamily="34" charset="0"/>
                <a:ea typeface="ＭＳ Ｐゴシック" charset="0"/>
                <a:cs typeface="CiscoSansTT ExtraLight" panose="020B0303020201020303" pitchFamily="34" charset="0"/>
                <a:sym typeface="Arial"/>
              </a:rPr>
              <a:t>Cloud Security</a:t>
            </a:r>
          </a:p>
          <a:p>
            <a:pPr marL="0" marR="0" lvl="0" indent="0" algn="l" defTabSz="609539" rtl="0" eaLnBrk="1" fontAlgn="base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rgbClr val="FBAB18"/>
              </a:buClr>
              <a:buSzTx/>
              <a:buFont typeface="Arial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14284A"/>
                </a:solidFill>
                <a:effectLst/>
                <a:uLnTx/>
                <a:uFillTx/>
                <a:latin typeface="CiscoSansTT ExtraLight"/>
                <a:ea typeface="ＭＳ Ｐゴシック"/>
                <a:cs typeface="CiscoSansTT ExtraLight" panose="020B0303020201020303" pitchFamily="34" charset="0"/>
                <a:sym typeface="Arial"/>
              </a:rPr>
              <a:t>Security Policy </a:t>
            </a:r>
            <a:b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2F446B"/>
                </a:solidFill>
                <a:effectLst/>
                <a:uLnTx/>
                <a:uFillTx/>
                <a:latin typeface="CiscoSansTT ExtraLight" panose="020B0303020201020303" pitchFamily="34" charset="0"/>
                <a:ea typeface="ＭＳ Ｐゴシック" charset="0"/>
                <a:cs typeface="CiscoSansTT ExtraLight" panose="020B0303020201020303" pitchFamily="34" charset="0"/>
                <a:sym typeface="Arial"/>
              </a:rPr>
            </a:b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14284A"/>
                </a:solidFill>
                <a:effectLst/>
                <a:uLnTx/>
                <a:uFillTx/>
                <a:latin typeface="CiscoSansTT ExtraLight"/>
                <a:ea typeface="ＭＳ Ｐゴシック"/>
                <a:cs typeface="CiscoSansTT ExtraLight" panose="020B0303020201020303" pitchFamily="34" charset="0"/>
                <a:sym typeface="Arial"/>
              </a:rPr>
              <a:t>and Access</a:t>
            </a:r>
          </a:p>
          <a:p>
            <a:pPr marL="0" marR="0" lvl="0" indent="0" algn="l" defTabSz="609539" rtl="0" eaLnBrk="1" fontAlgn="base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rgbClr val="FBAB18"/>
              </a:buClr>
              <a:buSzTx/>
              <a:buFont typeface="Arial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14284A"/>
                </a:solidFill>
                <a:effectLst/>
                <a:uLnTx/>
                <a:uFillTx/>
                <a:latin typeface="CiscoSansTT ExtraLight" panose="020B0303020201020303" pitchFamily="34" charset="0"/>
                <a:ea typeface="ＭＳ Ｐゴシック" charset="0"/>
                <a:cs typeface="CiscoSansTT ExtraLight" panose="020B0303020201020303" pitchFamily="34" charset="0"/>
                <a:sym typeface="Arial"/>
              </a:rPr>
              <a:t>Advanced Threat Detection</a:t>
            </a:r>
          </a:p>
          <a:p>
            <a:pPr marL="0" marR="0" lvl="0" indent="0" algn="l" defTabSz="609539" rtl="0" eaLnBrk="1" fontAlgn="base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rgbClr val="FBAB18"/>
              </a:buClr>
              <a:buSzTx/>
              <a:buFont typeface="Arial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14284A"/>
                </a:solidFill>
                <a:effectLst/>
                <a:uLnTx/>
                <a:uFillTx/>
                <a:latin typeface="CiscoSansTT ExtraLight"/>
                <a:ea typeface="ＭＳ Ｐゴシック"/>
                <a:cs typeface="CiscoSansTT ExtraLight" panose="020B0303020201020303" pitchFamily="34" charset="0"/>
                <a:sym typeface="Arial"/>
              </a:rPr>
              <a:t>Tetration Analytics™</a:t>
            </a: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srgbClr val="14284A"/>
              </a:solidFill>
              <a:effectLst/>
              <a:uLnTx/>
              <a:uFillTx/>
              <a:latin typeface="CiscoSansTT ExtraLight" panose="020B0303020201020303" pitchFamily="34" charset="0"/>
              <a:ea typeface="ＭＳ Ｐゴシック" charset="0"/>
              <a:cs typeface="CiscoSansTT ExtraLight" panose="020B0303020201020303" pitchFamily="34" charset="0"/>
              <a:sym typeface="Arial"/>
            </a:endParaRPr>
          </a:p>
          <a:p>
            <a:pPr marL="0" marR="0" lvl="0" indent="0" algn="l" defTabSz="609539" rtl="0" eaLnBrk="1" fontAlgn="base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333" b="0" i="0" u="none" strike="noStrike" kern="0" cap="none" spc="0" normalizeH="0" baseline="0" noProof="0">
              <a:ln>
                <a:noFill/>
              </a:ln>
              <a:solidFill>
                <a:srgbClr val="14284A"/>
              </a:solidFill>
              <a:effectLst/>
              <a:uLnTx/>
              <a:uFillTx/>
              <a:latin typeface="CiscoSansTT ExtraLight" panose="020B0303020201020303" pitchFamily="34" charset="0"/>
              <a:ea typeface="ＭＳ Ｐゴシック" charset="0"/>
              <a:cs typeface="CiscoSansTT ExtraLight" panose="020B0303020201020303" pitchFamily="34" charset="0"/>
              <a:sym typeface="Arial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1FDBA728-6774-8F46-9570-C3E71855C278}"/>
              </a:ext>
            </a:extLst>
          </p:cNvPr>
          <p:cNvSpPr txBox="1"/>
          <p:nvPr/>
        </p:nvSpPr>
        <p:spPr>
          <a:xfrm>
            <a:off x="-424071" y="1510748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0" marR="0" lvl="0" indent="0" algn="l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100" b="0" i="0" u="none" strike="noStrike" kern="0" cap="none" spc="0" normalizeH="0" baseline="0" noProof="0">
              <a:ln>
                <a:noFill/>
              </a:ln>
              <a:solidFill>
                <a:srgbClr val="2F446B"/>
              </a:solidFill>
              <a:effectLst/>
              <a:uLnTx/>
              <a:uFillTx/>
              <a:latin typeface="CiscoSansTT ExtraLight"/>
              <a:ea typeface="ＭＳ Ｐゴシック" charset="0"/>
              <a:cs typeface="Arial"/>
              <a:sym typeface="Arial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3F48BDD3-CB5F-484B-B86C-6A771C798C3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Business Critical Services</a:t>
            </a:r>
            <a:br>
              <a:rPr lang="en-US"/>
            </a:br>
            <a:r>
              <a:rPr lang="en-GB" sz="2400">
                <a:solidFill>
                  <a:schemeClr val="accent1"/>
                </a:solidFill>
              </a:rPr>
              <a:t>Architectures and technologies supported</a:t>
            </a:r>
            <a:endParaRPr lang="en-US" sz="2800">
              <a:solidFill>
                <a:schemeClr val="accent1"/>
              </a:solidFill>
            </a:endParaRPr>
          </a:p>
        </p:txBody>
      </p: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5D164CA8-6E7B-4BAC-BAF7-EDC7E31C7094}"/>
              </a:ext>
            </a:extLst>
          </p:cNvPr>
          <p:cNvCxnSpPr>
            <a:cxnSpLocks/>
          </p:cNvCxnSpPr>
          <p:nvPr/>
        </p:nvCxnSpPr>
        <p:spPr>
          <a:xfrm>
            <a:off x="3061864" y="2140481"/>
            <a:ext cx="0" cy="3767715"/>
          </a:xfrm>
          <a:prstGeom prst="line">
            <a:avLst/>
          </a:prstGeom>
          <a:ln w="12700" cap="rnd">
            <a:solidFill>
              <a:schemeClr val="bg1">
                <a:lumMod val="6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E44468ED-EAD4-4E6D-A323-BEC26EE60C5C}"/>
              </a:ext>
            </a:extLst>
          </p:cNvPr>
          <p:cNvCxnSpPr>
            <a:cxnSpLocks/>
          </p:cNvCxnSpPr>
          <p:nvPr/>
        </p:nvCxnSpPr>
        <p:spPr>
          <a:xfrm>
            <a:off x="5908131" y="2140481"/>
            <a:ext cx="0" cy="3767715"/>
          </a:xfrm>
          <a:prstGeom prst="line">
            <a:avLst/>
          </a:prstGeom>
          <a:ln w="12700" cap="rnd">
            <a:solidFill>
              <a:schemeClr val="bg1">
                <a:lumMod val="6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07F1FFF0-F919-40ED-B78E-98B5D6BDAFFC}"/>
              </a:ext>
            </a:extLst>
          </p:cNvPr>
          <p:cNvCxnSpPr>
            <a:cxnSpLocks/>
          </p:cNvCxnSpPr>
          <p:nvPr/>
        </p:nvCxnSpPr>
        <p:spPr>
          <a:xfrm>
            <a:off x="8754397" y="2140480"/>
            <a:ext cx="0" cy="3767715"/>
          </a:xfrm>
          <a:prstGeom prst="line">
            <a:avLst/>
          </a:prstGeom>
          <a:ln w="12700" cap="rnd">
            <a:solidFill>
              <a:schemeClr val="bg1">
                <a:lumMod val="6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Rectangle 10">
            <a:extLst>
              <a:ext uri="{FF2B5EF4-FFF2-40B4-BE49-F238E27FC236}">
                <a16:creationId xmlns:a16="http://schemas.microsoft.com/office/drawing/2014/main" id="{0830BD6D-C2D5-4B72-9FC6-8E3402055A61}"/>
              </a:ext>
            </a:extLst>
          </p:cNvPr>
          <p:cNvSpPr/>
          <p:nvPr/>
        </p:nvSpPr>
        <p:spPr>
          <a:xfrm>
            <a:off x="5969202" y="3031130"/>
            <a:ext cx="25359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867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 </a:t>
            </a:r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FE8711-C999-4524-A4A1-DC08B34DE2A4}"/>
              </a:ext>
            </a:extLst>
          </p:cNvPr>
          <p:cNvGrpSpPr/>
          <p:nvPr/>
        </p:nvGrpSpPr>
        <p:grpSpPr>
          <a:xfrm>
            <a:off x="343931" y="2130261"/>
            <a:ext cx="2589600" cy="627251"/>
            <a:chOff x="111317" y="1525837"/>
            <a:chExt cx="2052000" cy="497033"/>
          </a:xfrm>
        </p:grpSpPr>
        <p:sp>
          <p:nvSpPr>
            <p:cNvPr id="28" name="Google Shape;761;p138">
              <a:extLst>
                <a:ext uri="{FF2B5EF4-FFF2-40B4-BE49-F238E27FC236}">
                  <a16:creationId xmlns:a16="http://schemas.microsoft.com/office/drawing/2014/main" id="{FE2651C7-AA90-484E-969B-17EA624BA054}"/>
                </a:ext>
              </a:extLst>
            </p:cNvPr>
            <p:cNvSpPr/>
            <p:nvPr/>
          </p:nvSpPr>
          <p:spPr>
            <a:xfrm>
              <a:off x="111317" y="1546799"/>
              <a:ext cx="2052000" cy="455109"/>
            </a:xfrm>
            <a:prstGeom prst="roundRect">
              <a:avLst>
                <a:gd name="adj" fmla="val 50000"/>
              </a:avLst>
            </a:prstGeom>
            <a:solidFill>
              <a:schemeClr val="accent1"/>
            </a:solidFill>
            <a:ln>
              <a:noFill/>
            </a:ln>
          </p:spPr>
          <p:txBody>
            <a:bodyPr spcFirstLastPara="1" wrap="square" lIns="672000" tIns="0" rIns="0" bIns="0" anchor="ctr" anchorCtr="0">
              <a:noAutofit/>
            </a:bodyPr>
            <a:lstStyle/>
            <a:p>
              <a:pPr marL="0" marR="0" lvl="0" indent="0" algn="l" defTabSz="121908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600"/>
                <a:buFont typeface="Arial"/>
                <a:buNone/>
                <a:tabLst/>
                <a:defRPr/>
              </a:pPr>
              <a:r>
                <a:rPr kumimoji="0" lang="en-US" sz="1600" b="1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iscoSansTT ExtraLight" panose="020B0303020201020303" pitchFamily="34" charset="0"/>
                  <a:ea typeface="ＭＳ Ｐゴシック" charset="0"/>
                  <a:cs typeface="CiscoSansTT ExtraLight" panose="020B0303020201020303" pitchFamily="34" charset="0"/>
                  <a:sym typeface="Arial"/>
                </a:rPr>
                <a:t>Core networking</a:t>
              </a:r>
            </a:p>
            <a:p>
              <a:pPr marL="0" marR="0" lvl="0" indent="0" algn="l" defTabSz="121908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600"/>
                <a:buFont typeface="Arial"/>
                <a:buNone/>
                <a:tabLst/>
                <a:defRPr/>
              </a:pPr>
              <a:r>
                <a:rPr kumimoji="0" lang="en-US" sz="1600" b="1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iscoSansTT ExtraLight" panose="020B0303020201020303" pitchFamily="34" charset="0"/>
                  <a:ea typeface="ＭＳ Ｐゴシック" charset="0"/>
                  <a:cs typeface="CiscoSansTT ExtraLight" panose="020B0303020201020303" pitchFamily="34" charset="0"/>
                  <a:sym typeface="Arial"/>
                </a:rPr>
                <a:t>Technologies</a:t>
              </a:r>
              <a:endParaRPr kumimoji="0" sz="16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iscoSansTT ExtraLight" panose="020B0303020201020303" pitchFamily="34" charset="0"/>
                <a:ea typeface="ＭＳ Ｐゴシック" charset="0"/>
                <a:cs typeface="CiscoSansTT ExtraLight" panose="020B0303020201020303" pitchFamily="34" charset="0"/>
                <a:sym typeface="Arial"/>
              </a:endParaRPr>
            </a:p>
          </p:txBody>
        </p:sp>
        <p:pic>
          <p:nvPicPr>
            <p:cNvPr id="29" name="Picture 28">
              <a:extLst>
                <a:ext uri="{FF2B5EF4-FFF2-40B4-BE49-F238E27FC236}">
                  <a16:creationId xmlns:a16="http://schemas.microsoft.com/office/drawing/2014/main" id="{423EA72B-011A-44D2-B8A7-80D4F3FF45FD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1317" y="1525837"/>
              <a:ext cx="497033" cy="497033"/>
            </a:xfrm>
            <a:prstGeom prst="rect">
              <a:avLst/>
            </a:prstGeom>
          </p:spPr>
        </p:pic>
      </p:grpSp>
      <p:grpSp>
        <p:nvGrpSpPr>
          <p:cNvPr id="32" name="Group 31">
            <a:extLst>
              <a:ext uri="{FF2B5EF4-FFF2-40B4-BE49-F238E27FC236}">
                <a16:creationId xmlns:a16="http://schemas.microsoft.com/office/drawing/2014/main" id="{447DE0F1-9443-4DDF-BF8A-415ACEE63E02}"/>
              </a:ext>
            </a:extLst>
          </p:cNvPr>
          <p:cNvGrpSpPr/>
          <p:nvPr/>
        </p:nvGrpSpPr>
        <p:grpSpPr>
          <a:xfrm>
            <a:off x="3190197" y="2130261"/>
            <a:ext cx="2589600" cy="627251"/>
            <a:chOff x="2436143" y="1525837"/>
            <a:chExt cx="2052000" cy="497033"/>
          </a:xfrm>
        </p:grpSpPr>
        <p:sp>
          <p:nvSpPr>
            <p:cNvPr id="33" name="Google Shape;762;p138">
              <a:extLst>
                <a:ext uri="{FF2B5EF4-FFF2-40B4-BE49-F238E27FC236}">
                  <a16:creationId xmlns:a16="http://schemas.microsoft.com/office/drawing/2014/main" id="{47E50CF6-D614-4093-95F9-4A6264151D88}"/>
                </a:ext>
              </a:extLst>
            </p:cNvPr>
            <p:cNvSpPr/>
            <p:nvPr/>
          </p:nvSpPr>
          <p:spPr>
            <a:xfrm>
              <a:off x="2436143" y="1546799"/>
              <a:ext cx="2052000" cy="455109"/>
            </a:xfrm>
            <a:prstGeom prst="roundRect">
              <a:avLst>
                <a:gd name="adj" fmla="val 50000"/>
              </a:avLst>
            </a:prstGeom>
            <a:solidFill>
              <a:srgbClr val="152644"/>
            </a:solidFill>
            <a:ln>
              <a:solidFill>
                <a:schemeClr val="bg1"/>
              </a:solidFill>
            </a:ln>
          </p:spPr>
          <p:txBody>
            <a:bodyPr spcFirstLastPara="1" wrap="square" lIns="672000" tIns="0" rIns="0" bIns="0" anchor="ctr" anchorCtr="0">
              <a:noAutofit/>
            </a:bodyPr>
            <a:lstStyle/>
            <a:p>
              <a:pPr marL="0" marR="0" lvl="0" indent="0" algn="l" defTabSz="121908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600"/>
                <a:buFont typeface="Arial"/>
                <a:buNone/>
                <a:tabLst/>
                <a:defRPr/>
              </a:pPr>
              <a:r>
                <a:rPr kumimoji="0" lang="en-US" sz="1600" b="1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iscoSansTT ExtraLight" panose="020B0303020201020303" pitchFamily="34" charset="0"/>
                  <a:ea typeface="ＭＳ Ｐゴシック" charset="0"/>
                  <a:cs typeface="CiscoSansTT ExtraLight" panose="020B0303020201020303" pitchFamily="34" charset="0"/>
                  <a:sym typeface="Arial"/>
                </a:rPr>
                <a:t>Data center</a:t>
              </a:r>
            </a:p>
            <a:p>
              <a:pPr marL="0" marR="0" lvl="0" indent="0" algn="l" defTabSz="121908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600"/>
                <a:buFont typeface="Arial"/>
                <a:buNone/>
                <a:tabLst/>
                <a:defRPr/>
              </a:pPr>
              <a:r>
                <a:rPr kumimoji="0" lang="en-US" sz="1600" b="1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iscoSansTT ExtraLight" panose="020B0303020201020303" pitchFamily="34" charset="0"/>
                  <a:ea typeface="ＭＳ Ｐゴシック" charset="0"/>
                  <a:cs typeface="CiscoSansTT ExtraLight" panose="020B0303020201020303" pitchFamily="34" charset="0"/>
                  <a:sym typeface="Arial"/>
                </a:rPr>
                <a:t>Technologies</a:t>
              </a:r>
              <a:endParaRPr kumimoji="0" sz="16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iscoSansTT ExtraLight" panose="020B0303020201020303" pitchFamily="34" charset="0"/>
                <a:ea typeface="ＭＳ Ｐゴシック" charset="0"/>
                <a:cs typeface="CiscoSansTT ExtraLight" panose="020B0303020201020303" pitchFamily="34" charset="0"/>
                <a:sym typeface="Arial"/>
              </a:endParaRPr>
            </a:p>
          </p:txBody>
        </p:sp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638164BC-AD93-434B-8682-9A941608428F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436143" y="1525837"/>
              <a:ext cx="497033" cy="497033"/>
            </a:xfrm>
            <a:prstGeom prst="rect">
              <a:avLst/>
            </a:prstGeom>
          </p:spPr>
        </p:pic>
      </p:grpSp>
      <p:grpSp>
        <p:nvGrpSpPr>
          <p:cNvPr id="35" name="Group 34">
            <a:extLst>
              <a:ext uri="{FF2B5EF4-FFF2-40B4-BE49-F238E27FC236}">
                <a16:creationId xmlns:a16="http://schemas.microsoft.com/office/drawing/2014/main" id="{8D6879CB-A662-438F-BF2F-64004068A3C1}"/>
              </a:ext>
            </a:extLst>
          </p:cNvPr>
          <p:cNvGrpSpPr/>
          <p:nvPr/>
        </p:nvGrpSpPr>
        <p:grpSpPr>
          <a:xfrm>
            <a:off x="6036464" y="2130261"/>
            <a:ext cx="2589600" cy="627251"/>
            <a:chOff x="4701826" y="1525837"/>
            <a:chExt cx="2052000" cy="497033"/>
          </a:xfrm>
        </p:grpSpPr>
        <p:sp>
          <p:nvSpPr>
            <p:cNvPr id="36" name="Google Shape;763;p138">
              <a:extLst>
                <a:ext uri="{FF2B5EF4-FFF2-40B4-BE49-F238E27FC236}">
                  <a16:creationId xmlns:a16="http://schemas.microsoft.com/office/drawing/2014/main" id="{1F362640-239D-4E76-A5D4-991DF565A797}"/>
                </a:ext>
              </a:extLst>
            </p:cNvPr>
            <p:cNvSpPr/>
            <p:nvPr/>
          </p:nvSpPr>
          <p:spPr>
            <a:xfrm>
              <a:off x="4701826" y="1546799"/>
              <a:ext cx="2052000" cy="455109"/>
            </a:xfrm>
            <a:prstGeom prst="roundRect">
              <a:avLst>
                <a:gd name="adj" fmla="val 50000"/>
              </a:avLst>
            </a:prstGeom>
            <a:solidFill>
              <a:schemeClr val="accent2"/>
            </a:solidFill>
            <a:ln>
              <a:noFill/>
            </a:ln>
          </p:spPr>
          <p:txBody>
            <a:bodyPr spcFirstLastPara="1" wrap="square" lIns="672000" tIns="0" rIns="0" bIns="0" anchor="ctr" anchorCtr="0">
              <a:noAutofit/>
            </a:bodyPr>
            <a:lstStyle/>
            <a:p>
              <a:pPr marL="0" marR="0" lvl="0" indent="0" algn="l" defTabSz="121908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r>
                <a:rPr kumimoji="0" lang="en-US" sz="1600" b="1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iscoSansTT ExtraLight" panose="020B0303020201020303" pitchFamily="34" charset="0"/>
                  <a:ea typeface="ＭＳ Ｐゴシック" charset="0"/>
                  <a:cs typeface="CiscoSansTT ExtraLight" panose="020B0303020201020303" pitchFamily="34" charset="0"/>
                  <a:sym typeface="Arial"/>
                </a:rPr>
                <a:t>Security</a:t>
              </a:r>
            </a:p>
            <a:p>
              <a:pPr marL="0" marR="0" lvl="0" indent="0" algn="l" defTabSz="121908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r>
                <a:rPr kumimoji="0" lang="en-US" sz="1600" b="1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iscoSansTT ExtraLight" panose="020B0303020201020303" pitchFamily="34" charset="0"/>
                  <a:ea typeface="ＭＳ Ｐゴシック" charset="0"/>
                  <a:cs typeface="CiscoSansTT ExtraLight" panose="020B0303020201020303" pitchFamily="34" charset="0"/>
                  <a:sym typeface="Arial"/>
                </a:rPr>
                <a:t>Technologies</a:t>
              </a:r>
              <a:endParaRPr kumimoji="0" sz="16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iscoSansTT ExtraLight" panose="020B0303020201020303" pitchFamily="34" charset="0"/>
                <a:ea typeface="ＭＳ Ｐゴシック" charset="0"/>
                <a:cs typeface="CiscoSansTT ExtraLight" panose="020B0303020201020303" pitchFamily="34" charset="0"/>
                <a:sym typeface="Arial"/>
              </a:endParaRPr>
            </a:p>
          </p:txBody>
        </p:sp>
        <p:pic>
          <p:nvPicPr>
            <p:cNvPr id="37" name="Picture 36">
              <a:extLst>
                <a:ext uri="{FF2B5EF4-FFF2-40B4-BE49-F238E27FC236}">
                  <a16:creationId xmlns:a16="http://schemas.microsoft.com/office/drawing/2014/main" id="{8778DCD1-E2EA-4BD8-9B36-564CC4296210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4701826" y="1525837"/>
              <a:ext cx="497033" cy="497033"/>
            </a:xfrm>
            <a:prstGeom prst="rect">
              <a:avLst/>
            </a:prstGeom>
          </p:spPr>
        </p:pic>
      </p:grpSp>
      <p:grpSp>
        <p:nvGrpSpPr>
          <p:cNvPr id="38" name="Group 37">
            <a:extLst>
              <a:ext uri="{FF2B5EF4-FFF2-40B4-BE49-F238E27FC236}">
                <a16:creationId xmlns:a16="http://schemas.microsoft.com/office/drawing/2014/main" id="{A2AA17C3-D984-4C0C-97CF-80B6FB047B02}"/>
              </a:ext>
            </a:extLst>
          </p:cNvPr>
          <p:cNvGrpSpPr/>
          <p:nvPr/>
        </p:nvGrpSpPr>
        <p:grpSpPr>
          <a:xfrm>
            <a:off x="8882733" y="2130261"/>
            <a:ext cx="2589600" cy="627251"/>
            <a:chOff x="6964746" y="1525836"/>
            <a:chExt cx="2052000" cy="497033"/>
          </a:xfrm>
        </p:grpSpPr>
        <p:sp>
          <p:nvSpPr>
            <p:cNvPr id="39" name="Google Shape;763;p138">
              <a:extLst>
                <a:ext uri="{FF2B5EF4-FFF2-40B4-BE49-F238E27FC236}">
                  <a16:creationId xmlns:a16="http://schemas.microsoft.com/office/drawing/2014/main" id="{582B86C8-F2A5-4EB8-AF98-E51CDA2890EE}"/>
                </a:ext>
              </a:extLst>
            </p:cNvPr>
            <p:cNvSpPr/>
            <p:nvPr/>
          </p:nvSpPr>
          <p:spPr>
            <a:xfrm>
              <a:off x="6964746" y="1546797"/>
              <a:ext cx="2052000" cy="455109"/>
            </a:xfrm>
            <a:prstGeom prst="roundRect">
              <a:avLst>
                <a:gd name="adj" fmla="val 50000"/>
              </a:avLst>
            </a:prstGeom>
            <a:solidFill>
              <a:schemeClr val="accent5"/>
            </a:solidFill>
            <a:ln>
              <a:noFill/>
            </a:ln>
          </p:spPr>
          <p:txBody>
            <a:bodyPr spcFirstLastPara="1" wrap="square" lIns="672000" tIns="0" rIns="0" bIns="0" anchor="ctr" anchorCtr="0">
              <a:noAutofit/>
            </a:bodyPr>
            <a:lstStyle/>
            <a:p>
              <a:pPr marL="0" marR="0" lvl="0" indent="0" algn="l" defTabSz="121908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r>
                <a:rPr kumimoji="0" lang="en-US" sz="1600" b="1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iscoSansTT ExtraLight" panose="020B0303020201020303" pitchFamily="34" charset="0"/>
                  <a:ea typeface="ＭＳ Ｐゴシック" charset="0"/>
                  <a:cs typeface="CiscoSansTT ExtraLight" panose="020B0303020201020303" pitchFamily="34" charset="0"/>
                  <a:sym typeface="Arial"/>
                </a:rPr>
                <a:t>Collaboration</a:t>
              </a:r>
            </a:p>
            <a:p>
              <a:pPr marL="0" marR="0" lvl="0" indent="0" algn="l" defTabSz="121908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r>
                <a:rPr kumimoji="0" lang="en-US" sz="1600" b="1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iscoSansTT ExtraLight" panose="020B0303020201020303" pitchFamily="34" charset="0"/>
                  <a:ea typeface="ＭＳ Ｐゴシック" charset="0"/>
                  <a:cs typeface="CiscoSansTT ExtraLight" panose="020B0303020201020303" pitchFamily="34" charset="0"/>
                  <a:sym typeface="Arial"/>
                </a:rPr>
                <a:t>Technologies</a:t>
              </a:r>
              <a:endParaRPr kumimoji="0" sz="16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iscoSansTT ExtraLight" panose="020B0303020201020303" pitchFamily="34" charset="0"/>
                <a:ea typeface="ＭＳ Ｐゴシック" charset="0"/>
                <a:cs typeface="CiscoSansTT ExtraLight" panose="020B0303020201020303" pitchFamily="34" charset="0"/>
                <a:sym typeface="Arial"/>
              </a:endParaRPr>
            </a:p>
          </p:txBody>
        </p:sp>
        <p:pic>
          <p:nvPicPr>
            <p:cNvPr id="40" name="Picture 39">
              <a:extLst>
                <a:ext uri="{FF2B5EF4-FFF2-40B4-BE49-F238E27FC236}">
                  <a16:creationId xmlns:a16="http://schemas.microsoft.com/office/drawing/2014/main" id="{8C797F55-91D1-496D-B21E-5CFD9BD37675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964746" y="1525836"/>
              <a:ext cx="497033" cy="49703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425354611"/>
      </p:ext>
    </p:extLst>
  </p:cSld>
  <p:clrMapOvr>
    <a:masterClrMapping/>
  </p:clrMapOvr>
  <p:transition>
    <p:fade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79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val 8">
            <a:extLst>
              <a:ext uri="{FF2B5EF4-FFF2-40B4-BE49-F238E27FC236}">
                <a16:creationId xmlns:a16="http://schemas.microsoft.com/office/drawing/2014/main" id="{87785166-4D9F-4B0E-818F-4F6AE1C427AC}"/>
              </a:ext>
            </a:extLst>
          </p:cNvPr>
          <p:cNvSpPr/>
          <p:nvPr/>
        </p:nvSpPr>
        <p:spPr>
          <a:xfrm>
            <a:off x="695073" y="2291383"/>
            <a:ext cx="469232" cy="469232"/>
          </a:xfrm>
          <a:prstGeom prst="ellipse">
            <a:avLst/>
          </a:prstGeom>
          <a:solidFill>
            <a:srgbClr val="F5F6F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AU" sz="1100" b="0" i="0" u="none" strike="noStrike" kern="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iscoSansTT ExtraLight"/>
              <a:ea typeface="+mn-ea"/>
              <a:cs typeface="+mn-cs"/>
              <a:sym typeface="Arial"/>
            </a:endParaRPr>
          </a:p>
        </p:txBody>
      </p:sp>
      <p:sp>
        <p:nvSpPr>
          <p:cNvPr id="75" name="Oval 74">
            <a:extLst>
              <a:ext uri="{FF2B5EF4-FFF2-40B4-BE49-F238E27FC236}">
                <a16:creationId xmlns:a16="http://schemas.microsoft.com/office/drawing/2014/main" id="{3B67C142-D8C8-48F2-9854-E51FA50CBB13}"/>
              </a:ext>
            </a:extLst>
          </p:cNvPr>
          <p:cNvSpPr/>
          <p:nvPr/>
        </p:nvSpPr>
        <p:spPr>
          <a:xfrm>
            <a:off x="695073" y="5026636"/>
            <a:ext cx="469232" cy="469232"/>
          </a:xfrm>
          <a:prstGeom prst="ellipse">
            <a:avLst/>
          </a:prstGeom>
          <a:solidFill>
            <a:srgbClr val="F5F6F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AU" sz="1100" b="0" i="0" u="none" strike="noStrike" kern="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iscoSansTT ExtraLight"/>
              <a:ea typeface="+mn-ea"/>
              <a:cs typeface="+mn-cs"/>
              <a:sym typeface="Arial"/>
            </a:endParaRPr>
          </a:p>
        </p:txBody>
      </p:sp>
      <p:sp>
        <p:nvSpPr>
          <p:cNvPr id="76" name="Oval 75">
            <a:extLst>
              <a:ext uri="{FF2B5EF4-FFF2-40B4-BE49-F238E27FC236}">
                <a16:creationId xmlns:a16="http://schemas.microsoft.com/office/drawing/2014/main" id="{B6797DCF-EF10-47D2-A596-3203AA0FCEA6}"/>
              </a:ext>
            </a:extLst>
          </p:cNvPr>
          <p:cNvSpPr/>
          <p:nvPr/>
        </p:nvSpPr>
        <p:spPr>
          <a:xfrm>
            <a:off x="695073" y="4479587"/>
            <a:ext cx="469232" cy="469232"/>
          </a:xfrm>
          <a:prstGeom prst="ellipse">
            <a:avLst/>
          </a:prstGeom>
          <a:solidFill>
            <a:srgbClr val="F5F6F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AU" sz="1100" b="0" i="0" u="none" strike="noStrike" kern="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iscoSansTT ExtraLight"/>
              <a:ea typeface="+mn-ea"/>
              <a:cs typeface="+mn-cs"/>
              <a:sym typeface="Arial"/>
            </a:endParaRPr>
          </a:p>
        </p:txBody>
      </p:sp>
      <p:sp>
        <p:nvSpPr>
          <p:cNvPr id="77" name="Oval 76">
            <a:extLst>
              <a:ext uri="{FF2B5EF4-FFF2-40B4-BE49-F238E27FC236}">
                <a16:creationId xmlns:a16="http://schemas.microsoft.com/office/drawing/2014/main" id="{8B3F4AFF-6334-4634-9F7B-93999F43B010}"/>
              </a:ext>
            </a:extLst>
          </p:cNvPr>
          <p:cNvSpPr/>
          <p:nvPr/>
        </p:nvSpPr>
        <p:spPr>
          <a:xfrm>
            <a:off x="695073" y="3932536"/>
            <a:ext cx="469232" cy="469232"/>
          </a:xfrm>
          <a:prstGeom prst="ellipse">
            <a:avLst/>
          </a:prstGeom>
          <a:solidFill>
            <a:srgbClr val="F5F6F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AU" sz="1100" b="0" i="0" u="none" strike="noStrike" kern="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iscoSansTT ExtraLight"/>
              <a:ea typeface="+mn-ea"/>
              <a:cs typeface="+mn-cs"/>
              <a:sym typeface="Arial"/>
            </a:endParaRPr>
          </a:p>
        </p:txBody>
      </p:sp>
      <p:sp>
        <p:nvSpPr>
          <p:cNvPr id="78" name="Oval 77">
            <a:extLst>
              <a:ext uri="{FF2B5EF4-FFF2-40B4-BE49-F238E27FC236}">
                <a16:creationId xmlns:a16="http://schemas.microsoft.com/office/drawing/2014/main" id="{5A57A0FC-0497-4BCC-BD07-58C264AAEAE3}"/>
              </a:ext>
            </a:extLst>
          </p:cNvPr>
          <p:cNvSpPr/>
          <p:nvPr/>
        </p:nvSpPr>
        <p:spPr>
          <a:xfrm>
            <a:off x="695073" y="3385485"/>
            <a:ext cx="469232" cy="469232"/>
          </a:xfrm>
          <a:prstGeom prst="ellipse">
            <a:avLst/>
          </a:prstGeom>
          <a:solidFill>
            <a:srgbClr val="F5F6F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AU" sz="1100" b="0" i="0" u="none" strike="noStrike" kern="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iscoSansTT ExtraLight"/>
              <a:ea typeface="+mn-ea"/>
              <a:cs typeface="+mn-cs"/>
              <a:sym typeface="Arial"/>
            </a:endParaRPr>
          </a:p>
        </p:txBody>
      </p:sp>
      <p:sp>
        <p:nvSpPr>
          <p:cNvPr id="79" name="Oval 78">
            <a:extLst>
              <a:ext uri="{FF2B5EF4-FFF2-40B4-BE49-F238E27FC236}">
                <a16:creationId xmlns:a16="http://schemas.microsoft.com/office/drawing/2014/main" id="{F21ECD68-F3A7-4CA9-B23E-2DF12C8219D0}"/>
              </a:ext>
            </a:extLst>
          </p:cNvPr>
          <p:cNvSpPr/>
          <p:nvPr/>
        </p:nvSpPr>
        <p:spPr>
          <a:xfrm>
            <a:off x="695073" y="2838434"/>
            <a:ext cx="469232" cy="469232"/>
          </a:xfrm>
          <a:prstGeom prst="ellipse">
            <a:avLst/>
          </a:prstGeom>
          <a:solidFill>
            <a:srgbClr val="F5F6F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AU" sz="1100" b="0" i="0" u="none" strike="noStrike" kern="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iscoSansTT ExtraLight"/>
              <a:ea typeface="+mn-ea"/>
              <a:cs typeface="+mn-cs"/>
              <a:sym typeface="Arial"/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719667" y="582613"/>
            <a:ext cx="10752667" cy="905874"/>
          </a:xfrm>
        </p:spPr>
        <p:txBody>
          <a:bodyPr/>
          <a:lstStyle/>
          <a:p>
            <a:r>
              <a:rPr lang="en-AU"/>
              <a:t>What’s in the tiers </a:t>
            </a:r>
            <a:br>
              <a:rPr lang="en-AU"/>
            </a:br>
            <a:r>
              <a:rPr lang="en-US" sz="2400">
                <a:solidFill>
                  <a:schemeClr val="accent4"/>
                </a:solidFill>
              </a:rPr>
              <a:t>CX BCS lifecycle pre-packaged portfolio</a:t>
            </a:r>
            <a:endParaRPr lang="en-AU" sz="2400">
              <a:solidFill>
                <a:schemeClr val="accent4"/>
              </a:solidFill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B9557F80-BC5E-5940-8893-55A94651B206}"/>
              </a:ext>
            </a:extLst>
          </p:cNvPr>
          <p:cNvSpPr txBox="1"/>
          <p:nvPr/>
        </p:nvSpPr>
        <p:spPr>
          <a:xfrm>
            <a:off x="9390743" y="6995887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0" marR="0" lvl="0" indent="0" algn="l" defTabSz="60957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srgbClr val="14284A"/>
              </a:solidFill>
              <a:effectLst/>
              <a:uLnTx/>
              <a:uFillTx/>
              <a:latin typeface="CiscoSansTT ExtraLight"/>
              <a:ea typeface="ＭＳ Ｐゴシック" charset="0"/>
              <a:cs typeface="Arial"/>
              <a:sym typeface="Arial"/>
            </a:endParaRPr>
          </a:p>
        </p:txBody>
      </p:sp>
      <p:cxnSp>
        <p:nvCxnSpPr>
          <p:cNvPr id="62" name="Straight Connector 61">
            <a:extLst>
              <a:ext uri="{FF2B5EF4-FFF2-40B4-BE49-F238E27FC236}">
                <a16:creationId xmlns:a16="http://schemas.microsoft.com/office/drawing/2014/main" id="{81D934F2-1D2A-4EBD-9B60-66E1E29A4ACE}"/>
              </a:ext>
            </a:extLst>
          </p:cNvPr>
          <p:cNvCxnSpPr>
            <a:cxnSpLocks/>
          </p:cNvCxnSpPr>
          <p:nvPr/>
        </p:nvCxnSpPr>
        <p:spPr>
          <a:xfrm flipV="1">
            <a:off x="726759" y="2798955"/>
            <a:ext cx="10753724" cy="1138"/>
          </a:xfrm>
          <a:prstGeom prst="line">
            <a:avLst/>
          </a:prstGeom>
          <a:ln w="12700" cap="rnd">
            <a:solidFill>
              <a:schemeClr val="bg1">
                <a:lumMod val="6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Straight Connector 62">
            <a:extLst>
              <a:ext uri="{FF2B5EF4-FFF2-40B4-BE49-F238E27FC236}">
                <a16:creationId xmlns:a16="http://schemas.microsoft.com/office/drawing/2014/main" id="{D2E91EAF-2058-4896-93D3-606E6E4BB2EC}"/>
              </a:ext>
            </a:extLst>
          </p:cNvPr>
          <p:cNvCxnSpPr>
            <a:cxnSpLocks/>
          </p:cNvCxnSpPr>
          <p:nvPr/>
        </p:nvCxnSpPr>
        <p:spPr>
          <a:xfrm flipV="1">
            <a:off x="726759" y="3346005"/>
            <a:ext cx="10753724" cy="1138"/>
          </a:xfrm>
          <a:prstGeom prst="line">
            <a:avLst/>
          </a:prstGeom>
          <a:ln w="12700" cap="rnd">
            <a:solidFill>
              <a:schemeClr val="bg1">
                <a:lumMod val="6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Straight Connector 63">
            <a:extLst>
              <a:ext uri="{FF2B5EF4-FFF2-40B4-BE49-F238E27FC236}">
                <a16:creationId xmlns:a16="http://schemas.microsoft.com/office/drawing/2014/main" id="{A550AD1E-EE67-4646-9ACB-D981F6CA43B7}"/>
              </a:ext>
            </a:extLst>
          </p:cNvPr>
          <p:cNvCxnSpPr>
            <a:cxnSpLocks/>
          </p:cNvCxnSpPr>
          <p:nvPr/>
        </p:nvCxnSpPr>
        <p:spPr>
          <a:xfrm flipV="1">
            <a:off x="726759" y="3893055"/>
            <a:ext cx="10753724" cy="1138"/>
          </a:xfrm>
          <a:prstGeom prst="line">
            <a:avLst/>
          </a:prstGeom>
          <a:ln w="12700" cap="rnd">
            <a:solidFill>
              <a:schemeClr val="bg1">
                <a:lumMod val="6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Straight Connector 64">
            <a:extLst>
              <a:ext uri="{FF2B5EF4-FFF2-40B4-BE49-F238E27FC236}">
                <a16:creationId xmlns:a16="http://schemas.microsoft.com/office/drawing/2014/main" id="{71790694-98F1-4F26-B8E7-706D795187B4}"/>
              </a:ext>
            </a:extLst>
          </p:cNvPr>
          <p:cNvCxnSpPr>
            <a:cxnSpLocks/>
          </p:cNvCxnSpPr>
          <p:nvPr/>
        </p:nvCxnSpPr>
        <p:spPr>
          <a:xfrm flipV="1">
            <a:off x="726759" y="4440105"/>
            <a:ext cx="10753724" cy="1138"/>
          </a:xfrm>
          <a:prstGeom prst="line">
            <a:avLst/>
          </a:prstGeom>
          <a:ln w="12700" cap="rnd">
            <a:solidFill>
              <a:schemeClr val="bg1">
                <a:lumMod val="6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Straight Connector 37">
            <a:extLst>
              <a:ext uri="{FF2B5EF4-FFF2-40B4-BE49-F238E27FC236}">
                <a16:creationId xmlns:a16="http://schemas.microsoft.com/office/drawing/2014/main" id="{416414DD-0B5D-4684-8179-7C103CE7E420}"/>
              </a:ext>
            </a:extLst>
          </p:cNvPr>
          <p:cNvCxnSpPr>
            <a:cxnSpLocks/>
          </p:cNvCxnSpPr>
          <p:nvPr/>
        </p:nvCxnSpPr>
        <p:spPr>
          <a:xfrm flipV="1">
            <a:off x="726759" y="4987155"/>
            <a:ext cx="10753724" cy="1138"/>
          </a:xfrm>
          <a:prstGeom prst="line">
            <a:avLst/>
          </a:prstGeom>
          <a:ln w="12700" cap="rnd">
            <a:solidFill>
              <a:schemeClr val="bg1">
                <a:lumMod val="6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" name="Group 4">
            <a:extLst>
              <a:ext uri="{FF2B5EF4-FFF2-40B4-BE49-F238E27FC236}">
                <a16:creationId xmlns:a16="http://schemas.microsoft.com/office/drawing/2014/main" id="{8C5BDC35-EF2D-48EF-B423-235BC71302C5}"/>
              </a:ext>
            </a:extLst>
          </p:cNvPr>
          <p:cNvGrpSpPr/>
          <p:nvPr/>
        </p:nvGrpSpPr>
        <p:grpSpPr>
          <a:xfrm>
            <a:off x="6487669" y="1848024"/>
            <a:ext cx="2407396" cy="433388"/>
            <a:chOff x="3827463" y="2070100"/>
            <a:chExt cx="3600000" cy="433388"/>
          </a:xfrm>
        </p:grpSpPr>
        <p:sp>
          <p:nvSpPr>
            <p:cNvPr id="8" name="Rounded Rectangle 30">
              <a:extLst>
                <a:ext uri="{FF2B5EF4-FFF2-40B4-BE49-F238E27FC236}">
                  <a16:creationId xmlns:a16="http://schemas.microsoft.com/office/drawing/2014/main" id="{9F62FF0F-9F32-4D1F-AF2B-ADD9D286DD7E}"/>
                </a:ext>
              </a:extLst>
            </p:cNvPr>
            <p:cNvSpPr/>
            <p:nvPr/>
          </p:nvSpPr>
          <p:spPr>
            <a:xfrm>
              <a:off x="3827463" y="2070100"/>
              <a:ext cx="3600000" cy="433388"/>
            </a:xfrm>
            <a:prstGeom prst="roundRect">
              <a:avLst>
                <a:gd name="adj" fmla="val 50000"/>
              </a:avLst>
            </a:prstGeom>
            <a:solidFill>
              <a:schemeClr val="accent2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iscoSansTT ExtraLight"/>
                <a:ea typeface="+mn-ea"/>
                <a:cs typeface="+mn-cs"/>
                <a:sym typeface="Arial"/>
              </a:endParaRPr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0BAD254B-D5E6-426B-950B-DC85DCAE5BCD}"/>
                </a:ext>
              </a:extLst>
            </p:cNvPr>
            <p:cNvSpPr/>
            <p:nvPr/>
          </p:nvSpPr>
          <p:spPr>
            <a:xfrm>
              <a:off x="4859614" y="2102129"/>
              <a:ext cx="1575838" cy="369332"/>
            </a:xfrm>
            <a:prstGeom prst="rect">
              <a:avLst/>
            </a:prstGeom>
          </p:spPr>
          <p:txBody>
            <a:bodyPr wrap="none" anchor="ctr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r>
                <a: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iscoSansTT ExtraLight" panose="020B0303020201020303" pitchFamily="34" charset="0"/>
                  <a:cs typeface="CiscoSansTT ExtraLight" panose="020B0303020201020303" pitchFamily="34" charset="0"/>
                  <a:sym typeface="Arial"/>
                </a:rPr>
                <a:t>Advantage</a:t>
              </a:r>
            </a:p>
          </p:txBody>
        </p:sp>
      </p:grpSp>
      <p:grpSp>
        <p:nvGrpSpPr>
          <p:cNvPr id="6" name="Group 5">
            <a:extLst>
              <a:ext uri="{FF2B5EF4-FFF2-40B4-BE49-F238E27FC236}">
                <a16:creationId xmlns:a16="http://schemas.microsoft.com/office/drawing/2014/main" id="{CCB710B7-5744-434A-8265-2B11FDF1BCC2}"/>
              </a:ext>
            </a:extLst>
          </p:cNvPr>
          <p:cNvGrpSpPr/>
          <p:nvPr/>
        </p:nvGrpSpPr>
        <p:grpSpPr>
          <a:xfrm>
            <a:off x="9065467" y="1848024"/>
            <a:ext cx="2407396" cy="433388"/>
            <a:chOff x="7815631" y="2070100"/>
            <a:chExt cx="3600000" cy="433388"/>
          </a:xfrm>
        </p:grpSpPr>
        <p:sp>
          <p:nvSpPr>
            <p:cNvPr id="11" name="Rounded Rectangle 30">
              <a:extLst>
                <a:ext uri="{FF2B5EF4-FFF2-40B4-BE49-F238E27FC236}">
                  <a16:creationId xmlns:a16="http://schemas.microsoft.com/office/drawing/2014/main" id="{65BA5987-F499-4D2F-BCEC-930AA056E76A}"/>
                </a:ext>
              </a:extLst>
            </p:cNvPr>
            <p:cNvSpPr/>
            <p:nvPr/>
          </p:nvSpPr>
          <p:spPr>
            <a:xfrm>
              <a:off x="7815631" y="2070100"/>
              <a:ext cx="3600000" cy="433388"/>
            </a:xfrm>
            <a:prstGeom prst="roundRect">
              <a:avLst>
                <a:gd name="adj" fmla="val 50000"/>
              </a:avLst>
            </a:prstGeom>
            <a:solidFill>
              <a:schemeClr val="accent5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iscoSansTT ExtraLight"/>
                <a:ea typeface="+mn-ea"/>
                <a:cs typeface="+mn-cs"/>
                <a:sym typeface="Arial"/>
              </a:endParaRPr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1A033C59-B9AB-47D6-ACF7-0628BA613683}"/>
                </a:ext>
              </a:extLst>
            </p:cNvPr>
            <p:cNvSpPr/>
            <p:nvPr/>
          </p:nvSpPr>
          <p:spPr>
            <a:xfrm>
              <a:off x="9139060" y="2102129"/>
              <a:ext cx="994182" cy="369332"/>
            </a:xfrm>
            <a:prstGeom prst="rect">
              <a:avLst/>
            </a:prstGeom>
          </p:spPr>
          <p:txBody>
            <a:bodyPr wrap="none" anchor="ctr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r>
                <a: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iscoSansTT ExtraLight" panose="020B0303020201020303" pitchFamily="34" charset="0"/>
                  <a:cs typeface="CiscoSansTT ExtraLight" panose="020B0303020201020303" pitchFamily="34" charset="0"/>
                  <a:sym typeface="Arial"/>
                </a:rPr>
                <a:t>Premier</a:t>
              </a:r>
            </a:p>
          </p:txBody>
        </p:sp>
      </p:grpSp>
      <p:grpSp>
        <p:nvGrpSpPr>
          <p:cNvPr id="16" name="Group 15">
            <a:extLst>
              <a:ext uri="{FF2B5EF4-FFF2-40B4-BE49-F238E27FC236}">
                <a16:creationId xmlns:a16="http://schemas.microsoft.com/office/drawing/2014/main" id="{A850BE44-82E3-4BAA-AFD4-8EC566CE316B}"/>
              </a:ext>
            </a:extLst>
          </p:cNvPr>
          <p:cNvGrpSpPr/>
          <p:nvPr/>
        </p:nvGrpSpPr>
        <p:grpSpPr>
          <a:xfrm>
            <a:off x="8940738" y="1776298"/>
            <a:ext cx="594000" cy="576840"/>
            <a:chOff x="5495595" y="2154288"/>
            <a:chExt cx="632491" cy="634524"/>
          </a:xfrm>
        </p:grpSpPr>
        <p:sp>
          <p:nvSpPr>
            <p:cNvPr id="41" name="Rounded Rectangle 30">
              <a:extLst>
                <a:ext uri="{FF2B5EF4-FFF2-40B4-BE49-F238E27FC236}">
                  <a16:creationId xmlns:a16="http://schemas.microsoft.com/office/drawing/2014/main" id="{87110CC6-0ACC-4927-812D-E2D39D158130}"/>
                </a:ext>
              </a:extLst>
            </p:cNvPr>
            <p:cNvSpPr/>
            <p:nvPr/>
          </p:nvSpPr>
          <p:spPr>
            <a:xfrm>
              <a:off x="5495595" y="2154288"/>
              <a:ext cx="632491" cy="634524"/>
            </a:xfrm>
            <a:prstGeom prst="ellipse">
              <a:avLst/>
            </a:prstGeom>
            <a:solidFill>
              <a:schemeClr val="accent5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iscoSansTT ExtraLight"/>
                <a:ea typeface="+mn-ea"/>
                <a:cs typeface="+mn-cs"/>
                <a:sym typeface="Arial"/>
              </a:endParaRPr>
            </a:p>
          </p:txBody>
        </p:sp>
        <p:sp>
          <p:nvSpPr>
            <p:cNvPr id="55" name="Rectangle 54">
              <a:extLst>
                <a:ext uri="{FF2B5EF4-FFF2-40B4-BE49-F238E27FC236}">
                  <a16:creationId xmlns:a16="http://schemas.microsoft.com/office/drawing/2014/main" id="{E00B7F1A-CD2B-41A2-A060-60683035EB4B}"/>
                </a:ext>
              </a:extLst>
            </p:cNvPr>
            <p:cNvSpPr/>
            <p:nvPr/>
          </p:nvSpPr>
          <p:spPr>
            <a:xfrm>
              <a:off x="5501322" y="2302272"/>
              <a:ext cx="621036" cy="338555"/>
            </a:xfrm>
            <a:prstGeom prst="rect">
              <a:avLst/>
            </a:prstGeom>
          </p:spPr>
          <p:txBody>
            <a:bodyPr wrap="none" anchor="ctr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r>
                <a:rPr kumimoji="0" lang="en-US" sz="14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iscoSansTT" panose="020B0503020201020303" pitchFamily="34" charset="0"/>
                  <a:cs typeface="CiscoSansTT" panose="020B0503020201020303" pitchFamily="34" charset="0"/>
                  <a:sym typeface="Arial"/>
                </a:rPr>
                <a:t>New</a:t>
              </a:r>
            </a:p>
          </p:txBody>
        </p:sp>
      </p:grpSp>
      <p:grpSp>
        <p:nvGrpSpPr>
          <p:cNvPr id="3" name="Group 2">
            <a:extLst>
              <a:ext uri="{FF2B5EF4-FFF2-40B4-BE49-F238E27FC236}">
                <a16:creationId xmlns:a16="http://schemas.microsoft.com/office/drawing/2014/main" id="{89247285-A743-4739-A8ED-E6D11A8DDD22}"/>
              </a:ext>
            </a:extLst>
          </p:cNvPr>
          <p:cNvGrpSpPr/>
          <p:nvPr/>
        </p:nvGrpSpPr>
        <p:grpSpPr>
          <a:xfrm>
            <a:off x="4048125" y="1848024"/>
            <a:ext cx="2407396" cy="433388"/>
            <a:chOff x="179388" y="2070100"/>
            <a:chExt cx="3600000" cy="433388"/>
          </a:xfrm>
        </p:grpSpPr>
        <p:sp>
          <p:nvSpPr>
            <p:cNvPr id="28" name="Rounded Rectangle 30">
              <a:extLst>
                <a:ext uri="{FF2B5EF4-FFF2-40B4-BE49-F238E27FC236}">
                  <a16:creationId xmlns:a16="http://schemas.microsoft.com/office/drawing/2014/main" id="{C8D573E3-EF67-424E-B0B3-2BC744228022}"/>
                </a:ext>
              </a:extLst>
            </p:cNvPr>
            <p:cNvSpPr/>
            <p:nvPr/>
          </p:nvSpPr>
          <p:spPr>
            <a:xfrm>
              <a:off x="179388" y="2070100"/>
              <a:ext cx="3600000" cy="433388"/>
            </a:xfrm>
            <a:prstGeom prst="roundRect">
              <a:avLst>
                <a:gd name="adj" fmla="val 50000"/>
              </a:avLst>
            </a:prstGeom>
            <a:solidFill>
              <a:schemeClr val="accent1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iscoSansTT ExtraLight"/>
                <a:ea typeface="+mn-ea"/>
                <a:cs typeface="+mn-cs"/>
                <a:sym typeface="Arial"/>
              </a:endParaRPr>
            </a:p>
          </p:txBody>
        </p:sp>
        <p:sp>
          <p:nvSpPr>
            <p:cNvPr id="29" name="Rectangle 28">
              <a:extLst>
                <a:ext uri="{FF2B5EF4-FFF2-40B4-BE49-F238E27FC236}">
                  <a16:creationId xmlns:a16="http://schemas.microsoft.com/office/drawing/2014/main" id="{88E321EA-7268-45F2-A0B4-BB5D96867CE4}"/>
                </a:ext>
              </a:extLst>
            </p:cNvPr>
            <p:cNvSpPr/>
            <p:nvPr/>
          </p:nvSpPr>
          <p:spPr>
            <a:xfrm>
              <a:off x="1395769" y="2102129"/>
              <a:ext cx="1207383" cy="369332"/>
            </a:xfrm>
            <a:prstGeom prst="rect">
              <a:avLst/>
            </a:prstGeom>
          </p:spPr>
          <p:txBody>
            <a:bodyPr wrap="none" anchor="ctr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r>
                <a: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iscoSansTT ExtraLight" panose="020B0303020201020303" pitchFamily="34" charset="0"/>
                  <a:cs typeface="CiscoSansTT ExtraLight" panose="020B0303020201020303" pitchFamily="34" charset="0"/>
                  <a:sym typeface="Arial"/>
                </a:rPr>
                <a:t>Essentials</a:t>
              </a:r>
            </a:p>
          </p:txBody>
        </p:sp>
      </p:grpSp>
      <p:sp>
        <p:nvSpPr>
          <p:cNvPr id="22" name="Google Shape;791;p99">
            <a:extLst>
              <a:ext uri="{FF2B5EF4-FFF2-40B4-BE49-F238E27FC236}">
                <a16:creationId xmlns:a16="http://schemas.microsoft.com/office/drawing/2014/main" id="{F5ACC045-6BEA-8E48-801E-A27B8870692B}"/>
              </a:ext>
            </a:extLst>
          </p:cNvPr>
          <p:cNvSpPr/>
          <p:nvPr/>
        </p:nvSpPr>
        <p:spPr>
          <a:xfrm>
            <a:off x="9217026" y="2425018"/>
            <a:ext cx="2433638" cy="2019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l" defTabSz="91433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rgbClr val="FBAB18"/>
              </a:buClr>
              <a:buSzPct val="75000"/>
              <a:buFont typeface="Arial"/>
              <a:buNone/>
              <a:tabLst/>
              <a:defRPr/>
            </a:pPr>
            <a:r>
              <a: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14284A"/>
                </a:solidFill>
                <a:effectLst/>
                <a:uLnTx/>
                <a:uFillTx/>
                <a:latin typeface="CiscoSansTT ExtraLight"/>
                <a:ea typeface="ＭＳ Ｐゴシック"/>
                <a:cs typeface="CiscoSansTT ExtraLight" panose="020B0303020201020303" pitchFamily="34" charset="0"/>
                <a:sym typeface="Arial"/>
              </a:rPr>
              <a:t>Flexible. Up to </a:t>
            </a: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FBAB18"/>
                </a:solidFill>
                <a:effectLst/>
                <a:uLnTx/>
                <a:uFillTx/>
                <a:latin typeface="CiscoSansTT" panose="020B0503020201020303" pitchFamily="34" charset="0"/>
                <a:ea typeface="ＭＳ Ｐゴシック"/>
                <a:cs typeface="CiscoSansTT" panose="020B0503020201020303" pitchFamily="34" charset="0"/>
                <a:sym typeface="Arial"/>
              </a:rPr>
              <a:t>144x</a:t>
            </a:r>
            <a:r>
              <a: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14284A"/>
                </a:solidFill>
                <a:effectLst/>
                <a:uLnTx/>
                <a:uFillTx/>
                <a:latin typeface="CiscoSansTT ExtraLight"/>
                <a:ea typeface="ＭＳ Ｐゴシック"/>
                <a:cs typeface="CiscoSansTT ExtraLight" panose="020B0303020201020303" pitchFamily="34" charset="0"/>
                <a:sym typeface="Arial"/>
              </a:rPr>
              <a:t> per year</a:t>
            </a: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srgbClr val="14284A"/>
              </a:solidFill>
              <a:effectLst/>
              <a:uLnTx/>
              <a:uFillTx/>
              <a:latin typeface="CiscoSansTT ExtraLight" panose="020B0303020201020303" pitchFamily="34" charset="0"/>
              <a:ea typeface="ＭＳ Ｐゴシック" charset="0"/>
              <a:cs typeface="CiscoSansTT ExtraLight" panose="020B0303020201020303" pitchFamily="34" charset="0"/>
              <a:sym typeface="Arial"/>
            </a:endParaRPr>
          </a:p>
        </p:txBody>
      </p:sp>
      <p:sp>
        <p:nvSpPr>
          <p:cNvPr id="61" name="Google Shape;791;p99">
            <a:extLst>
              <a:ext uri="{FF2B5EF4-FFF2-40B4-BE49-F238E27FC236}">
                <a16:creationId xmlns:a16="http://schemas.microsoft.com/office/drawing/2014/main" id="{FCD21D18-83BE-4596-B2D0-8CEB50ACBF54}"/>
              </a:ext>
            </a:extLst>
          </p:cNvPr>
          <p:cNvSpPr/>
          <p:nvPr/>
        </p:nvSpPr>
        <p:spPr>
          <a:xfrm>
            <a:off x="1283018" y="2419319"/>
            <a:ext cx="2775600" cy="2133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l" defTabSz="91433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rgbClr val="6EBE4A"/>
              </a:buClr>
              <a:buSzPct val="75000"/>
              <a:buFont typeface="Arial"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14284A"/>
                </a:solidFill>
                <a:effectLst/>
                <a:uLnTx/>
                <a:uFillTx/>
                <a:latin typeface="CiscoSansTT ExtraLight"/>
                <a:ea typeface="ＭＳ Ｐゴシック" charset="0"/>
                <a:cs typeface="CiscoSansTT" panose="020B0503020201020303" pitchFamily="34" charset="0"/>
                <a:sym typeface="Arial"/>
              </a:rPr>
              <a:t>Operational Insights Reviews</a:t>
            </a:r>
          </a:p>
        </p:txBody>
      </p:sp>
      <p:pic>
        <p:nvPicPr>
          <p:cNvPr id="24" name="Graphic 23">
            <a:extLst>
              <a:ext uri="{FF2B5EF4-FFF2-40B4-BE49-F238E27FC236}">
                <a16:creationId xmlns:a16="http://schemas.microsoft.com/office/drawing/2014/main" id="{777BDB10-E1B1-4C85-BEB9-944CA467F065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726759" y="2323075"/>
            <a:ext cx="407035" cy="405848"/>
          </a:xfrm>
          <a:prstGeom prst="rect">
            <a:avLst/>
          </a:prstGeom>
        </p:spPr>
      </p:pic>
      <p:sp>
        <p:nvSpPr>
          <p:cNvPr id="42" name="Google Shape;791;p99">
            <a:extLst>
              <a:ext uri="{FF2B5EF4-FFF2-40B4-BE49-F238E27FC236}">
                <a16:creationId xmlns:a16="http://schemas.microsoft.com/office/drawing/2014/main" id="{09B97190-1B5A-442F-AF5A-047890C6ED87}"/>
              </a:ext>
            </a:extLst>
          </p:cNvPr>
          <p:cNvSpPr/>
          <p:nvPr/>
        </p:nvSpPr>
        <p:spPr>
          <a:xfrm>
            <a:off x="6725286" y="2425018"/>
            <a:ext cx="1141094" cy="2019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l" defTabSz="91433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rgbClr val="6EBE4A"/>
              </a:buClr>
              <a:buSzPct val="75000"/>
              <a:buFont typeface="Arial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6EBE4A"/>
                </a:solidFill>
                <a:effectLst/>
                <a:uLnTx/>
                <a:uFillTx/>
                <a:latin typeface="CiscoSansTT" panose="020B0503020201020303" pitchFamily="34" charset="0"/>
                <a:ea typeface="ＭＳ Ｐゴシック"/>
                <a:cs typeface="CiscoSansTT" panose="020B0503020201020303" pitchFamily="34" charset="0"/>
                <a:sym typeface="Arial"/>
              </a:rPr>
              <a:t>24x</a:t>
            </a:r>
            <a:r>
              <a: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14284A"/>
                </a:solidFill>
                <a:effectLst/>
                <a:uLnTx/>
                <a:uFillTx/>
                <a:latin typeface="CiscoSansTT ExtraLight"/>
                <a:ea typeface="ＭＳ Ｐゴシック"/>
                <a:cs typeface="CiscoSansTT ExtraLight" panose="020B0303020201020303" pitchFamily="34" charset="0"/>
                <a:sym typeface="Arial"/>
              </a:rPr>
              <a:t> per year</a:t>
            </a: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srgbClr val="14284A"/>
              </a:solidFill>
              <a:effectLst/>
              <a:uLnTx/>
              <a:uFillTx/>
              <a:latin typeface="CiscoSansTT ExtraLight" panose="020B0303020201020303" pitchFamily="34" charset="0"/>
              <a:ea typeface="ＭＳ Ｐゴシック" charset="0"/>
              <a:cs typeface="CiscoSansTT ExtraLight" panose="020B0303020201020303" pitchFamily="34" charset="0"/>
              <a:sym typeface="Arial"/>
            </a:endParaRPr>
          </a:p>
        </p:txBody>
      </p:sp>
      <p:sp>
        <p:nvSpPr>
          <p:cNvPr id="48" name="Google Shape;791;p99">
            <a:extLst>
              <a:ext uri="{FF2B5EF4-FFF2-40B4-BE49-F238E27FC236}">
                <a16:creationId xmlns:a16="http://schemas.microsoft.com/office/drawing/2014/main" id="{CAFE8FCC-3800-4C28-B377-7D145B9F9057}"/>
              </a:ext>
            </a:extLst>
          </p:cNvPr>
          <p:cNvSpPr/>
          <p:nvPr/>
        </p:nvSpPr>
        <p:spPr>
          <a:xfrm>
            <a:off x="4324986" y="2425018"/>
            <a:ext cx="1727834" cy="2019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l" defTabSz="91433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rgbClr val="00BCEB"/>
              </a:buClr>
              <a:buSzPct val="75000"/>
              <a:buFont typeface="Arial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00BCEB"/>
                </a:solidFill>
                <a:effectLst/>
                <a:uLnTx/>
                <a:uFillTx/>
                <a:latin typeface="CiscoSansTT" panose="020B0503020201020303" pitchFamily="34" charset="0"/>
                <a:ea typeface="ＭＳ Ｐゴシック"/>
                <a:cs typeface="CiscoSansTT" panose="020B0503020201020303" pitchFamily="34" charset="0"/>
                <a:sym typeface="Arial"/>
              </a:rPr>
              <a:t>12x</a:t>
            </a: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14284A"/>
                </a:solidFill>
                <a:effectLst/>
                <a:uLnTx/>
                <a:uFillTx/>
                <a:latin typeface="CiscoSansTT ExtraLight"/>
                <a:ea typeface="ＭＳ Ｐゴシック"/>
                <a:cs typeface="CiscoSansTT ExtraLight" panose="020B0303020201020303" pitchFamily="34" charset="0"/>
                <a:sym typeface="Arial"/>
              </a:rPr>
              <a:t> </a:t>
            </a:r>
            <a:r>
              <a: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14284A"/>
                </a:solidFill>
                <a:effectLst/>
                <a:uLnTx/>
                <a:uFillTx/>
                <a:latin typeface="CiscoSansTT ExtraLight"/>
                <a:ea typeface="ＭＳ Ｐゴシック"/>
                <a:cs typeface="CiscoSansTT ExtraLight" panose="020B0303020201020303" pitchFamily="34" charset="0"/>
                <a:sym typeface="Arial"/>
              </a:rPr>
              <a:t>per year</a:t>
            </a: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srgbClr val="14284A"/>
              </a:solidFill>
              <a:effectLst/>
              <a:uLnTx/>
              <a:uFillTx/>
              <a:latin typeface="CiscoSansTT ExtraLight" panose="020B0303020201020303" pitchFamily="34" charset="0"/>
              <a:ea typeface="ＭＳ Ｐゴシック" charset="0"/>
              <a:cs typeface="CiscoSansTT ExtraLight" panose="020B0303020201020303" pitchFamily="34" charset="0"/>
              <a:sym typeface="Arial"/>
            </a:endParaRPr>
          </a:p>
        </p:txBody>
      </p:sp>
      <p:pic>
        <p:nvPicPr>
          <p:cNvPr id="25" name="Graphic 24">
            <a:extLst>
              <a:ext uri="{FF2B5EF4-FFF2-40B4-BE49-F238E27FC236}">
                <a16:creationId xmlns:a16="http://schemas.microsoft.com/office/drawing/2014/main" id="{B41C3C99-1DEF-46DC-931D-73CE8E8CFC73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726759" y="2870125"/>
            <a:ext cx="405860" cy="405848"/>
          </a:xfrm>
          <a:prstGeom prst="rect">
            <a:avLst/>
          </a:prstGeom>
        </p:spPr>
      </p:pic>
      <p:sp>
        <p:nvSpPr>
          <p:cNvPr id="33" name="Google Shape;791;p99">
            <a:extLst>
              <a:ext uri="{FF2B5EF4-FFF2-40B4-BE49-F238E27FC236}">
                <a16:creationId xmlns:a16="http://schemas.microsoft.com/office/drawing/2014/main" id="{4995D16E-C909-4CA3-A578-ECA45FF2DD9E}"/>
              </a:ext>
            </a:extLst>
          </p:cNvPr>
          <p:cNvSpPr/>
          <p:nvPr/>
        </p:nvSpPr>
        <p:spPr>
          <a:xfrm>
            <a:off x="9217026" y="2972068"/>
            <a:ext cx="2433638" cy="2019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l" defTabSz="91433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rgbClr val="FBAB18"/>
              </a:buClr>
              <a:buSzPct val="75000"/>
              <a:buFont typeface="Arial"/>
              <a:buNone/>
              <a:tabLst/>
              <a:defRPr/>
            </a:pPr>
            <a:r>
              <a: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14284A"/>
                </a:solidFill>
                <a:effectLst/>
                <a:uLnTx/>
                <a:uFillTx/>
                <a:latin typeface="CiscoSansTT ExtraLight"/>
                <a:ea typeface="ＭＳ Ｐゴシック"/>
                <a:cs typeface="CiscoSansTT ExtraLight" panose="020B0303020201020303" pitchFamily="34" charset="0"/>
                <a:sym typeface="Arial"/>
              </a:rPr>
              <a:t>Flexible, up to </a:t>
            </a: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FBAB18"/>
                </a:solidFill>
                <a:effectLst/>
                <a:uLnTx/>
                <a:uFillTx/>
                <a:latin typeface="CiscoSansTT" panose="020B0503020201020303" pitchFamily="34" charset="0"/>
                <a:ea typeface="ＭＳ Ｐゴシック"/>
                <a:cs typeface="CiscoSansTT" panose="020B0503020201020303" pitchFamily="34" charset="0"/>
                <a:sym typeface="Arial"/>
              </a:rPr>
              <a:t>48x</a:t>
            </a:r>
            <a:r>
              <a: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14284A"/>
                </a:solidFill>
                <a:effectLst/>
                <a:uLnTx/>
                <a:uFillTx/>
                <a:latin typeface="CiscoSansTT ExtraLight"/>
                <a:ea typeface="ＭＳ Ｐゴシック"/>
                <a:cs typeface="CiscoSansTT ExtraLight" panose="020B0303020201020303" pitchFamily="34" charset="0"/>
                <a:sym typeface="Arial"/>
              </a:rPr>
              <a:t> per year</a:t>
            </a: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srgbClr val="14284A"/>
              </a:solidFill>
              <a:effectLst/>
              <a:uLnTx/>
              <a:uFillTx/>
              <a:latin typeface="CiscoSansTT ExtraLight" panose="020B0303020201020303" pitchFamily="34" charset="0"/>
              <a:ea typeface="ＭＳ Ｐゴシック" charset="0"/>
              <a:cs typeface="CiscoSansTT ExtraLight" panose="020B0303020201020303" pitchFamily="34" charset="0"/>
              <a:sym typeface="Arial"/>
            </a:endParaRPr>
          </a:p>
        </p:txBody>
      </p:sp>
      <p:sp>
        <p:nvSpPr>
          <p:cNvPr id="43" name="Google Shape;791;p99">
            <a:extLst>
              <a:ext uri="{FF2B5EF4-FFF2-40B4-BE49-F238E27FC236}">
                <a16:creationId xmlns:a16="http://schemas.microsoft.com/office/drawing/2014/main" id="{62D99F8D-D6FB-4F13-800C-F6E80889D89B}"/>
              </a:ext>
            </a:extLst>
          </p:cNvPr>
          <p:cNvSpPr/>
          <p:nvPr/>
        </p:nvSpPr>
        <p:spPr>
          <a:xfrm>
            <a:off x="6725286" y="2972068"/>
            <a:ext cx="1141094" cy="2019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l" defTabSz="91433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rgbClr val="6EBE4A"/>
              </a:buClr>
              <a:buSzPct val="75000"/>
              <a:buFont typeface="Arial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6EBE4A"/>
                </a:solidFill>
                <a:effectLst/>
                <a:uLnTx/>
                <a:uFillTx/>
                <a:latin typeface="CiscoSansTT" panose="020B0503020201020303" pitchFamily="34" charset="0"/>
                <a:ea typeface="ＭＳ Ｐゴシック"/>
                <a:cs typeface="CiscoSansTT" panose="020B0503020201020303" pitchFamily="34" charset="0"/>
                <a:sym typeface="Arial"/>
              </a:rPr>
              <a:t>4x</a:t>
            </a:r>
            <a:r>
              <a: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14284A"/>
                </a:solidFill>
                <a:effectLst/>
                <a:uLnTx/>
                <a:uFillTx/>
                <a:latin typeface="CiscoSansTT ExtraLight"/>
                <a:ea typeface="ＭＳ Ｐゴシック"/>
                <a:cs typeface="CiscoSansTT ExtraLight" panose="020B0303020201020303" pitchFamily="34" charset="0"/>
                <a:sym typeface="Arial"/>
              </a:rPr>
              <a:t> per year</a:t>
            </a: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srgbClr val="14284A"/>
              </a:solidFill>
              <a:effectLst/>
              <a:uLnTx/>
              <a:uFillTx/>
              <a:latin typeface="CiscoSansTT ExtraLight" panose="020B0303020201020303" pitchFamily="34" charset="0"/>
              <a:ea typeface="ＭＳ Ｐゴシック" charset="0"/>
              <a:cs typeface="CiscoSansTT ExtraLight" panose="020B0303020201020303" pitchFamily="34" charset="0"/>
              <a:sym typeface="Arial"/>
            </a:endParaRPr>
          </a:p>
        </p:txBody>
      </p:sp>
      <p:sp>
        <p:nvSpPr>
          <p:cNvPr id="49" name="Google Shape;791;p99">
            <a:extLst>
              <a:ext uri="{FF2B5EF4-FFF2-40B4-BE49-F238E27FC236}">
                <a16:creationId xmlns:a16="http://schemas.microsoft.com/office/drawing/2014/main" id="{0FA93033-7840-4DE4-AA45-F2A4EE48E9DC}"/>
              </a:ext>
            </a:extLst>
          </p:cNvPr>
          <p:cNvSpPr/>
          <p:nvPr/>
        </p:nvSpPr>
        <p:spPr>
          <a:xfrm>
            <a:off x="4324986" y="2972068"/>
            <a:ext cx="1727834" cy="2019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l" defTabSz="91433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rgbClr val="00BCEB"/>
              </a:buClr>
              <a:buSzPct val="75000"/>
              <a:buFont typeface="Arial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00BCEB"/>
                </a:solidFill>
                <a:effectLst/>
                <a:uLnTx/>
                <a:uFillTx/>
                <a:latin typeface="CiscoSansTT" panose="020B0503020201020303" pitchFamily="34" charset="0"/>
                <a:ea typeface="ＭＳ Ｐゴシック"/>
                <a:cs typeface="CiscoSansTT" panose="020B0503020201020303" pitchFamily="34" charset="0"/>
                <a:sym typeface="Arial"/>
              </a:rPr>
              <a:t>4x</a:t>
            </a: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14284A"/>
                </a:solidFill>
                <a:effectLst/>
                <a:uLnTx/>
                <a:uFillTx/>
                <a:latin typeface="CiscoSansTT ExtraLight"/>
                <a:ea typeface="ＭＳ Ｐゴシック"/>
                <a:cs typeface="CiscoSansTT ExtraLight" panose="020B0303020201020303" pitchFamily="34" charset="0"/>
                <a:sym typeface="Arial"/>
              </a:rPr>
              <a:t> </a:t>
            </a:r>
            <a:r>
              <a: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14284A"/>
                </a:solidFill>
                <a:effectLst/>
                <a:uLnTx/>
                <a:uFillTx/>
                <a:latin typeface="CiscoSansTT ExtraLight"/>
                <a:ea typeface="ＭＳ Ｐゴシック"/>
                <a:cs typeface="CiscoSansTT ExtraLight" panose="020B0303020201020303" pitchFamily="34" charset="0"/>
                <a:sym typeface="Arial"/>
              </a:rPr>
              <a:t>per year</a:t>
            </a: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srgbClr val="14284A"/>
              </a:solidFill>
              <a:effectLst/>
              <a:uLnTx/>
              <a:uFillTx/>
              <a:latin typeface="CiscoSansTT ExtraLight" panose="020B0303020201020303" pitchFamily="34" charset="0"/>
              <a:ea typeface="ＭＳ Ｐゴシック" charset="0"/>
              <a:cs typeface="CiscoSansTT ExtraLight" panose="020B0303020201020303" pitchFamily="34" charset="0"/>
              <a:sym typeface="Arial"/>
            </a:endParaRPr>
          </a:p>
        </p:txBody>
      </p:sp>
      <p:sp>
        <p:nvSpPr>
          <p:cNvPr id="54" name="Google Shape;791;p99">
            <a:extLst>
              <a:ext uri="{FF2B5EF4-FFF2-40B4-BE49-F238E27FC236}">
                <a16:creationId xmlns:a16="http://schemas.microsoft.com/office/drawing/2014/main" id="{47609A46-68BD-4646-AC22-9828EEF9338E}"/>
              </a:ext>
            </a:extLst>
          </p:cNvPr>
          <p:cNvSpPr/>
          <p:nvPr/>
        </p:nvSpPr>
        <p:spPr>
          <a:xfrm>
            <a:off x="1283018" y="2966369"/>
            <a:ext cx="2775600" cy="2133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l" defTabSz="91433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rgbClr val="6EBE4A"/>
              </a:buClr>
              <a:buSzPct val="75000"/>
              <a:buFont typeface="Arial"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14284A"/>
                </a:solidFill>
                <a:effectLst/>
                <a:uLnTx/>
                <a:uFillTx/>
                <a:latin typeface="CiscoSansTT ExtraLight"/>
                <a:ea typeface="ＭＳ Ｐゴシック" charset="0"/>
                <a:cs typeface="CiscoSansTT" panose="020B0503020201020303" pitchFamily="34" charset="0"/>
                <a:sym typeface="Arial"/>
              </a:rPr>
              <a:t>Change Window Support</a:t>
            </a:r>
          </a:p>
        </p:txBody>
      </p:sp>
      <p:pic>
        <p:nvPicPr>
          <p:cNvPr id="27" name="Graphic 26">
            <a:extLst>
              <a:ext uri="{FF2B5EF4-FFF2-40B4-BE49-F238E27FC236}">
                <a16:creationId xmlns:a16="http://schemas.microsoft.com/office/drawing/2014/main" id="{722CC30A-BB52-4235-AEA6-8E2FFD36DDEF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726759" y="3417175"/>
            <a:ext cx="405860" cy="405848"/>
          </a:xfrm>
          <a:prstGeom prst="rect">
            <a:avLst/>
          </a:prstGeom>
        </p:spPr>
      </p:pic>
      <p:sp>
        <p:nvSpPr>
          <p:cNvPr id="36" name="Google Shape;791;p99">
            <a:extLst>
              <a:ext uri="{FF2B5EF4-FFF2-40B4-BE49-F238E27FC236}">
                <a16:creationId xmlns:a16="http://schemas.microsoft.com/office/drawing/2014/main" id="{F40F0021-6681-4FEA-8563-35C7517E69EB}"/>
              </a:ext>
            </a:extLst>
          </p:cNvPr>
          <p:cNvSpPr/>
          <p:nvPr/>
        </p:nvSpPr>
        <p:spPr>
          <a:xfrm>
            <a:off x="9217026" y="3519118"/>
            <a:ext cx="2433638" cy="2019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l" defTabSz="91433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rgbClr val="FBAB18"/>
              </a:buClr>
              <a:buSzPct val="75000"/>
              <a:buFont typeface="Arial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FBAB18"/>
                </a:solidFill>
                <a:effectLst/>
                <a:uLnTx/>
                <a:uFillTx/>
                <a:latin typeface="CiscoSansTT" panose="020B0503020201020303" pitchFamily="34" charset="0"/>
                <a:ea typeface="ＭＳ Ｐゴシック"/>
                <a:cs typeface="CiscoSansTT" panose="020B0503020201020303" pitchFamily="34" charset="0"/>
                <a:sym typeface="Arial"/>
              </a:rPr>
              <a:t>No limit</a:t>
            </a:r>
          </a:p>
        </p:txBody>
      </p:sp>
      <p:sp>
        <p:nvSpPr>
          <p:cNvPr id="44" name="Google Shape;791;p99">
            <a:extLst>
              <a:ext uri="{FF2B5EF4-FFF2-40B4-BE49-F238E27FC236}">
                <a16:creationId xmlns:a16="http://schemas.microsoft.com/office/drawing/2014/main" id="{298B4E4D-24CE-4DF4-9C91-48354F4D752F}"/>
              </a:ext>
            </a:extLst>
          </p:cNvPr>
          <p:cNvSpPr/>
          <p:nvPr/>
        </p:nvSpPr>
        <p:spPr>
          <a:xfrm>
            <a:off x="6725286" y="3519118"/>
            <a:ext cx="1141094" cy="2019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l" defTabSz="91433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rgbClr val="6EBE4A"/>
              </a:buClr>
              <a:buSzPct val="75000"/>
              <a:buFont typeface="Arial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6EBE4A"/>
                </a:solidFill>
                <a:effectLst/>
                <a:uLnTx/>
                <a:uFillTx/>
                <a:latin typeface="CiscoSansTT" panose="020B0503020201020303" pitchFamily="34" charset="0"/>
                <a:ea typeface="ＭＳ Ｐゴシック"/>
                <a:cs typeface="CiscoSansTT" panose="020B0503020201020303" pitchFamily="34" charset="0"/>
                <a:sym typeface="Arial"/>
              </a:rPr>
              <a:t>No limit</a:t>
            </a:r>
          </a:p>
        </p:txBody>
      </p:sp>
      <p:sp>
        <p:nvSpPr>
          <p:cNvPr id="50" name="Google Shape;791;p99">
            <a:extLst>
              <a:ext uri="{FF2B5EF4-FFF2-40B4-BE49-F238E27FC236}">
                <a16:creationId xmlns:a16="http://schemas.microsoft.com/office/drawing/2014/main" id="{A4E6B421-2F8A-40FA-9A76-E4B9D1AE8EB1}"/>
              </a:ext>
            </a:extLst>
          </p:cNvPr>
          <p:cNvSpPr/>
          <p:nvPr/>
        </p:nvSpPr>
        <p:spPr>
          <a:xfrm>
            <a:off x="4324986" y="3519118"/>
            <a:ext cx="1727834" cy="2019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l" defTabSz="91433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rgbClr val="00BCEB"/>
              </a:buClr>
              <a:buSzPct val="75000"/>
              <a:buFont typeface="Arial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00BCEB"/>
                </a:solidFill>
                <a:effectLst/>
                <a:uLnTx/>
                <a:uFillTx/>
                <a:latin typeface="CiscoSansTT" panose="020B0503020201020303" pitchFamily="34" charset="0"/>
                <a:ea typeface="ＭＳ Ｐゴシック"/>
                <a:cs typeface="CiscoSansTT" panose="020B0503020201020303" pitchFamily="34" charset="0"/>
                <a:sym typeface="Arial"/>
              </a:rPr>
              <a:t>No limit</a:t>
            </a:r>
          </a:p>
        </p:txBody>
      </p:sp>
      <p:sp>
        <p:nvSpPr>
          <p:cNvPr id="56" name="Google Shape;791;p99">
            <a:extLst>
              <a:ext uri="{FF2B5EF4-FFF2-40B4-BE49-F238E27FC236}">
                <a16:creationId xmlns:a16="http://schemas.microsoft.com/office/drawing/2014/main" id="{A318D342-CD70-4C48-B9DE-6BA8C32CC27C}"/>
              </a:ext>
            </a:extLst>
          </p:cNvPr>
          <p:cNvSpPr/>
          <p:nvPr/>
        </p:nvSpPr>
        <p:spPr>
          <a:xfrm>
            <a:off x="1283018" y="3513419"/>
            <a:ext cx="2775600" cy="2133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l" defTabSz="91433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rgbClr val="6EBE4A"/>
              </a:buClr>
              <a:buSzPct val="75000"/>
              <a:buFont typeface="Arial"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14284A"/>
                </a:solidFill>
                <a:effectLst/>
                <a:uLnTx/>
                <a:uFillTx/>
                <a:latin typeface="CiscoSansTT ExtraLight"/>
                <a:ea typeface="ＭＳ Ｐゴシック" charset="0"/>
                <a:cs typeface="CiscoSansTT" panose="020B0503020201020303" pitchFamily="34" charset="0"/>
                <a:sym typeface="Arial"/>
              </a:rPr>
              <a:t>Ask the Experts</a:t>
            </a:r>
          </a:p>
        </p:txBody>
      </p:sp>
      <p:pic>
        <p:nvPicPr>
          <p:cNvPr id="31" name="Graphic 30">
            <a:extLst>
              <a:ext uri="{FF2B5EF4-FFF2-40B4-BE49-F238E27FC236}">
                <a16:creationId xmlns:a16="http://schemas.microsoft.com/office/drawing/2014/main" id="{E7F8C5E9-274D-4258-B5D3-B5BBFF8082C4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726759" y="3964225"/>
            <a:ext cx="405848" cy="405848"/>
          </a:xfrm>
          <a:prstGeom prst="rect">
            <a:avLst/>
          </a:prstGeom>
        </p:spPr>
      </p:pic>
      <p:sp>
        <p:nvSpPr>
          <p:cNvPr id="37" name="Google Shape;791;p99">
            <a:extLst>
              <a:ext uri="{FF2B5EF4-FFF2-40B4-BE49-F238E27FC236}">
                <a16:creationId xmlns:a16="http://schemas.microsoft.com/office/drawing/2014/main" id="{933B1081-446A-470D-922B-6DE335B17E0A}"/>
              </a:ext>
            </a:extLst>
          </p:cNvPr>
          <p:cNvSpPr/>
          <p:nvPr/>
        </p:nvSpPr>
        <p:spPr>
          <a:xfrm>
            <a:off x="9217026" y="4066168"/>
            <a:ext cx="2433638" cy="2019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l" defTabSz="91433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rgbClr val="FBAB18"/>
              </a:buClr>
              <a:buSzPct val="75000"/>
              <a:buFont typeface="Arial"/>
              <a:buNone/>
              <a:tabLst/>
              <a:defRPr/>
            </a:pPr>
            <a:r>
              <a: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14284A"/>
                </a:solidFill>
                <a:effectLst/>
                <a:uLnTx/>
                <a:uFillTx/>
                <a:latin typeface="CiscoSansTT ExtraLight"/>
                <a:ea typeface="ＭＳ Ｐゴシック"/>
                <a:cs typeface="CiscoSansTT ExtraLight" panose="020B0303020201020303" pitchFamily="34" charset="0"/>
                <a:sym typeface="Arial"/>
              </a:rPr>
              <a:t>Flexible: up to </a:t>
            </a: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FBAB18"/>
                </a:solidFill>
                <a:effectLst/>
                <a:uLnTx/>
                <a:uFillTx/>
                <a:latin typeface="CiscoSansTT" panose="020B0503020201020303" pitchFamily="34" charset="0"/>
                <a:ea typeface="ＭＳ Ｐゴシック"/>
                <a:cs typeface="CiscoSansTT" panose="020B0503020201020303" pitchFamily="34" charset="0"/>
                <a:sym typeface="Arial"/>
              </a:rPr>
              <a:t>48x </a:t>
            </a:r>
            <a:r>
              <a: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14284A"/>
                </a:solidFill>
                <a:effectLst/>
                <a:uLnTx/>
                <a:uFillTx/>
                <a:latin typeface="CiscoSansTT ExtraLight"/>
                <a:ea typeface="ＭＳ Ｐゴシック"/>
                <a:cs typeface="CiscoSansTT ExtraLight" panose="020B0303020201020303" pitchFamily="34" charset="0"/>
                <a:sym typeface="Arial"/>
              </a:rPr>
              <a:t>per year</a:t>
            </a: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srgbClr val="14284A"/>
              </a:solidFill>
              <a:effectLst/>
              <a:uLnTx/>
              <a:uFillTx/>
              <a:latin typeface="CiscoSansTT ExtraLight" panose="020B0303020201020303" pitchFamily="34" charset="0"/>
              <a:ea typeface="ＭＳ Ｐゴシック" charset="0"/>
              <a:cs typeface="CiscoSansTT ExtraLight" panose="020B0303020201020303" pitchFamily="34" charset="0"/>
              <a:sym typeface="Arial"/>
            </a:endParaRPr>
          </a:p>
        </p:txBody>
      </p:sp>
      <p:sp>
        <p:nvSpPr>
          <p:cNvPr id="45" name="Google Shape;791;p99">
            <a:extLst>
              <a:ext uri="{FF2B5EF4-FFF2-40B4-BE49-F238E27FC236}">
                <a16:creationId xmlns:a16="http://schemas.microsoft.com/office/drawing/2014/main" id="{6E61C582-93EC-4D25-9A49-609D32BE855B}"/>
              </a:ext>
            </a:extLst>
          </p:cNvPr>
          <p:cNvSpPr/>
          <p:nvPr/>
        </p:nvSpPr>
        <p:spPr>
          <a:xfrm>
            <a:off x="6725286" y="4066168"/>
            <a:ext cx="1141094" cy="2019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l" defTabSz="91433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rgbClr val="6EBE4A"/>
              </a:buClr>
              <a:buSzPct val="75000"/>
              <a:buFont typeface="Arial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6EBE4A"/>
                </a:solidFill>
                <a:effectLst/>
                <a:uLnTx/>
                <a:uFillTx/>
                <a:latin typeface="CiscoSansTT" panose="020B0503020201020303" pitchFamily="34" charset="0"/>
                <a:ea typeface="ＭＳ Ｐゴシック"/>
                <a:cs typeface="CiscoSansTT" panose="020B0503020201020303" pitchFamily="34" charset="0"/>
                <a:sym typeface="Arial"/>
              </a:rPr>
              <a:t>4x </a:t>
            </a:r>
            <a:r>
              <a: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14284A"/>
                </a:solidFill>
                <a:effectLst/>
                <a:uLnTx/>
                <a:uFillTx/>
                <a:latin typeface="CiscoSansTT ExtraLight"/>
                <a:ea typeface="ＭＳ Ｐゴシック"/>
                <a:cs typeface="CiscoSansTT ExtraLight" panose="020B0303020201020303" pitchFamily="34" charset="0"/>
                <a:sym typeface="Arial"/>
              </a:rPr>
              <a:t>per year</a:t>
            </a:r>
          </a:p>
        </p:txBody>
      </p:sp>
      <p:sp>
        <p:nvSpPr>
          <p:cNvPr id="51" name="Google Shape;791;p99">
            <a:extLst>
              <a:ext uri="{FF2B5EF4-FFF2-40B4-BE49-F238E27FC236}">
                <a16:creationId xmlns:a16="http://schemas.microsoft.com/office/drawing/2014/main" id="{3B417EC5-D24B-468E-8726-D46341901F74}"/>
              </a:ext>
            </a:extLst>
          </p:cNvPr>
          <p:cNvSpPr/>
          <p:nvPr/>
        </p:nvSpPr>
        <p:spPr>
          <a:xfrm>
            <a:off x="4324986" y="4066168"/>
            <a:ext cx="1727834" cy="2019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l" defTabSz="91433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rgbClr val="00BCEB"/>
              </a:buClr>
              <a:buSzPct val="75000"/>
              <a:buFont typeface="Arial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00BCEB"/>
                </a:solidFill>
                <a:effectLst/>
                <a:uLnTx/>
                <a:uFillTx/>
                <a:latin typeface="CiscoSansTT" panose="020B0503020201020303" pitchFamily="34" charset="0"/>
                <a:ea typeface="ＭＳ Ｐゴシック"/>
                <a:cs typeface="CiscoSansTT" panose="020B0503020201020303" pitchFamily="34" charset="0"/>
                <a:sym typeface="Arial"/>
              </a:rPr>
              <a:t>2x</a:t>
            </a:r>
            <a:r>
              <a: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14284A"/>
                </a:solidFill>
                <a:effectLst/>
                <a:uLnTx/>
                <a:uFillTx/>
                <a:latin typeface="CiscoSansTT" panose="020B0503020201020303" pitchFamily="34" charset="0"/>
                <a:ea typeface="ＭＳ Ｐゴシック"/>
                <a:cs typeface="CiscoSansTT" panose="020B0503020201020303" pitchFamily="34" charset="0"/>
                <a:sym typeface="Arial"/>
              </a:rPr>
              <a:t> </a:t>
            </a:r>
            <a:r>
              <a: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14284A"/>
                </a:solidFill>
                <a:effectLst/>
                <a:uLnTx/>
                <a:uFillTx/>
                <a:latin typeface="CiscoSansTT ExtraLight"/>
                <a:ea typeface="ＭＳ Ｐゴシック"/>
                <a:cs typeface="CiscoSansTT ExtraLight" panose="020B0303020201020303" pitchFamily="34" charset="0"/>
                <a:sym typeface="Arial"/>
              </a:rPr>
              <a:t>per year</a:t>
            </a:r>
          </a:p>
        </p:txBody>
      </p:sp>
      <p:sp>
        <p:nvSpPr>
          <p:cNvPr id="57" name="Google Shape;791;p99">
            <a:extLst>
              <a:ext uri="{FF2B5EF4-FFF2-40B4-BE49-F238E27FC236}">
                <a16:creationId xmlns:a16="http://schemas.microsoft.com/office/drawing/2014/main" id="{C2570B40-6FF2-4E88-A67D-4DD8DFC6874C}"/>
              </a:ext>
            </a:extLst>
          </p:cNvPr>
          <p:cNvSpPr/>
          <p:nvPr/>
        </p:nvSpPr>
        <p:spPr>
          <a:xfrm>
            <a:off x="1283018" y="4060469"/>
            <a:ext cx="2775600" cy="2133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l" defTabSz="91433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rgbClr val="6EBE4A"/>
              </a:buClr>
              <a:buSzPct val="75000"/>
              <a:buFont typeface="Arial"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14284A"/>
                </a:solidFill>
                <a:effectLst/>
                <a:uLnTx/>
                <a:uFillTx/>
                <a:latin typeface="CiscoSansTT ExtraLight"/>
                <a:ea typeface="ＭＳ Ｐゴシック" charset="0"/>
                <a:cs typeface="CiscoSansTT" panose="020B0503020201020303" pitchFamily="34" charset="0"/>
                <a:sym typeface="Arial"/>
              </a:rPr>
              <a:t>Expert Review Workshops</a:t>
            </a:r>
          </a:p>
        </p:txBody>
      </p:sp>
      <p:pic>
        <p:nvPicPr>
          <p:cNvPr id="35" name="Graphic 34">
            <a:extLst>
              <a:ext uri="{FF2B5EF4-FFF2-40B4-BE49-F238E27FC236}">
                <a16:creationId xmlns:a16="http://schemas.microsoft.com/office/drawing/2014/main" id="{83B639E1-F349-48DB-9F79-ABA70C027C74}"/>
              </a:ext>
            </a:extLst>
          </p:cNvPr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726759" y="4511275"/>
            <a:ext cx="405848" cy="405848"/>
          </a:xfrm>
          <a:prstGeom prst="rect">
            <a:avLst/>
          </a:prstGeom>
        </p:spPr>
      </p:pic>
      <p:sp>
        <p:nvSpPr>
          <p:cNvPr id="39" name="Google Shape;791;p99">
            <a:extLst>
              <a:ext uri="{FF2B5EF4-FFF2-40B4-BE49-F238E27FC236}">
                <a16:creationId xmlns:a16="http://schemas.microsoft.com/office/drawing/2014/main" id="{37EAB2A0-E570-4546-9D1F-BB948D070BDE}"/>
              </a:ext>
            </a:extLst>
          </p:cNvPr>
          <p:cNvSpPr/>
          <p:nvPr/>
        </p:nvSpPr>
        <p:spPr>
          <a:xfrm>
            <a:off x="9217026" y="4613218"/>
            <a:ext cx="2433638" cy="2019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l" defTabSz="91433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rgbClr val="FBAB18"/>
              </a:buClr>
              <a:buSzPct val="75000"/>
              <a:buFont typeface="Arial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FBAB18"/>
                </a:solidFill>
                <a:effectLst/>
                <a:uLnTx/>
                <a:uFillTx/>
                <a:latin typeface="CiscoSansTT" panose="020B0503020201020303" pitchFamily="34" charset="0"/>
                <a:ea typeface="ＭＳ Ｐゴシック"/>
                <a:cs typeface="CiscoSansTT" panose="020B0503020201020303" pitchFamily="34" charset="0"/>
                <a:sym typeface="Arial"/>
              </a:rPr>
              <a:t>4x</a:t>
            </a: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14284A"/>
                </a:solidFill>
                <a:effectLst/>
                <a:uLnTx/>
                <a:uFillTx/>
                <a:latin typeface="CiscoSansTT" panose="020B0503020201020303" pitchFamily="34" charset="0"/>
                <a:ea typeface="ＭＳ Ｐゴシック"/>
                <a:cs typeface="CiscoSansTT" panose="020B0503020201020303" pitchFamily="34" charset="0"/>
                <a:sym typeface="Arial"/>
              </a:rPr>
              <a:t> </a:t>
            </a:r>
            <a:r>
              <a: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14284A"/>
                </a:solidFill>
                <a:effectLst/>
                <a:uLnTx/>
                <a:uFillTx/>
                <a:latin typeface="CiscoSansTT ExtraLight"/>
                <a:ea typeface="ＭＳ Ｐゴシック"/>
                <a:cs typeface="CiscoSansTT ExtraLight" panose="020B0303020201020303" pitchFamily="34" charset="0"/>
                <a:sym typeface="Arial"/>
              </a:rPr>
              <a:t>per year</a:t>
            </a: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srgbClr val="14284A"/>
              </a:solidFill>
              <a:effectLst/>
              <a:uLnTx/>
              <a:uFillTx/>
              <a:latin typeface="CiscoSansTT ExtraLight" panose="020B0303020201020303" pitchFamily="34" charset="0"/>
              <a:ea typeface="ＭＳ Ｐゴシック" charset="0"/>
              <a:cs typeface="CiscoSansTT ExtraLight" panose="020B0303020201020303" pitchFamily="34" charset="0"/>
              <a:sym typeface="Arial"/>
            </a:endParaRPr>
          </a:p>
        </p:txBody>
      </p:sp>
      <p:sp>
        <p:nvSpPr>
          <p:cNvPr id="46" name="Google Shape;791;p99">
            <a:extLst>
              <a:ext uri="{FF2B5EF4-FFF2-40B4-BE49-F238E27FC236}">
                <a16:creationId xmlns:a16="http://schemas.microsoft.com/office/drawing/2014/main" id="{981BAB02-700B-46DA-861F-55D0968AEA67}"/>
              </a:ext>
            </a:extLst>
          </p:cNvPr>
          <p:cNvSpPr/>
          <p:nvPr/>
        </p:nvSpPr>
        <p:spPr>
          <a:xfrm>
            <a:off x="6725286" y="4613218"/>
            <a:ext cx="1141094" cy="2019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l" defTabSz="91433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rgbClr val="6EBE4A"/>
              </a:buClr>
              <a:buSzPct val="75000"/>
              <a:buFont typeface="Arial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6EBE4A"/>
                </a:solidFill>
                <a:effectLst/>
                <a:uLnTx/>
                <a:uFillTx/>
                <a:latin typeface="CiscoSansTT" panose="020B0503020201020303" pitchFamily="34" charset="0"/>
                <a:ea typeface="ＭＳ Ｐゴシック"/>
                <a:cs typeface="CiscoSansTT" panose="020B0503020201020303" pitchFamily="34" charset="0"/>
                <a:sym typeface="Arial"/>
              </a:rPr>
              <a:t>4x</a:t>
            </a: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14284A"/>
                </a:solidFill>
                <a:effectLst/>
                <a:uLnTx/>
                <a:uFillTx/>
                <a:latin typeface="CiscoSansTT ExtraLight"/>
                <a:ea typeface="ＭＳ Ｐゴシック"/>
                <a:cs typeface="CiscoSansTT ExtraLight" panose="020B0303020201020303" pitchFamily="34" charset="0"/>
                <a:sym typeface="Arial"/>
              </a:rPr>
              <a:t> </a:t>
            </a:r>
            <a:r>
              <a: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14284A"/>
                </a:solidFill>
                <a:effectLst/>
                <a:uLnTx/>
                <a:uFillTx/>
                <a:latin typeface="CiscoSansTT ExtraLight"/>
                <a:ea typeface="ＭＳ Ｐゴシック"/>
                <a:cs typeface="CiscoSansTT ExtraLight" panose="020B0303020201020303" pitchFamily="34" charset="0"/>
                <a:sym typeface="Arial"/>
              </a:rPr>
              <a:t>per year</a:t>
            </a: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srgbClr val="14284A"/>
              </a:solidFill>
              <a:effectLst/>
              <a:uLnTx/>
              <a:uFillTx/>
              <a:latin typeface="CiscoSansTT ExtraLight" panose="020B0303020201020303" pitchFamily="34" charset="0"/>
              <a:ea typeface="ＭＳ Ｐゴシック" charset="0"/>
              <a:cs typeface="CiscoSansTT ExtraLight" panose="020B0303020201020303" pitchFamily="34" charset="0"/>
              <a:sym typeface="Arial"/>
            </a:endParaRPr>
          </a:p>
        </p:txBody>
      </p:sp>
      <p:sp>
        <p:nvSpPr>
          <p:cNvPr id="58" name="Google Shape;791;p99">
            <a:extLst>
              <a:ext uri="{FF2B5EF4-FFF2-40B4-BE49-F238E27FC236}">
                <a16:creationId xmlns:a16="http://schemas.microsoft.com/office/drawing/2014/main" id="{5D30D0C0-CA30-4A07-B96C-B01A81FF985B}"/>
              </a:ext>
            </a:extLst>
          </p:cNvPr>
          <p:cNvSpPr/>
          <p:nvPr/>
        </p:nvSpPr>
        <p:spPr>
          <a:xfrm>
            <a:off x="1283018" y="4607519"/>
            <a:ext cx="2775600" cy="2133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l" defTabSz="91433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rgbClr val="6EBE4A"/>
              </a:buClr>
              <a:buSzPct val="75000"/>
              <a:buFont typeface="Arial"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14284A"/>
                </a:solidFill>
                <a:effectLst/>
                <a:uLnTx/>
                <a:uFillTx/>
                <a:latin typeface="CiscoSansTT ExtraLight"/>
                <a:ea typeface="ＭＳ Ｐゴシック" charset="0"/>
                <a:cs typeface="CiscoSansTT" panose="020B0503020201020303" pitchFamily="34" charset="0"/>
                <a:sym typeface="Arial"/>
              </a:rPr>
              <a:t>Expert Incident Reviews</a:t>
            </a:r>
          </a:p>
        </p:txBody>
      </p:sp>
      <p:pic>
        <p:nvPicPr>
          <p:cNvPr id="34" name="Graphic 33">
            <a:extLst>
              <a:ext uri="{FF2B5EF4-FFF2-40B4-BE49-F238E27FC236}">
                <a16:creationId xmlns:a16="http://schemas.microsoft.com/office/drawing/2014/main" id="{02A1BC8C-7DC0-4EB3-842E-AF7DD9E0802D}"/>
              </a:ext>
            </a:extLst>
          </p:cNvPr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726759" y="5058328"/>
            <a:ext cx="405848" cy="405848"/>
          </a:xfrm>
          <a:prstGeom prst="rect">
            <a:avLst/>
          </a:prstGeom>
        </p:spPr>
      </p:pic>
      <p:sp>
        <p:nvSpPr>
          <p:cNvPr id="40" name="Google Shape;791;p99">
            <a:extLst>
              <a:ext uri="{FF2B5EF4-FFF2-40B4-BE49-F238E27FC236}">
                <a16:creationId xmlns:a16="http://schemas.microsoft.com/office/drawing/2014/main" id="{BFD67764-B4BA-4C77-B0C3-5A4EF8529A85}"/>
              </a:ext>
            </a:extLst>
          </p:cNvPr>
          <p:cNvSpPr/>
          <p:nvPr/>
        </p:nvSpPr>
        <p:spPr>
          <a:xfrm>
            <a:off x="9217026" y="5160271"/>
            <a:ext cx="2433638" cy="2019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l" defTabSz="91433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rgbClr val="FBAB18"/>
              </a:buClr>
              <a:buSzPct val="75000"/>
              <a:buFont typeface="Arial"/>
              <a:buNone/>
              <a:tabLst/>
              <a:defRPr/>
            </a:pPr>
            <a:r>
              <a: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14284A"/>
                </a:solidFill>
                <a:effectLst/>
                <a:uLnTx/>
                <a:uFillTx/>
                <a:latin typeface="CiscoSansTT ExtraLight"/>
                <a:ea typeface="ＭＳ Ｐゴシック"/>
                <a:cs typeface="CiscoSansTT ExtraLight" panose="020B0303020201020303" pitchFamily="34" charset="0"/>
                <a:sym typeface="Arial"/>
              </a:rPr>
              <a:t>Flexible, up to </a:t>
            </a: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FBAB18"/>
                </a:solidFill>
                <a:effectLst/>
                <a:uLnTx/>
                <a:uFillTx/>
                <a:latin typeface="CiscoSansTT" panose="020B0503020201020303" pitchFamily="34" charset="0"/>
                <a:ea typeface="ＭＳ Ｐゴシック"/>
                <a:cs typeface="CiscoSansTT" panose="020B0503020201020303" pitchFamily="34" charset="0"/>
                <a:sym typeface="Arial"/>
              </a:rPr>
              <a:t>48x</a:t>
            </a: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14284A"/>
                </a:solidFill>
                <a:effectLst/>
                <a:uLnTx/>
                <a:uFillTx/>
                <a:latin typeface="CiscoSansTT ExtraLight"/>
                <a:ea typeface="ＭＳ Ｐゴシック"/>
                <a:cs typeface="CiscoSansTT ExtraLight" panose="020B0303020201020303" pitchFamily="34" charset="0"/>
                <a:sym typeface="Arial"/>
              </a:rPr>
              <a:t> </a:t>
            </a:r>
            <a:r>
              <a: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14284A"/>
                </a:solidFill>
                <a:effectLst/>
                <a:uLnTx/>
                <a:uFillTx/>
                <a:latin typeface="CiscoSansTT ExtraLight"/>
                <a:ea typeface="ＭＳ Ｐゴシック"/>
                <a:cs typeface="CiscoSansTT ExtraLight" panose="020B0303020201020303" pitchFamily="34" charset="0"/>
                <a:sym typeface="Arial"/>
              </a:rPr>
              <a:t>per year</a:t>
            </a: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srgbClr val="14284A"/>
              </a:solidFill>
              <a:effectLst/>
              <a:uLnTx/>
              <a:uFillTx/>
              <a:latin typeface="CiscoSansTT ExtraLight" panose="020B0303020201020303" pitchFamily="34" charset="0"/>
              <a:ea typeface="ＭＳ Ｐゴシック" charset="0"/>
              <a:cs typeface="CiscoSansTT ExtraLight" panose="020B0303020201020303" pitchFamily="34" charset="0"/>
              <a:sym typeface="Arial"/>
            </a:endParaRPr>
          </a:p>
        </p:txBody>
      </p:sp>
      <p:sp>
        <p:nvSpPr>
          <p:cNvPr id="47" name="Google Shape;791;p99">
            <a:extLst>
              <a:ext uri="{FF2B5EF4-FFF2-40B4-BE49-F238E27FC236}">
                <a16:creationId xmlns:a16="http://schemas.microsoft.com/office/drawing/2014/main" id="{18E733BC-B9CD-4F6E-84C5-B7E2590FBF4F}"/>
              </a:ext>
            </a:extLst>
          </p:cNvPr>
          <p:cNvSpPr/>
          <p:nvPr/>
        </p:nvSpPr>
        <p:spPr>
          <a:xfrm>
            <a:off x="6725286" y="5160271"/>
            <a:ext cx="1141094" cy="2019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l" defTabSz="91433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rgbClr val="6EBE4A"/>
              </a:buClr>
              <a:buSzPct val="75000"/>
              <a:buFont typeface="Arial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6EBE4A"/>
                </a:solidFill>
                <a:effectLst/>
                <a:uLnTx/>
                <a:uFillTx/>
                <a:latin typeface="CiscoSansTT" panose="020B0503020201020303" pitchFamily="34" charset="0"/>
                <a:ea typeface="ＭＳ Ｐゴシック"/>
                <a:cs typeface="CiscoSansTT" panose="020B0503020201020303" pitchFamily="34" charset="0"/>
                <a:sym typeface="Arial"/>
              </a:rPr>
              <a:t>6x </a:t>
            </a:r>
            <a:r>
              <a: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14284A"/>
                </a:solidFill>
                <a:effectLst/>
                <a:uLnTx/>
                <a:uFillTx/>
                <a:latin typeface="CiscoSansTT ExtraLight"/>
                <a:ea typeface="ＭＳ Ｐゴシック"/>
                <a:cs typeface="CiscoSansTT ExtraLight" panose="020B0303020201020303" pitchFamily="34" charset="0"/>
                <a:sym typeface="Arial"/>
              </a:rPr>
              <a:t>per year</a:t>
            </a: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srgbClr val="14284A"/>
              </a:solidFill>
              <a:effectLst/>
              <a:uLnTx/>
              <a:uFillTx/>
              <a:latin typeface="CiscoSansTT ExtraLight" panose="020B0303020201020303" pitchFamily="34" charset="0"/>
              <a:ea typeface="ＭＳ Ｐゴシック" charset="0"/>
              <a:cs typeface="CiscoSansTT ExtraLight" panose="020B0303020201020303" pitchFamily="34" charset="0"/>
              <a:sym typeface="Arial"/>
            </a:endParaRPr>
          </a:p>
        </p:txBody>
      </p:sp>
      <p:sp>
        <p:nvSpPr>
          <p:cNvPr id="59" name="Google Shape;791;p99">
            <a:extLst>
              <a:ext uri="{FF2B5EF4-FFF2-40B4-BE49-F238E27FC236}">
                <a16:creationId xmlns:a16="http://schemas.microsoft.com/office/drawing/2014/main" id="{182878EA-4BA6-423F-B6A9-888E010F98DB}"/>
              </a:ext>
            </a:extLst>
          </p:cNvPr>
          <p:cNvSpPr/>
          <p:nvPr/>
        </p:nvSpPr>
        <p:spPr>
          <a:xfrm>
            <a:off x="1283018" y="5154572"/>
            <a:ext cx="2775600" cy="2133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l" defTabSz="91433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rgbClr val="6EBE4A"/>
              </a:buClr>
              <a:buSzPct val="75000"/>
              <a:buFont typeface="Arial"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14284A"/>
                </a:solidFill>
                <a:effectLst/>
                <a:uLnTx/>
                <a:uFillTx/>
                <a:latin typeface="CiscoSansTT ExtraLight"/>
                <a:ea typeface="ＭＳ Ｐゴシック" charset="0"/>
                <a:cs typeface="CiscoSansTT" panose="020B0503020201020303" pitchFamily="34" charset="0"/>
                <a:sym typeface="Arial"/>
              </a:rPr>
              <a:t>Accelerators</a:t>
            </a:r>
          </a:p>
        </p:txBody>
      </p:sp>
      <p:sp>
        <p:nvSpPr>
          <p:cNvPr id="67" name="Rectangle: Rounded Corners 9">
            <a:extLst>
              <a:ext uri="{FF2B5EF4-FFF2-40B4-BE49-F238E27FC236}">
                <a16:creationId xmlns:a16="http://schemas.microsoft.com/office/drawing/2014/main" id="{63238983-0814-49DE-81D0-9491F1619506}"/>
              </a:ext>
            </a:extLst>
          </p:cNvPr>
          <p:cNvSpPr/>
          <p:nvPr/>
        </p:nvSpPr>
        <p:spPr>
          <a:xfrm>
            <a:off x="719139" y="5570145"/>
            <a:ext cx="10753724" cy="308814"/>
          </a:xfrm>
          <a:prstGeom prst="roundRect">
            <a:avLst>
              <a:gd name="adj" fmla="val 50000"/>
            </a:avLst>
          </a:prstGeom>
          <a:solidFill>
            <a:schemeClr val="bg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095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iscoSansTT Light" panose="020B0503020201020303" pitchFamily="34" charset="0"/>
                <a:ea typeface="+mn-ea"/>
                <a:cs typeface="CiscoSansTT Light" panose="020B0503020201020303" pitchFamily="34" charset="0"/>
                <a:sym typeface="Arial"/>
              </a:rPr>
              <a:t>Expertise powered by the analytics, insights, and automation of CX Collaborative Intelligence </a:t>
            </a:r>
          </a:p>
        </p:txBody>
      </p:sp>
      <p:sp>
        <p:nvSpPr>
          <p:cNvPr id="69" name="Rectangle: Rounded Corners 9">
            <a:extLst>
              <a:ext uri="{FF2B5EF4-FFF2-40B4-BE49-F238E27FC236}">
                <a16:creationId xmlns:a16="http://schemas.microsoft.com/office/drawing/2014/main" id="{9001D476-8410-47A0-8951-08B49E3A2F40}"/>
              </a:ext>
            </a:extLst>
          </p:cNvPr>
          <p:cNvSpPr/>
          <p:nvPr/>
        </p:nvSpPr>
        <p:spPr>
          <a:xfrm>
            <a:off x="719139" y="5915342"/>
            <a:ext cx="10753724" cy="255218"/>
          </a:xfrm>
          <a:prstGeom prst="roundRect">
            <a:avLst>
              <a:gd name="adj" fmla="val 50000"/>
            </a:avLst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095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000" b="0" i="0" u="none" strike="noStrike" kern="0" cap="none" spc="0" normalizeH="0" baseline="0" noProof="0">
                <a:ln>
                  <a:noFill/>
                </a:ln>
                <a:solidFill>
                  <a:srgbClr val="14284A"/>
                </a:solidFill>
                <a:effectLst/>
                <a:uLnTx/>
                <a:uFillTx/>
                <a:latin typeface="CiscoSansTT Light" panose="020B0503020201020303" pitchFamily="34" charset="0"/>
                <a:ea typeface="+mn-ea"/>
                <a:cs typeface="CiscoSansTT Light" panose="020B0503020201020303" pitchFamily="34" charset="0"/>
                <a:sym typeface="Arial"/>
              </a:rPr>
              <a:t>Premier and Add-Ons in limited availability for the U.S. and Canada - Global availability targeted November 2020</a:t>
            </a:r>
          </a:p>
        </p:txBody>
      </p:sp>
      <p:sp>
        <p:nvSpPr>
          <p:cNvPr id="19" name="Footer Placeholder 18">
            <a:extLst>
              <a:ext uri="{FF2B5EF4-FFF2-40B4-BE49-F238E27FC236}">
                <a16:creationId xmlns:a16="http://schemas.microsoft.com/office/drawing/2014/main" id="{C5D1E529-DD58-4228-A2D9-AB456E6EEC0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4953000" y="6264276"/>
            <a:ext cx="6519333" cy="353484"/>
          </a:xfrm>
        </p:spPr>
        <p:txBody>
          <a:bodyPr anchor="b"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800" b="0" i="0" u="none" strike="noStrike" kern="0" cap="none" spc="0" normalizeH="0" baseline="0" noProof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CiscoSansTT ExtraLight"/>
                <a:cs typeface="Arial"/>
                <a:sym typeface="Arial"/>
              </a:rPr>
              <a:t>NOTE: Service consumable 1 at a time (Sequential) and have variable duration. For Operational Insights, 1 deliverable per architecture at a time. Above quantities are estimates based on typical consumption profile Workshops scheduled in advance.</a:t>
            </a:r>
          </a:p>
        </p:txBody>
      </p:sp>
    </p:spTree>
    <p:extLst>
      <p:ext uri="{BB962C8B-B14F-4D97-AF65-F5344CB8AC3E}">
        <p14:creationId xmlns:p14="http://schemas.microsoft.com/office/powerpoint/2010/main" val="2935058059"/>
      </p:ext>
    </p:extLst>
  </p:cSld>
  <p:clrMapOvr>
    <a:masterClrMapping/>
  </p:clrMapOvr>
  <p:transition>
    <p:fade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79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719668" y="458096"/>
            <a:ext cx="10752667" cy="1030393"/>
          </a:xfrm>
        </p:spPr>
        <p:txBody>
          <a:bodyPr/>
          <a:lstStyle/>
          <a:p>
            <a:r>
              <a:rPr lang="en-AU"/>
              <a:t>Selecting the right coverage </a:t>
            </a:r>
            <a:br>
              <a:rPr lang="en-AU"/>
            </a:br>
            <a:r>
              <a:rPr lang="en-AU" sz="2400">
                <a:solidFill>
                  <a:schemeClr val="accent1"/>
                </a:solidFill>
              </a:rPr>
              <a:t>Examples</a:t>
            </a:r>
          </a:p>
        </p:txBody>
      </p:sp>
      <p:sp>
        <p:nvSpPr>
          <p:cNvPr id="35" name="Rectangle: Rounded Corners 34">
            <a:extLst>
              <a:ext uri="{FF2B5EF4-FFF2-40B4-BE49-F238E27FC236}">
                <a16:creationId xmlns:a16="http://schemas.microsoft.com/office/drawing/2014/main" id="{DB5C124E-B82D-490C-BA24-F3B18DDD6EFB}"/>
              </a:ext>
            </a:extLst>
          </p:cNvPr>
          <p:cNvSpPr/>
          <p:nvPr/>
        </p:nvSpPr>
        <p:spPr>
          <a:xfrm>
            <a:off x="2053153" y="2657541"/>
            <a:ext cx="2406651" cy="342243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 w="571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914286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00">
                <a:solidFill>
                  <a:srgbClr val="FFFFFF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  <a:sym typeface="Arial"/>
              </a:rPr>
              <a:t>Essentials</a:t>
            </a:r>
            <a:endParaRPr lang="en-US" sz="1600" b="1">
              <a:solidFill>
                <a:srgbClr val="005073"/>
              </a:solidFill>
              <a:latin typeface="CiscoSansTT ExtraLight" panose="020B0303020201020303" pitchFamily="34" charset="0"/>
              <a:cs typeface="CiscoSansTT ExtraLight" panose="020B0303020201020303" pitchFamily="34" charset="0"/>
              <a:sym typeface="Arial"/>
            </a:endParaRPr>
          </a:p>
        </p:txBody>
      </p:sp>
      <p:sp>
        <p:nvSpPr>
          <p:cNvPr id="36" name="Rectangle: Rounded Corners 35">
            <a:extLst>
              <a:ext uri="{FF2B5EF4-FFF2-40B4-BE49-F238E27FC236}">
                <a16:creationId xmlns:a16="http://schemas.microsoft.com/office/drawing/2014/main" id="{4B6F07FE-1052-44A4-9910-603F5FCB6046}"/>
              </a:ext>
            </a:extLst>
          </p:cNvPr>
          <p:cNvSpPr/>
          <p:nvPr/>
        </p:nvSpPr>
        <p:spPr>
          <a:xfrm>
            <a:off x="2053153" y="3245305"/>
            <a:ext cx="2406651" cy="342243"/>
          </a:xfrm>
          <a:prstGeom prst="roundRect">
            <a:avLst>
              <a:gd name="adj" fmla="val 50000"/>
            </a:avLst>
          </a:prstGeom>
          <a:solidFill>
            <a:schemeClr val="accent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914286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00">
                <a:solidFill>
                  <a:srgbClr val="FFFFFF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  <a:sym typeface="Arial"/>
              </a:rPr>
              <a:t>Advantage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A5BD8FB4-3311-594E-AF6C-AB863AE23B52}"/>
              </a:ext>
            </a:extLst>
          </p:cNvPr>
          <p:cNvSpPr txBox="1"/>
          <p:nvPr/>
        </p:nvSpPr>
        <p:spPr>
          <a:xfrm>
            <a:off x="1619985" y="1761438"/>
            <a:ext cx="3272991" cy="385103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bg2"/>
          </a:solidFill>
        </p:spPr>
        <p:txBody>
          <a:bodyPr wrap="square" lIns="0" tIns="0" rIns="0" bIns="36000" rtlCol="0" anchor="ctr">
            <a:noAutofit/>
          </a:bodyPr>
          <a:lstStyle/>
          <a:p>
            <a:pPr algn="ctr" defTabSz="1219140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defRPr/>
            </a:pPr>
            <a:r>
              <a:rPr lang="en-US" sz="1333" kern="0">
                <a:solidFill>
                  <a:srgbClr val="FFFFFF"/>
                </a:solidFill>
                <a:latin typeface="CiscoSansTT Light" panose="020B0503020201020303" pitchFamily="34" charset="0"/>
                <a:ea typeface="ＭＳ Ｐゴシック" charset="0"/>
                <a:cs typeface="CiscoSansTT Light" panose="020B0503020201020303" pitchFamily="34" charset="0"/>
                <a:sym typeface="Arial"/>
              </a:rPr>
              <a:t>Choose tier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0FADA70F-F9BF-5648-93D6-D81FC289E75E}"/>
              </a:ext>
            </a:extLst>
          </p:cNvPr>
          <p:cNvSpPr txBox="1"/>
          <p:nvPr/>
        </p:nvSpPr>
        <p:spPr>
          <a:xfrm>
            <a:off x="4906122" y="1761438"/>
            <a:ext cx="3272991" cy="385103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bg2"/>
          </a:solidFill>
        </p:spPr>
        <p:txBody>
          <a:bodyPr wrap="square" lIns="0" tIns="0" rIns="0" bIns="36000" rtlCol="0" anchor="ctr">
            <a:noAutofit/>
          </a:bodyPr>
          <a:lstStyle/>
          <a:p>
            <a:pPr algn="ctr" defTabSz="1219140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defRPr/>
            </a:pPr>
            <a:r>
              <a:rPr lang="en-US" sz="1333" kern="0">
                <a:solidFill>
                  <a:srgbClr val="FFFFFF"/>
                </a:solidFill>
                <a:latin typeface="CiscoSansTT Light" panose="020B0503020201020303" pitchFamily="34" charset="0"/>
                <a:ea typeface="ＭＳ Ｐゴシック" charset="0"/>
                <a:cs typeface="CiscoSansTT Light" panose="020B0503020201020303" pitchFamily="34" charset="0"/>
                <a:sym typeface="Arial"/>
              </a:rPr>
              <a:t>Choose architectures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B22BB722-B3A7-E04A-B33F-1218D08BE18D}"/>
              </a:ext>
            </a:extLst>
          </p:cNvPr>
          <p:cNvSpPr txBox="1"/>
          <p:nvPr/>
        </p:nvSpPr>
        <p:spPr>
          <a:xfrm>
            <a:off x="8192261" y="1761350"/>
            <a:ext cx="3272991" cy="385103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bg2"/>
          </a:solidFill>
        </p:spPr>
        <p:txBody>
          <a:bodyPr wrap="square" lIns="0" tIns="0" rIns="0" bIns="36000" rtlCol="0" anchor="ctr">
            <a:noAutofit/>
          </a:bodyPr>
          <a:lstStyle/>
          <a:p>
            <a:pPr algn="ctr" defTabSz="1219140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defRPr/>
            </a:pPr>
            <a:r>
              <a:rPr lang="en-US" sz="1333" kern="0">
                <a:solidFill>
                  <a:srgbClr val="FFFFFF"/>
                </a:solidFill>
                <a:latin typeface="CiscoSansTT Light" panose="020B0503020201020303" pitchFamily="34" charset="0"/>
                <a:ea typeface="ＭＳ Ｐゴシック" charset="0"/>
                <a:cs typeface="CiscoSansTT Light" panose="020B0503020201020303" pitchFamily="34" charset="0"/>
                <a:sym typeface="Arial"/>
              </a:rPr>
              <a:t>IB based on chosen architectures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2EAC6A59-A26B-6941-B19D-756F24D7BC71}"/>
              </a:ext>
            </a:extLst>
          </p:cNvPr>
          <p:cNvSpPr txBox="1"/>
          <p:nvPr/>
        </p:nvSpPr>
        <p:spPr>
          <a:xfrm>
            <a:off x="600952" y="2835382"/>
            <a:ext cx="1060529" cy="699695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ctr" anchorCtr="0">
            <a:noAutofit/>
          </a:bodyPr>
          <a:lstStyle/>
          <a:p>
            <a:pPr defTabSz="1219140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defRPr/>
            </a:pPr>
            <a:r>
              <a:rPr lang="en-US" sz="1333" kern="0">
                <a:solidFill>
                  <a:srgbClr val="14284A"/>
                </a:solidFill>
                <a:latin typeface="CiscoSansTT Light"/>
                <a:ea typeface="ＭＳ Ｐゴシック"/>
                <a:cs typeface="CiscoSansTT Light" panose="020B0503020201020303" pitchFamily="34" charset="0"/>
                <a:sym typeface="Arial"/>
              </a:rPr>
              <a:t>Multi-architecture package</a:t>
            </a:r>
          </a:p>
        </p:txBody>
      </p:sp>
      <p:sp>
        <p:nvSpPr>
          <p:cNvPr id="142" name="TextBox 141">
            <a:extLst>
              <a:ext uri="{FF2B5EF4-FFF2-40B4-BE49-F238E27FC236}">
                <a16:creationId xmlns:a16="http://schemas.microsoft.com/office/drawing/2014/main" id="{53162469-47E3-D843-B402-485924BC8227}"/>
              </a:ext>
            </a:extLst>
          </p:cNvPr>
          <p:cNvSpPr txBox="1"/>
          <p:nvPr/>
        </p:nvSpPr>
        <p:spPr>
          <a:xfrm>
            <a:off x="579637" y="4557608"/>
            <a:ext cx="1126724" cy="67838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ctr" anchorCtr="0">
            <a:noAutofit/>
          </a:bodyPr>
          <a:lstStyle/>
          <a:p>
            <a:pPr defTabSz="1219140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defRPr/>
            </a:pPr>
            <a:r>
              <a:rPr lang="en-US" sz="1333" kern="0">
                <a:solidFill>
                  <a:srgbClr val="14284A"/>
                </a:solidFill>
                <a:latin typeface="CiscoSansTT Light"/>
                <a:ea typeface="ＭＳ Ｐゴシック"/>
                <a:cs typeface="CiscoSansTT Light" panose="020B0503020201020303" pitchFamily="34" charset="0"/>
                <a:sym typeface="Arial"/>
              </a:rPr>
              <a:t>Multiple single architecture packages</a:t>
            </a:r>
            <a:endParaRPr lang="en-US" sz="1333" kern="0">
              <a:solidFill>
                <a:srgbClr val="14284A"/>
              </a:solidFill>
              <a:latin typeface="CiscoSansTT Light" panose="020B0503020201020303" pitchFamily="34" charset="0"/>
              <a:ea typeface="ＭＳ Ｐゴシック" charset="0"/>
              <a:cs typeface="CiscoSansTT Light" panose="020B0503020201020303" pitchFamily="34" charset="0"/>
              <a:sym typeface="Arial"/>
            </a:endParaRPr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080C91E3-7ED9-4C22-9A5F-C4EF7DDC58E6}"/>
              </a:ext>
            </a:extLst>
          </p:cNvPr>
          <p:cNvGrpSpPr/>
          <p:nvPr/>
        </p:nvGrpSpPr>
        <p:grpSpPr>
          <a:xfrm>
            <a:off x="8675561" y="5378463"/>
            <a:ext cx="2306391" cy="299360"/>
            <a:chOff x="8614419" y="5576477"/>
            <a:chExt cx="2306390" cy="299360"/>
          </a:xfrm>
        </p:grpSpPr>
        <p:pic>
          <p:nvPicPr>
            <p:cNvPr id="145" name="Picture 19" descr="C:\Users\ecoffey\AppData\Local\Temp\Rar$DRa0.377\Cisco TelePresence Conductor\Png_64_24_16\Normal\Cisco-TelePresence-Conductor_normal_64.png">
              <a:extLst>
                <a:ext uri="{FF2B5EF4-FFF2-40B4-BE49-F238E27FC236}">
                  <a16:creationId xmlns:a16="http://schemas.microsoft.com/office/drawing/2014/main" id="{6CCB74C9-1FEC-334D-85D2-8A33BA8E4815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>
              <a:duotone>
                <a:schemeClr val="bg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614419" y="5576477"/>
              <a:ext cx="299360" cy="299360"/>
            </a:xfrm>
            <a:prstGeom prst="rect">
              <a:avLst/>
            </a:prstGeom>
            <a:noFill/>
            <a:ln>
              <a:solidFill>
                <a:schemeClr val="accent2"/>
              </a:solidFill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46" name="Picture 19" descr="C:\Users\ecoffey\AppData\Local\Temp\Rar$DRa0.733\Cisco Video Communications Server Expressway\Png_64_24_16\Normal\Cisco-Video-Communications-Server-Expressway_Normal_64.png">
              <a:extLst>
                <a:ext uri="{FF2B5EF4-FFF2-40B4-BE49-F238E27FC236}">
                  <a16:creationId xmlns:a16="http://schemas.microsoft.com/office/drawing/2014/main" id="{C7E99B22-D3BD-C743-9D55-1FBFE76643B0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">
              <a:duotone>
                <a:schemeClr val="bg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283429" y="5576477"/>
              <a:ext cx="299360" cy="299360"/>
            </a:xfrm>
            <a:prstGeom prst="rect">
              <a:avLst/>
            </a:prstGeom>
            <a:noFill/>
            <a:ln>
              <a:solidFill>
                <a:schemeClr val="accent2"/>
              </a:solidFill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47" name="Picture 25" descr="C:\Users\ecoffey\AppData\Local\Temp\Rar$DRa0.826\Cisco Video Communications Server Control\Cisco Video Communications Server Control\Png\Normal\Cisco-Video-Communications-Server-Control_normal_64.png">
              <a:extLst>
                <a:ext uri="{FF2B5EF4-FFF2-40B4-BE49-F238E27FC236}">
                  <a16:creationId xmlns:a16="http://schemas.microsoft.com/office/drawing/2014/main" id="{672890F0-D8AC-2E4B-879C-61AB47F4CEF4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>
              <a:duotone>
                <a:schemeClr val="bg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952439" y="5576477"/>
              <a:ext cx="299360" cy="299360"/>
            </a:xfrm>
            <a:prstGeom prst="rect">
              <a:avLst/>
            </a:prstGeom>
            <a:noFill/>
            <a:ln>
              <a:solidFill>
                <a:schemeClr val="accent2"/>
              </a:solidFill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49" name="Picture 19" descr="C:\Users\ecoffey\AppData\Local\Temp\Rar$DRa0.198\Cisco WebEx Meeting Server\Png_64_24_16\Normal\Cisco-WebEx-Meeting--Server_normal_64.png">
              <a:extLst>
                <a:ext uri="{FF2B5EF4-FFF2-40B4-BE49-F238E27FC236}">
                  <a16:creationId xmlns:a16="http://schemas.microsoft.com/office/drawing/2014/main" id="{B43B19E8-4FAA-E04C-9E0D-70F4630C4773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>
              <a:duotone>
                <a:schemeClr val="bg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621449" y="5576477"/>
              <a:ext cx="299360" cy="299360"/>
            </a:xfrm>
            <a:prstGeom prst="rect">
              <a:avLst/>
            </a:prstGeom>
            <a:noFill/>
            <a:ln>
              <a:solidFill>
                <a:schemeClr val="accent2"/>
              </a:solidFill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6" name="Group 5">
            <a:extLst>
              <a:ext uri="{FF2B5EF4-FFF2-40B4-BE49-F238E27FC236}">
                <a16:creationId xmlns:a16="http://schemas.microsoft.com/office/drawing/2014/main" id="{B5D085BA-E3A6-43CD-AE33-549741B3E452}"/>
              </a:ext>
            </a:extLst>
          </p:cNvPr>
          <p:cNvGrpSpPr/>
          <p:nvPr/>
        </p:nvGrpSpPr>
        <p:grpSpPr>
          <a:xfrm>
            <a:off x="8520346" y="2506065"/>
            <a:ext cx="2616821" cy="1054292"/>
            <a:chOff x="8634920" y="2282541"/>
            <a:chExt cx="2616821" cy="877068"/>
          </a:xfrm>
        </p:grpSpPr>
        <p:pic>
          <p:nvPicPr>
            <p:cNvPr id="37" name="Picture 20" descr="C:\Users\ecoffey\AppData\Local\Temp\Rar$DRa0.403\30001_Device_access_point_unknown_64.png">
              <a:extLst>
                <a:ext uri="{FF2B5EF4-FFF2-40B4-BE49-F238E27FC236}">
                  <a16:creationId xmlns:a16="http://schemas.microsoft.com/office/drawing/2014/main" id="{2D223026-FE94-1E4A-A9F1-8E49427C3AE4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7">
              <a:duotone>
                <a:schemeClr val="accent4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852529" y="2866671"/>
              <a:ext cx="292938" cy="29293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8" name="Picture 7" descr="C:\Users\ecoffey\AppData\Local\Temp\Rar$DRa0.252\Api Controller\Png_64_24_16\Critical\Api-Controller_critical_64.png">
              <a:extLst>
                <a:ext uri="{FF2B5EF4-FFF2-40B4-BE49-F238E27FC236}">
                  <a16:creationId xmlns:a16="http://schemas.microsoft.com/office/drawing/2014/main" id="{BB1CCCF5-7C35-AD45-80EB-4E3EB101D97A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8">
              <a:duotone>
                <a:schemeClr val="accent3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229562" y="2282541"/>
              <a:ext cx="346046" cy="34604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9" name="Picture 11" descr="C:\Users\ecoffey\AppData\Local\Temp\Rar$DRa0.758\30002_Device_asa5500_default_64.png">
              <a:extLst>
                <a:ext uri="{FF2B5EF4-FFF2-40B4-BE49-F238E27FC236}">
                  <a16:creationId xmlns:a16="http://schemas.microsoft.com/office/drawing/2014/main" id="{D092C497-2CC2-1644-8FE0-ECC709AB2C21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9">
              <a:duotone>
                <a:schemeClr val="accent3">
                  <a:shade val="45000"/>
                  <a:satMod val="135000"/>
                </a:schemeClr>
                <a:prstClr val="white"/>
              </a:duotone>
              <a:extLst>
                <a:ext uri="{BEBA8EAE-BF5A-486C-A8C5-ECC9F3942E4B}">
                  <a14:imgProps xmlns:a14="http://schemas.microsoft.com/office/drawing/2010/main">
                    <a14:imgLayer r:embed="rId10">
                      <a14:imgEffect>
                        <a14:brightnessContrast bright="20000" contrast="-2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634920" y="2282541"/>
              <a:ext cx="346046" cy="34604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0" name="Picture 14" descr="C:\Users\ecoffey\AppData\Local\Temp\Rar$DRa0.832\30003_Device_ASR5000_major_64.png">
              <a:extLst>
                <a:ext uri="{FF2B5EF4-FFF2-40B4-BE49-F238E27FC236}">
                  <a16:creationId xmlns:a16="http://schemas.microsoft.com/office/drawing/2014/main" id="{E81944D9-98ED-924C-B95B-406214A4E212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1">
              <a:duotone>
                <a:prstClr val="black"/>
                <a:schemeClr val="accent3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983301" y="2377381"/>
              <a:ext cx="254786" cy="25478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1" name="Picture 4" descr="C:\Users\ecoffey\AppData\Local\Temp\Rar$DRa0.532\Device_ATA_3087_admindown_64.png">
              <a:extLst>
                <a:ext uri="{FF2B5EF4-FFF2-40B4-BE49-F238E27FC236}">
                  <a16:creationId xmlns:a16="http://schemas.microsoft.com/office/drawing/2014/main" id="{5B250BE7-C899-C64E-97DB-7F65F57554E2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2">
              <a:duotone>
                <a:schemeClr val="accent4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261493" y="2877425"/>
              <a:ext cx="282184" cy="28218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59" name="Picture 10" descr="C:\Users\ecoffey\AppData\Local\Temp\Rar$DRa0.700\30007_Device_broadband_router_default_256.png">
              <a:extLst>
                <a:ext uri="{FF2B5EF4-FFF2-40B4-BE49-F238E27FC236}">
                  <a16:creationId xmlns:a16="http://schemas.microsoft.com/office/drawing/2014/main" id="{E42D6574-BA52-4343-B5A9-DF6BB06A4D3E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3">
              <a:duotone>
                <a:schemeClr val="accent3">
                  <a:shade val="45000"/>
                  <a:satMod val="135000"/>
                </a:schemeClr>
                <a:prstClr val="white"/>
              </a:duotone>
              <a:extLst>
                <a:ext uri="{BEBA8EAE-BF5A-486C-A8C5-ECC9F3942E4B}">
                  <a14:imgProps xmlns:a14="http://schemas.microsoft.com/office/drawing/2010/main">
                    <a14:imgLayer r:embed="rId14">
                      <a14:imgEffect>
                        <a14:brightnessContrast bright="2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969647" y="2849384"/>
              <a:ext cx="282094" cy="28209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60" name="Picture 17" descr="C:\Users\ecoffey\AppData\Local\Temp\Rar$DRa0.138\30008_Device_call_manager_minor_64.png">
              <a:extLst>
                <a:ext uri="{FF2B5EF4-FFF2-40B4-BE49-F238E27FC236}">
                  <a16:creationId xmlns:a16="http://schemas.microsoft.com/office/drawing/2014/main" id="{33E510E7-6C0F-F349-816A-A77E38808CA3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5">
              <a:duotone>
                <a:prstClr val="black"/>
                <a:schemeClr val="accent3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362991" y="2813563"/>
              <a:ext cx="346046" cy="34604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61" name="Picture 41" descr="C:\Users\ecoffey\AppData\Local\Temp\Rar$DRa0.739\Catalyst 4500E Unified Access\Png_256\Catalyst 4500E Unified Access_256_warning.png">
              <a:extLst>
                <a:ext uri="{FF2B5EF4-FFF2-40B4-BE49-F238E27FC236}">
                  <a16:creationId xmlns:a16="http://schemas.microsoft.com/office/drawing/2014/main" id="{AD19828B-E284-D144-B336-B81747813688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6">
              <a:duotone>
                <a:prstClr val="black"/>
                <a:schemeClr val="accent3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415751" y="2282541"/>
              <a:ext cx="240526" cy="34604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62" name="Picture 7" descr="C:\Users\ecoffey\AppData\Local\Temp\Rar$DRa0.030\30051_Device_nexus1000_critical_64.png">
              <a:extLst>
                <a:ext uri="{FF2B5EF4-FFF2-40B4-BE49-F238E27FC236}">
                  <a16:creationId xmlns:a16="http://schemas.microsoft.com/office/drawing/2014/main" id="{0FB59186-A4E5-FE42-84D2-4A6717C2BD6A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7">
              <a:duotone>
                <a:schemeClr val="accent3">
                  <a:shade val="45000"/>
                  <a:satMod val="135000"/>
                </a:schemeClr>
                <a:prstClr val="white"/>
              </a:duotone>
              <a:extLst>
                <a:ext uri="{BEBA8EAE-BF5A-486C-A8C5-ECC9F3942E4B}">
                  <a14:imgProps xmlns:a14="http://schemas.microsoft.com/office/drawing/2010/main">
                    <a14:imgLayer r:embed="rId18">
                      <a14:imgEffect>
                        <a14:brightnessContrast bright="40000" contrast="-2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634920" y="2813563"/>
              <a:ext cx="346046" cy="34604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51" name="Picture 19" descr="C:\Users\ecoffey\AppData\Local\Temp\Rar$DRa0.198\Cisco WebEx Meeting Server\Png_64_24_16\Normal\Cisco-WebEx-Meeting--Server_normal_64.png">
              <a:extLst>
                <a:ext uri="{FF2B5EF4-FFF2-40B4-BE49-F238E27FC236}">
                  <a16:creationId xmlns:a16="http://schemas.microsoft.com/office/drawing/2014/main" id="{1EB0117B-76EB-D344-BF5A-3FFE1AF195F2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>
              <a:duotone>
                <a:prstClr val="black"/>
                <a:schemeClr val="accent3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825975" y="2282541"/>
              <a:ext cx="346046" cy="34604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17" name="Group 16">
            <a:extLst>
              <a:ext uri="{FF2B5EF4-FFF2-40B4-BE49-F238E27FC236}">
                <a16:creationId xmlns:a16="http://schemas.microsoft.com/office/drawing/2014/main" id="{4BF7A962-ACE8-4D0C-9781-2FEF40BF05CE}"/>
              </a:ext>
            </a:extLst>
          </p:cNvPr>
          <p:cNvGrpSpPr/>
          <p:nvPr/>
        </p:nvGrpSpPr>
        <p:grpSpPr>
          <a:xfrm>
            <a:off x="8669473" y="4546939"/>
            <a:ext cx="2318563" cy="299360"/>
            <a:chOff x="8608334" y="4696409"/>
            <a:chExt cx="2318562" cy="299360"/>
          </a:xfrm>
        </p:grpSpPr>
        <p:pic>
          <p:nvPicPr>
            <p:cNvPr id="150" name="Picture 20" descr="C:\Users\ecoffey\AppData\Local\Temp\Rar$DRa0.403\30001_Device_access_point_unknown_64.png">
              <a:extLst>
                <a:ext uri="{FF2B5EF4-FFF2-40B4-BE49-F238E27FC236}">
                  <a16:creationId xmlns:a16="http://schemas.microsoft.com/office/drawing/2014/main" id="{DE69100F-A0C9-6F42-913A-F9DF1C3DDDC3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7">
              <a:duotone>
                <a:schemeClr val="bg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608334" y="4696409"/>
              <a:ext cx="299360" cy="299360"/>
            </a:xfrm>
            <a:prstGeom prst="rect">
              <a:avLst/>
            </a:prstGeom>
            <a:noFill/>
            <a:ln>
              <a:solidFill>
                <a:schemeClr val="accent2"/>
              </a:solidFill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52" name="Picture 20" descr="C:\Users\ecoffey\AppData\Local\Temp\Rar$DRa0.832\30003_Device_ASR5000_unknown_64.png">
              <a:extLst>
                <a:ext uri="{FF2B5EF4-FFF2-40B4-BE49-F238E27FC236}">
                  <a16:creationId xmlns:a16="http://schemas.microsoft.com/office/drawing/2014/main" id="{974A0FBA-32AB-C04B-81F2-BB4CEE1708CF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9">
              <a:duotone>
                <a:schemeClr val="bg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281401" y="4696409"/>
              <a:ext cx="299360" cy="299360"/>
            </a:xfrm>
            <a:prstGeom prst="rect">
              <a:avLst/>
            </a:prstGeom>
            <a:noFill/>
            <a:ln>
              <a:solidFill>
                <a:schemeClr val="accent2"/>
              </a:solidFill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53" name="Picture 20" descr="C:\Users\ecoffey\AppData\Local\Temp\Rar$DRa0.700\30007_Device_broadband_router_unknown_64.png">
              <a:extLst>
                <a:ext uri="{FF2B5EF4-FFF2-40B4-BE49-F238E27FC236}">
                  <a16:creationId xmlns:a16="http://schemas.microsoft.com/office/drawing/2014/main" id="{728EA574-A76A-3948-8A90-E065302B6C96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0">
              <a:duotone>
                <a:schemeClr val="bg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954468" y="4696409"/>
              <a:ext cx="299360" cy="299360"/>
            </a:xfrm>
            <a:prstGeom prst="rect">
              <a:avLst/>
            </a:prstGeom>
            <a:noFill/>
            <a:ln>
              <a:solidFill>
                <a:schemeClr val="accent2"/>
              </a:solidFill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54" name="Picture 19" descr="C:\Users\ecoffey\AppData\Local\Temp\Rar$DRa0.223\Catalyst 4500E Unified Access\Png_64_24_16\Normal\Catalyst-4500E-Unified-Access_64_normal.png">
              <a:extLst>
                <a:ext uri="{FF2B5EF4-FFF2-40B4-BE49-F238E27FC236}">
                  <a16:creationId xmlns:a16="http://schemas.microsoft.com/office/drawing/2014/main" id="{B97A8348-2951-874D-ACC1-98B76383F3A8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1">
              <a:duotone>
                <a:schemeClr val="bg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627536" y="4696409"/>
              <a:ext cx="299360" cy="299360"/>
            </a:xfrm>
            <a:prstGeom prst="rect">
              <a:avLst/>
            </a:prstGeom>
            <a:noFill/>
            <a:ln>
              <a:solidFill>
                <a:schemeClr val="accent2"/>
              </a:solidFill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8" name="TextBox 7">
            <a:extLst>
              <a:ext uri="{FF2B5EF4-FFF2-40B4-BE49-F238E27FC236}">
                <a16:creationId xmlns:a16="http://schemas.microsoft.com/office/drawing/2014/main" id="{0C1443C8-6A8D-7547-99ED-271AE2847B2B}"/>
              </a:ext>
            </a:extLst>
          </p:cNvPr>
          <p:cNvSpPr txBox="1"/>
          <p:nvPr/>
        </p:nvSpPr>
        <p:spPr>
          <a:xfrm>
            <a:off x="9144715" y="4277543"/>
            <a:ext cx="1368080" cy="166708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ctr" defTabSz="1219140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defRPr/>
            </a:pPr>
            <a:r>
              <a:rPr lang="en-US" sz="1200" kern="0">
                <a:solidFill>
                  <a:srgbClr val="14284A"/>
                </a:solidFill>
                <a:latin typeface="CiscoSansTT Light" panose="020B0503020201020303" pitchFamily="34" charset="0"/>
                <a:ea typeface="ＭＳ Ｐゴシック" charset="0"/>
                <a:cs typeface="CiscoSansTT Light" panose="020B0503020201020303" pitchFamily="34" charset="0"/>
                <a:sym typeface="Arial"/>
              </a:rPr>
              <a:t>Networking Devices</a:t>
            </a:r>
          </a:p>
        </p:txBody>
      </p:sp>
      <p:sp>
        <p:nvSpPr>
          <p:cNvPr id="77" name="TextBox 76">
            <a:extLst>
              <a:ext uri="{FF2B5EF4-FFF2-40B4-BE49-F238E27FC236}">
                <a16:creationId xmlns:a16="http://schemas.microsoft.com/office/drawing/2014/main" id="{12CE8620-DD49-FD4B-95E6-DC7015B529FC}"/>
              </a:ext>
            </a:extLst>
          </p:cNvPr>
          <p:cNvSpPr txBox="1"/>
          <p:nvPr/>
        </p:nvSpPr>
        <p:spPr>
          <a:xfrm>
            <a:off x="9145191" y="5084823"/>
            <a:ext cx="1478611" cy="166708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ctr" defTabSz="1219140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defRPr/>
            </a:pPr>
            <a:r>
              <a:rPr lang="en-US" sz="1200" kern="0">
                <a:solidFill>
                  <a:srgbClr val="14284A"/>
                </a:solidFill>
                <a:latin typeface="CiscoSansTT Light" panose="020B0503020201020303" pitchFamily="34" charset="0"/>
                <a:ea typeface="ＭＳ Ｐゴシック" charset="0"/>
                <a:cs typeface="CiscoSansTT Light" panose="020B0503020201020303" pitchFamily="34" charset="0"/>
                <a:sym typeface="Arial"/>
              </a:rPr>
              <a:t>Collaboration Devices</a:t>
            </a:r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C94D49FE-FE20-41EA-AE26-F370E47FAAE8}"/>
              </a:ext>
            </a:extLst>
          </p:cNvPr>
          <p:cNvSpPr/>
          <p:nvPr/>
        </p:nvSpPr>
        <p:spPr>
          <a:xfrm>
            <a:off x="180157" y="2947825"/>
            <a:ext cx="368443" cy="368443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609570" fontAlgn="base">
              <a:spcBef>
                <a:spcPct val="0"/>
              </a:spcBef>
              <a:spcAft>
                <a:spcPts val="600"/>
              </a:spcAft>
              <a:defRPr/>
            </a:pPr>
            <a:r>
              <a:rPr lang="en-US" sz="900">
                <a:solidFill>
                  <a:srgbClr val="FFFFFF"/>
                </a:solidFill>
                <a:latin typeface="CiscoSansTT Light" panose="020B0503020201020303" pitchFamily="34" charset="0"/>
                <a:cs typeface="CiscoSansTT Light" panose="020B0503020201020303" pitchFamily="34" charset="0"/>
              </a:rPr>
              <a:t>New</a:t>
            </a:r>
          </a:p>
        </p:txBody>
      </p: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08F5C046-6379-47F5-8A73-41C521B50D39}"/>
              </a:ext>
            </a:extLst>
          </p:cNvPr>
          <p:cNvCxnSpPr>
            <a:cxnSpLocks/>
          </p:cNvCxnSpPr>
          <p:nvPr/>
        </p:nvCxnSpPr>
        <p:spPr>
          <a:xfrm>
            <a:off x="719139" y="3971741"/>
            <a:ext cx="10753196" cy="0"/>
          </a:xfrm>
          <a:prstGeom prst="line">
            <a:avLst/>
          </a:prstGeom>
          <a:ln w="9525" cap="rnd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Rectangle: Rounded Corners 22">
            <a:extLst>
              <a:ext uri="{FF2B5EF4-FFF2-40B4-BE49-F238E27FC236}">
                <a16:creationId xmlns:a16="http://schemas.microsoft.com/office/drawing/2014/main" id="{C4D302E3-E6FC-4A7C-862F-F4296FB17A2B}"/>
              </a:ext>
            </a:extLst>
          </p:cNvPr>
          <p:cNvSpPr/>
          <p:nvPr/>
        </p:nvSpPr>
        <p:spPr>
          <a:xfrm>
            <a:off x="1991785" y="2606813"/>
            <a:ext cx="2518508" cy="440879"/>
          </a:xfrm>
          <a:prstGeom prst="roundRect">
            <a:avLst>
              <a:gd name="adj" fmla="val 50000"/>
            </a:avLst>
          </a:prstGeom>
          <a:noFill/>
          <a:ln w="12700" cap="rnd">
            <a:solidFill>
              <a:schemeClr val="bg2"/>
            </a:solidFill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4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2400">
              <a:solidFill>
                <a:srgbClr val="005073"/>
              </a:solidFill>
              <a:latin typeface="CiscoSansTT ExtraLight"/>
            </a:endParaRPr>
          </a:p>
        </p:txBody>
      </p:sp>
      <p:sp>
        <p:nvSpPr>
          <p:cNvPr id="64" name="Oval 63">
            <a:extLst>
              <a:ext uri="{FF2B5EF4-FFF2-40B4-BE49-F238E27FC236}">
                <a16:creationId xmlns:a16="http://schemas.microsoft.com/office/drawing/2014/main" id="{276242CC-A04C-4010-A3A4-5A98A1155EB9}"/>
              </a:ext>
            </a:extLst>
          </p:cNvPr>
          <p:cNvSpPr/>
          <p:nvPr/>
        </p:nvSpPr>
        <p:spPr>
          <a:xfrm>
            <a:off x="4322273" y="2830166"/>
            <a:ext cx="336681" cy="336681"/>
          </a:xfrm>
          <a:prstGeom prst="ellipse">
            <a:avLst/>
          </a:prstGeom>
          <a:solidFill>
            <a:schemeClr val="bg2"/>
          </a:solidFill>
          <a:ln w="19050">
            <a:solidFill>
              <a:schemeClr val="bg1"/>
            </a:solidFill>
          </a:ln>
          <a:effectLst>
            <a:outerShdw blurRad="63500" sx="102000" sy="102000" algn="ctr" rotWithShape="0">
              <a:prstClr val="black">
                <a:alpha val="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609570" fontAlgn="base">
              <a:spcBef>
                <a:spcPct val="0"/>
              </a:spcBef>
              <a:spcAft>
                <a:spcPts val="600"/>
              </a:spcAft>
              <a:defRPr/>
            </a:pPr>
            <a:r>
              <a:rPr lang="en-US" sz="1100">
                <a:solidFill>
                  <a:srgbClr val="FFFFFF"/>
                </a:solidFill>
                <a:latin typeface="CiscoSansTT Light" panose="020B0503020201020303" pitchFamily="34" charset="0"/>
                <a:cs typeface="CiscoSansTT Light" panose="020B0503020201020303" pitchFamily="34" charset="0"/>
              </a:rPr>
              <a:t>x1</a:t>
            </a:r>
          </a:p>
        </p:txBody>
      </p:sp>
      <p:sp>
        <p:nvSpPr>
          <p:cNvPr id="105" name="Rectangle: Rounded Corners 104">
            <a:extLst>
              <a:ext uri="{FF2B5EF4-FFF2-40B4-BE49-F238E27FC236}">
                <a16:creationId xmlns:a16="http://schemas.microsoft.com/office/drawing/2014/main" id="{7DEF856B-4820-4531-8F4E-C3B6152D7F7E}"/>
              </a:ext>
            </a:extLst>
          </p:cNvPr>
          <p:cNvSpPr/>
          <p:nvPr/>
        </p:nvSpPr>
        <p:spPr>
          <a:xfrm>
            <a:off x="2053153" y="4592928"/>
            <a:ext cx="2406651" cy="342243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 w="571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914286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00">
                <a:solidFill>
                  <a:srgbClr val="FFFFFF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  <a:sym typeface="Arial"/>
              </a:rPr>
              <a:t>Essentials</a:t>
            </a:r>
            <a:endParaRPr lang="en-US" sz="1600" b="1">
              <a:solidFill>
                <a:srgbClr val="005073"/>
              </a:solidFill>
              <a:latin typeface="CiscoSansTT ExtraLight" panose="020B0303020201020303" pitchFamily="34" charset="0"/>
              <a:cs typeface="CiscoSansTT ExtraLight" panose="020B0303020201020303" pitchFamily="34" charset="0"/>
              <a:sym typeface="Arial"/>
            </a:endParaRPr>
          </a:p>
        </p:txBody>
      </p:sp>
      <p:sp>
        <p:nvSpPr>
          <p:cNvPr id="106" name="Rectangle: Rounded Corners 105">
            <a:extLst>
              <a:ext uri="{FF2B5EF4-FFF2-40B4-BE49-F238E27FC236}">
                <a16:creationId xmlns:a16="http://schemas.microsoft.com/office/drawing/2014/main" id="{33010C7D-52AC-41D1-BDB7-59F5296F8944}"/>
              </a:ext>
            </a:extLst>
          </p:cNvPr>
          <p:cNvSpPr/>
          <p:nvPr/>
        </p:nvSpPr>
        <p:spPr>
          <a:xfrm>
            <a:off x="2053153" y="5180691"/>
            <a:ext cx="2406651" cy="342243"/>
          </a:xfrm>
          <a:prstGeom prst="roundRect">
            <a:avLst>
              <a:gd name="adj" fmla="val 50000"/>
            </a:avLst>
          </a:prstGeom>
          <a:solidFill>
            <a:schemeClr val="accent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914286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00">
                <a:solidFill>
                  <a:srgbClr val="FFFFFF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  <a:sym typeface="Arial"/>
              </a:rPr>
              <a:t>Advantage</a:t>
            </a:r>
          </a:p>
        </p:txBody>
      </p:sp>
      <p:sp>
        <p:nvSpPr>
          <p:cNvPr id="138" name="Rectangle: Rounded Corners 137">
            <a:extLst>
              <a:ext uri="{FF2B5EF4-FFF2-40B4-BE49-F238E27FC236}">
                <a16:creationId xmlns:a16="http://schemas.microsoft.com/office/drawing/2014/main" id="{49EA99EE-B283-45A1-A6DE-1915FE0CA0AA}"/>
              </a:ext>
            </a:extLst>
          </p:cNvPr>
          <p:cNvSpPr/>
          <p:nvPr/>
        </p:nvSpPr>
        <p:spPr>
          <a:xfrm>
            <a:off x="1991785" y="5131230"/>
            <a:ext cx="2518508" cy="440879"/>
          </a:xfrm>
          <a:prstGeom prst="roundRect">
            <a:avLst>
              <a:gd name="adj" fmla="val 50000"/>
            </a:avLst>
          </a:prstGeom>
          <a:noFill/>
          <a:ln w="12700" cap="rnd">
            <a:solidFill>
              <a:schemeClr val="bg2"/>
            </a:solidFill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4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2400">
              <a:solidFill>
                <a:srgbClr val="005073"/>
              </a:solidFill>
              <a:latin typeface="CiscoSansTT ExtraLight"/>
            </a:endParaRPr>
          </a:p>
        </p:txBody>
      </p:sp>
      <p:sp>
        <p:nvSpPr>
          <p:cNvPr id="139" name="Oval 138">
            <a:extLst>
              <a:ext uri="{FF2B5EF4-FFF2-40B4-BE49-F238E27FC236}">
                <a16:creationId xmlns:a16="http://schemas.microsoft.com/office/drawing/2014/main" id="{AA84BAA0-4C67-492E-A509-ADD5DB63E28C}"/>
              </a:ext>
            </a:extLst>
          </p:cNvPr>
          <p:cNvSpPr/>
          <p:nvPr/>
        </p:nvSpPr>
        <p:spPr>
          <a:xfrm>
            <a:off x="4322273" y="5354584"/>
            <a:ext cx="336681" cy="336681"/>
          </a:xfrm>
          <a:prstGeom prst="ellipse">
            <a:avLst/>
          </a:prstGeom>
          <a:solidFill>
            <a:schemeClr val="bg2"/>
          </a:solidFill>
          <a:ln w="19050">
            <a:solidFill>
              <a:schemeClr val="bg1"/>
            </a:solidFill>
          </a:ln>
          <a:effectLst>
            <a:outerShdw blurRad="63500" sx="102000" sy="102000" algn="ctr" rotWithShape="0">
              <a:prstClr val="black">
                <a:alpha val="5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609570" fontAlgn="base">
              <a:spcBef>
                <a:spcPct val="0"/>
              </a:spcBef>
              <a:spcAft>
                <a:spcPts val="600"/>
              </a:spcAft>
              <a:defRPr/>
            </a:pPr>
            <a:r>
              <a:rPr lang="en-US" sz="1100">
                <a:solidFill>
                  <a:srgbClr val="FFFFFF"/>
                </a:solidFill>
                <a:latin typeface="CiscoSansTT Light" panose="020B0503020201020303" pitchFamily="34" charset="0"/>
                <a:cs typeface="CiscoSansTT Light" panose="020B0503020201020303" pitchFamily="34" charset="0"/>
              </a:rPr>
              <a:t>x2</a:t>
            </a:r>
          </a:p>
        </p:txBody>
      </p:sp>
      <p:sp>
        <p:nvSpPr>
          <p:cNvPr id="172" name="Rounded Rectangle 143">
            <a:extLst>
              <a:ext uri="{FF2B5EF4-FFF2-40B4-BE49-F238E27FC236}">
                <a16:creationId xmlns:a16="http://schemas.microsoft.com/office/drawing/2014/main" id="{64DB4B77-9DB7-4E3C-BFC7-6944E1E91D4F}"/>
              </a:ext>
            </a:extLst>
          </p:cNvPr>
          <p:cNvSpPr/>
          <p:nvPr/>
        </p:nvSpPr>
        <p:spPr>
          <a:xfrm>
            <a:off x="5101737" y="2506065"/>
            <a:ext cx="2875423" cy="1231516"/>
          </a:xfrm>
          <a:prstGeom prst="roundRect">
            <a:avLst>
              <a:gd name="adj" fmla="val 12101"/>
            </a:avLst>
          </a:prstGeom>
          <a:noFill/>
          <a:ln w="12700" cap="rnd">
            <a:solidFill>
              <a:schemeClr val="accent1"/>
            </a:solidFill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40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defRPr/>
            </a:pPr>
            <a:endParaRPr lang="en-US" sz="1867" kern="0">
              <a:solidFill>
                <a:srgbClr val="005073"/>
              </a:solidFill>
              <a:latin typeface="CiscoSansTT ExtraLight"/>
              <a:sym typeface="Arial"/>
            </a:endParaRPr>
          </a:p>
        </p:txBody>
      </p:sp>
      <p:sp>
        <p:nvSpPr>
          <p:cNvPr id="173" name="Text Box 56" descr="© INSCALE GmbH, 26.05.2010&#10;http://www.presentationload.com/">
            <a:extLst>
              <a:ext uri="{FF2B5EF4-FFF2-40B4-BE49-F238E27FC236}">
                <a16:creationId xmlns:a16="http://schemas.microsoft.com/office/drawing/2014/main" id="{92560938-9B69-4872-9777-58B62FF93E94}"/>
              </a:ext>
            </a:extLst>
          </p:cNvPr>
          <p:cNvSpPr txBox="1">
            <a:spLocks noChangeArrowheads="1"/>
          </p:cNvSpPr>
          <p:nvPr/>
        </p:nvSpPr>
        <p:spPr bwMode="gray">
          <a:xfrm>
            <a:off x="5768211" y="2642043"/>
            <a:ext cx="768943" cy="38580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anchor="ctr" anchorCtr="0">
            <a:noAutofit/>
          </a:bodyPr>
          <a:lstStyle/>
          <a:p>
            <a:pPr defTabSz="609539" fontAlgn="base">
              <a:lnSpc>
                <a:spcPct val="110000"/>
              </a:lnSpc>
              <a:spcBef>
                <a:spcPct val="0"/>
              </a:spcBef>
              <a:spcAft>
                <a:spcPts val="1600"/>
              </a:spcAft>
              <a:defRPr/>
            </a:pPr>
            <a:r>
              <a:rPr lang="en-GB" sz="1200" kern="0" noProof="1">
                <a:solidFill>
                  <a:srgbClr val="14284A"/>
                </a:solidFill>
                <a:latin typeface="CiscoSansTT ExtraLight"/>
                <a:ea typeface="ＭＳ Ｐゴシック" charset="0"/>
                <a:cs typeface="Calibri" pitchFamily="34" charset="0"/>
                <a:sym typeface="Arial"/>
              </a:rPr>
              <a:t>Core networking</a:t>
            </a:r>
          </a:p>
        </p:txBody>
      </p:sp>
      <p:sp>
        <p:nvSpPr>
          <p:cNvPr id="174" name="Text Box 56" descr="© INSCALE GmbH, 26.05.2010&#10;http://www.presentationload.com/">
            <a:extLst>
              <a:ext uri="{FF2B5EF4-FFF2-40B4-BE49-F238E27FC236}">
                <a16:creationId xmlns:a16="http://schemas.microsoft.com/office/drawing/2014/main" id="{156ACC20-0A70-4CB1-BA47-563E5433AA51}"/>
              </a:ext>
            </a:extLst>
          </p:cNvPr>
          <p:cNvSpPr txBox="1">
            <a:spLocks noChangeArrowheads="1"/>
          </p:cNvSpPr>
          <p:nvPr/>
        </p:nvSpPr>
        <p:spPr bwMode="gray">
          <a:xfrm>
            <a:off x="5768212" y="3225383"/>
            <a:ext cx="881680" cy="3902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anchor="ctr" anchorCtr="0">
            <a:noAutofit/>
          </a:bodyPr>
          <a:lstStyle/>
          <a:p>
            <a:pPr defTabSz="609539" fontAlgn="base">
              <a:lnSpc>
                <a:spcPct val="110000"/>
              </a:lnSpc>
              <a:spcBef>
                <a:spcPct val="0"/>
              </a:spcBef>
              <a:spcAft>
                <a:spcPts val="1600"/>
              </a:spcAft>
              <a:defRPr/>
            </a:pPr>
            <a:r>
              <a:rPr lang="en-GB" sz="1200" kern="0" noProof="1">
                <a:solidFill>
                  <a:srgbClr val="14284A"/>
                </a:solidFill>
                <a:latin typeface="CiscoSansTT ExtraLight"/>
                <a:ea typeface="ＭＳ Ｐゴシック" charset="0"/>
                <a:cs typeface="Calibri" pitchFamily="34" charset="0"/>
                <a:sym typeface="Arial"/>
              </a:rPr>
              <a:t>Data center</a:t>
            </a:r>
          </a:p>
        </p:txBody>
      </p:sp>
      <p:sp>
        <p:nvSpPr>
          <p:cNvPr id="175" name="Text Box 56" descr="© INSCALE GmbH, 26.05.2010&#10;http://www.presentationload.com/">
            <a:extLst>
              <a:ext uri="{FF2B5EF4-FFF2-40B4-BE49-F238E27FC236}">
                <a16:creationId xmlns:a16="http://schemas.microsoft.com/office/drawing/2014/main" id="{17A544E3-3504-4D99-A170-2F571E688ABF}"/>
              </a:ext>
            </a:extLst>
          </p:cNvPr>
          <p:cNvSpPr txBox="1">
            <a:spLocks noChangeArrowheads="1"/>
          </p:cNvSpPr>
          <p:nvPr/>
        </p:nvSpPr>
        <p:spPr bwMode="gray">
          <a:xfrm>
            <a:off x="7080341" y="2705222"/>
            <a:ext cx="655131" cy="246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anchor="ctr" anchorCtr="0">
            <a:noAutofit/>
          </a:bodyPr>
          <a:lstStyle/>
          <a:p>
            <a:pPr defTabSz="609539" fontAlgn="base">
              <a:lnSpc>
                <a:spcPct val="110000"/>
              </a:lnSpc>
              <a:spcBef>
                <a:spcPct val="0"/>
              </a:spcBef>
              <a:spcAft>
                <a:spcPts val="1600"/>
              </a:spcAft>
              <a:defRPr/>
            </a:pPr>
            <a:r>
              <a:rPr lang="en-GB" sz="1200" kern="0" noProof="1">
                <a:solidFill>
                  <a:srgbClr val="14284A"/>
                </a:solidFill>
                <a:latin typeface="CiscoSansTT ExtraLight"/>
                <a:ea typeface="ＭＳ Ｐゴシック" charset="0"/>
                <a:cs typeface="Calibri" pitchFamily="34" charset="0"/>
                <a:sym typeface="Arial"/>
              </a:rPr>
              <a:t>Security</a:t>
            </a:r>
          </a:p>
        </p:txBody>
      </p:sp>
      <p:sp>
        <p:nvSpPr>
          <p:cNvPr id="176" name="Text Box 56" descr="© INSCALE GmbH, 26.05.2010&#10;http://www.presentationload.com/">
            <a:extLst>
              <a:ext uri="{FF2B5EF4-FFF2-40B4-BE49-F238E27FC236}">
                <a16:creationId xmlns:a16="http://schemas.microsoft.com/office/drawing/2014/main" id="{23FEF0C4-3644-4155-B15E-9C1717F338BE}"/>
              </a:ext>
            </a:extLst>
          </p:cNvPr>
          <p:cNvSpPr txBox="1">
            <a:spLocks noChangeArrowheads="1"/>
          </p:cNvSpPr>
          <p:nvPr/>
        </p:nvSpPr>
        <p:spPr bwMode="gray">
          <a:xfrm>
            <a:off x="7040181" y="3249957"/>
            <a:ext cx="911264" cy="27475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anchor="ctr" anchorCtr="0">
            <a:noAutofit/>
          </a:bodyPr>
          <a:lstStyle/>
          <a:p>
            <a:pPr defTabSz="609539" fontAlgn="base">
              <a:lnSpc>
                <a:spcPct val="110000"/>
              </a:lnSpc>
              <a:spcBef>
                <a:spcPct val="0"/>
              </a:spcBef>
              <a:spcAft>
                <a:spcPts val="1600"/>
              </a:spcAft>
              <a:defRPr/>
            </a:pPr>
            <a:r>
              <a:rPr lang="en-GB" sz="1200" kern="0" noProof="1">
                <a:solidFill>
                  <a:srgbClr val="14284A"/>
                </a:solidFill>
                <a:latin typeface="CiscoSansTT ExtraLight"/>
                <a:ea typeface="ＭＳ Ｐゴシック" charset="0"/>
                <a:cs typeface="Calibri" pitchFamily="34" charset="0"/>
                <a:sym typeface="Arial"/>
              </a:rPr>
              <a:t>Collaboration</a:t>
            </a:r>
          </a:p>
        </p:txBody>
      </p:sp>
      <p:grpSp>
        <p:nvGrpSpPr>
          <p:cNvPr id="177" name="Group 176">
            <a:extLst>
              <a:ext uri="{FF2B5EF4-FFF2-40B4-BE49-F238E27FC236}">
                <a16:creationId xmlns:a16="http://schemas.microsoft.com/office/drawing/2014/main" id="{545D3D67-7DC8-4CAA-9694-19865AC012DC}"/>
              </a:ext>
            </a:extLst>
          </p:cNvPr>
          <p:cNvGrpSpPr/>
          <p:nvPr/>
        </p:nvGrpSpPr>
        <p:grpSpPr>
          <a:xfrm>
            <a:off x="6670167" y="2645028"/>
            <a:ext cx="360000" cy="360000"/>
            <a:chOff x="6918261" y="2257487"/>
            <a:chExt cx="535516" cy="535516"/>
          </a:xfrm>
        </p:grpSpPr>
        <p:sp>
          <p:nvSpPr>
            <p:cNvPr id="178" name="Oval 177">
              <a:extLst>
                <a:ext uri="{FF2B5EF4-FFF2-40B4-BE49-F238E27FC236}">
                  <a16:creationId xmlns:a16="http://schemas.microsoft.com/office/drawing/2014/main" id="{FEE2DA05-3936-47F3-A599-02FD8955441D}"/>
                </a:ext>
              </a:extLst>
            </p:cNvPr>
            <p:cNvSpPr/>
            <p:nvPr/>
          </p:nvSpPr>
          <p:spPr>
            <a:xfrm>
              <a:off x="6918261" y="2257487"/>
              <a:ext cx="535516" cy="535516"/>
            </a:xfrm>
            <a:prstGeom prst="ellipse">
              <a:avLst/>
            </a:prstGeom>
            <a:solidFill>
              <a:srgbClr val="F5F6F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609570" fontAlgn="base">
                <a:spcBef>
                  <a:spcPct val="0"/>
                </a:spcBef>
                <a:spcAft>
                  <a:spcPts val="600"/>
                </a:spcAft>
                <a:defRPr/>
              </a:pPr>
              <a:endParaRPr lang="en-US" sz="1100">
                <a:solidFill>
                  <a:srgbClr val="FFFFFF"/>
                </a:solidFill>
                <a:latin typeface="CiscoSansTT ExtraLight"/>
              </a:endParaRPr>
            </a:p>
          </p:txBody>
        </p:sp>
        <p:pic>
          <p:nvPicPr>
            <p:cNvPr id="179" name="Graphic 178">
              <a:extLst>
                <a:ext uri="{FF2B5EF4-FFF2-40B4-BE49-F238E27FC236}">
                  <a16:creationId xmlns:a16="http://schemas.microsoft.com/office/drawing/2014/main" id="{7A8CCC9A-4E17-4634-AECE-F55FF9ACD4E4}"/>
                </a:ext>
              </a:extLst>
            </p:cNvPr>
            <p:cNvPicPr>
              <a:picLocks noChangeAspect="1"/>
            </p:cNvPicPr>
            <p:nvPr/>
          </p:nvPicPr>
          <p:blipFill>
            <a:blip r:embed="rId22">
              <a:extLst>
                <a:ext uri="{96DAC541-7B7A-43D3-8B79-37D633B846F1}">
                  <asvg:svgBlip xmlns:asvg="http://schemas.microsoft.com/office/drawing/2016/SVG/main" r:embed="rId23"/>
                </a:ext>
              </a:extLst>
            </a:blip>
            <a:stretch>
              <a:fillRect/>
            </a:stretch>
          </p:blipFill>
          <p:spPr>
            <a:xfrm>
              <a:off x="6948319" y="2287545"/>
              <a:ext cx="475400" cy="475400"/>
            </a:xfrm>
            <a:prstGeom prst="rect">
              <a:avLst/>
            </a:prstGeom>
          </p:spPr>
        </p:pic>
      </p:grpSp>
      <p:grpSp>
        <p:nvGrpSpPr>
          <p:cNvPr id="180" name="Group 179">
            <a:extLst>
              <a:ext uri="{FF2B5EF4-FFF2-40B4-BE49-F238E27FC236}">
                <a16:creationId xmlns:a16="http://schemas.microsoft.com/office/drawing/2014/main" id="{54561C08-2536-470C-8F3B-70679A668676}"/>
              </a:ext>
            </a:extLst>
          </p:cNvPr>
          <p:cNvGrpSpPr/>
          <p:nvPr/>
        </p:nvGrpSpPr>
        <p:grpSpPr>
          <a:xfrm>
            <a:off x="6670167" y="3232791"/>
            <a:ext cx="360000" cy="360000"/>
            <a:chOff x="6449507" y="3119953"/>
            <a:chExt cx="535516" cy="535516"/>
          </a:xfrm>
        </p:grpSpPr>
        <p:sp>
          <p:nvSpPr>
            <p:cNvPr id="181" name="Oval 180">
              <a:extLst>
                <a:ext uri="{FF2B5EF4-FFF2-40B4-BE49-F238E27FC236}">
                  <a16:creationId xmlns:a16="http://schemas.microsoft.com/office/drawing/2014/main" id="{DEF50A3C-82FC-4082-BFF8-572DAAAE6045}"/>
                </a:ext>
              </a:extLst>
            </p:cNvPr>
            <p:cNvSpPr/>
            <p:nvPr/>
          </p:nvSpPr>
          <p:spPr>
            <a:xfrm>
              <a:off x="6449507" y="3119953"/>
              <a:ext cx="535516" cy="535516"/>
            </a:xfrm>
            <a:prstGeom prst="ellipse">
              <a:avLst/>
            </a:prstGeom>
            <a:solidFill>
              <a:srgbClr val="F5F6F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609570" fontAlgn="base">
                <a:spcBef>
                  <a:spcPct val="0"/>
                </a:spcBef>
                <a:spcAft>
                  <a:spcPts val="600"/>
                </a:spcAft>
                <a:defRPr/>
              </a:pPr>
              <a:endParaRPr lang="en-US" sz="1100">
                <a:solidFill>
                  <a:srgbClr val="FFFFFF"/>
                </a:solidFill>
                <a:latin typeface="CiscoSansTT ExtraLight"/>
              </a:endParaRPr>
            </a:p>
          </p:txBody>
        </p:sp>
        <p:pic>
          <p:nvPicPr>
            <p:cNvPr id="182" name="Graphic 181">
              <a:extLst>
                <a:ext uri="{FF2B5EF4-FFF2-40B4-BE49-F238E27FC236}">
                  <a16:creationId xmlns:a16="http://schemas.microsoft.com/office/drawing/2014/main" id="{AB44FFC6-BE05-4466-A4DA-555BAE58387A}"/>
                </a:ext>
              </a:extLst>
            </p:cNvPr>
            <p:cNvPicPr>
              <a:picLocks noChangeAspect="1"/>
            </p:cNvPicPr>
            <p:nvPr/>
          </p:nvPicPr>
          <p:blipFill>
            <a:blip r:embed="rId24">
              <a:extLst>
                <a:ext uri="{96DAC541-7B7A-43D3-8B79-37D633B846F1}">
                  <asvg:svgBlip xmlns:asvg="http://schemas.microsoft.com/office/drawing/2016/SVG/main" r:embed="rId25"/>
                </a:ext>
              </a:extLst>
            </a:blip>
            <a:stretch>
              <a:fillRect/>
            </a:stretch>
          </p:blipFill>
          <p:spPr>
            <a:xfrm>
              <a:off x="6479665" y="3150111"/>
              <a:ext cx="475200" cy="475200"/>
            </a:xfrm>
            <a:prstGeom prst="rect">
              <a:avLst/>
            </a:prstGeom>
          </p:spPr>
        </p:pic>
      </p:grpSp>
      <p:grpSp>
        <p:nvGrpSpPr>
          <p:cNvPr id="183" name="Group 182">
            <a:extLst>
              <a:ext uri="{FF2B5EF4-FFF2-40B4-BE49-F238E27FC236}">
                <a16:creationId xmlns:a16="http://schemas.microsoft.com/office/drawing/2014/main" id="{08C3CE63-06AE-496E-9F3E-15F07A42DA87}"/>
              </a:ext>
            </a:extLst>
          </p:cNvPr>
          <p:cNvGrpSpPr/>
          <p:nvPr/>
        </p:nvGrpSpPr>
        <p:grpSpPr>
          <a:xfrm>
            <a:off x="5344439" y="3232791"/>
            <a:ext cx="360000" cy="360000"/>
            <a:chOff x="4375404" y="3179234"/>
            <a:chExt cx="535516" cy="535516"/>
          </a:xfrm>
        </p:grpSpPr>
        <p:sp>
          <p:nvSpPr>
            <p:cNvPr id="184" name="Oval 183">
              <a:extLst>
                <a:ext uri="{FF2B5EF4-FFF2-40B4-BE49-F238E27FC236}">
                  <a16:creationId xmlns:a16="http://schemas.microsoft.com/office/drawing/2014/main" id="{5047ACBD-5C19-4CD8-8BA0-3C1E1F320653}"/>
                </a:ext>
              </a:extLst>
            </p:cNvPr>
            <p:cNvSpPr/>
            <p:nvPr/>
          </p:nvSpPr>
          <p:spPr>
            <a:xfrm>
              <a:off x="4375404" y="3179234"/>
              <a:ext cx="535516" cy="535516"/>
            </a:xfrm>
            <a:prstGeom prst="ellipse">
              <a:avLst/>
            </a:prstGeom>
            <a:solidFill>
              <a:srgbClr val="F5F6F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609570" fontAlgn="base">
                <a:spcBef>
                  <a:spcPct val="0"/>
                </a:spcBef>
                <a:spcAft>
                  <a:spcPts val="600"/>
                </a:spcAft>
                <a:defRPr/>
              </a:pPr>
              <a:endParaRPr lang="en-US" sz="1100">
                <a:solidFill>
                  <a:srgbClr val="FFFFFF"/>
                </a:solidFill>
                <a:latin typeface="CiscoSansTT ExtraLight"/>
              </a:endParaRPr>
            </a:p>
          </p:txBody>
        </p:sp>
        <p:pic>
          <p:nvPicPr>
            <p:cNvPr id="185" name="Graphic 184">
              <a:extLst>
                <a:ext uri="{FF2B5EF4-FFF2-40B4-BE49-F238E27FC236}">
                  <a16:creationId xmlns:a16="http://schemas.microsoft.com/office/drawing/2014/main" id="{98A89C5E-C8D1-436A-A55A-C2FE43B78D89}"/>
                </a:ext>
              </a:extLst>
            </p:cNvPr>
            <p:cNvPicPr>
              <a:picLocks noChangeAspect="1"/>
            </p:cNvPicPr>
            <p:nvPr/>
          </p:nvPicPr>
          <p:blipFill>
            <a:blip r:embed="rId26">
              <a:extLst>
                <a:ext uri="{96DAC541-7B7A-43D3-8B79-37D633B846F1}">
                  <asvg:svgBlip xmlns:asvg="http://schemas.microsoft.com/office/drawing/2016/SVG/main" r:embed="rId27"/>
                </a:ext>
              </a:extLst>
            </a:blip>
            <a:stretch>
              <a:fillRect/>
            </a:stretch>
          </p:blipFill>
          <p:spPr>
            <a:xfrm>
              <a:off x="4405562" y="3209392"/>
              <a:ext cx="475200" cy="475200"/>
            </a:xfrm>
            <a:prstGeom prst="rect">
              <a:avLst/>
            </a:prstGeom>
          </p:spPr>
        </p:pic>
      </p:grpSp>
      <p:grpSp>
        <p:nvGrpSpPr>
          <p:cNvPr id="186" name="Group 185">
            <a:extLst>
              <a:ext uri="{FF2B5EF4-FFF2-40B4-BE49-F238E27FC236}">
                <a16:creationId xmlns:a16="http://schemas.microsoft.com/office/drawing/2014/main" id="{95E44ABD-CAEB-49FB-ABC7-C7F549719EFB}"/>
              </a:ext>
            </a:extLst>
          </p:cNvPr>
          <p:cNvGrpSpPr/>
          <p:nvPr/>
        </p:nvGrpSpPr>
        <p:grpSpPr>
          <a:xfrm>
            <a:off x="5344439" y="2645028"/>
            <a:ext cx="360000" cy="360000"/>
            <a:chOff x="4527961" y="2105879"/>
            <a:chExt cx="535516" cy="535516"/>
          </a:xfrm>
        </p:grpSpPr>
        <p:sp>
          <p:nvSpPr>
            <p:cNvPr id="187" name="Oval 186">
              <a:extLst>
                <a:ext uri="{FF2B5EF4-FFF2-40B4-BE49-F238E27FC236}">
                  <a16:creationId xmlns:a16="http://schemas.microsoft.com/office/drawing/2014/main" id="{54EFC505-17E6-4E12-9F2B-AD2FB3E608C6}"/>
                </a:ext>
              </a:extLst>
            </p:cNvPr>
            <p:cNvSpPr/>
            <p:nvPr/>
          </p:nvSpPr>
          <p:spPr>
            <a:xfrm>
              <a:off x="4527961" y="2105879"/>
              <a:ext cx="535516" cy="535516"/>
            </a:xfrm>
            <a:prstGeom prst="ellipse">
              <a:avLst/>
            </a:prstGeom>
            <a:solidFill>
              <a:srgbClr val="F5F6F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609570" fontAlgn="base">
                <a:spcBef>
                  <a:spcPct val="0"/>
                </a:spcBef>
                <a:spcAft>
                  <a:spcPts val="600"/>
                </a:spcAft>
                <a:defRPr/>
              </a:pPr>
              <a:endParaRPr lang="en-US" sz="1100">
                <a:solidFill>
                  <a:srgbClr val="FFFFFF"/>
                </a:solidFill>
                <a:latin typeface="CiscoSansTT ExtraLight"/>
              </a:endParaRPr>
            </a:p>
          </p:txBody>
        </p:sp>
        <p:pic>
          <p:nvPicPr>
            <p:cNvPr id="188" name="Graphic 187">
              <a:extLst>
                <a:ext uri="{FF2B5EF4-FFF2-40B4-BE49-F238E27FC236}">
                  <a16:creationId xmlns:a16="http://schemas.microsoft.com/office/drawing/2014/main" id="{34A63490-8995-4CBE-9C6F-E52AB181E8A0}"/>
                </a:ext>
              </a:extLst>
            </p:cNvPr>
            <p:cNvPicPr>
              <a:picLocks noChangeAspect="1"/>
            </p:cNvPicPr>
            <p:nvPr/>
          </p:nvPicPr>
          <p:blipFill>
            <a:blip r:embed="rId28">
              <a:extLst>
                <a:ext uri="{96DAC541-7B7A-43D3-8B79-37D633B846F1}">
                  <asvg:svgBlip xmlns:asvg="http://schemas.microsoft.com/office/drawing/2016/SVG/main" r:embed="rId29"/>
                </a:ext>
              </a:extLst>
            </a:blip>
            <a:stretch>
              <a:fillRect/>
            </a:stretch>
          </p:blipFill>
          <p:spPr>
            <a:xfrm flipH="1">
              <a:off x="4558119" y="2136037"/>
              <a:ext cx="475200" cy="475200"/>
            </a:xfrm>
            <a:prstGeom prst="rect">
              <a:avLst/>
            </a:prstGeom>
          </p:spPr>
        </p:pic>
      </p:grpSp>
      <p:sp>
        <p:nvSpPr>
          <p:cNvPr id="108" name="Rounded Rectangle 143">
            <a:extLst>
              <a:ext uri="{FF2B5EF4-FFF2-40B4-BE49-F238E27FC236}">
                <a16:creationId xmlns:a16="http://schemas.microsoft.com/office/drawing/2014/main" id="{7AB95588-5874-4253-BACB-15D9EE573F37}"/>
              </a:ext>
            </a:extLst>
          </p:cNvPr>
          <p:cNvSpPr/>
          <p:nvPr/>
        </p:nvSpPr>
        <p:spPr>
          <a:xfrm>
            <a:off x="5101737" y="4444257"/>
            <a:ext cx="1440881" cy="619575"/>
          </a:xfrm>
          <a:prstGeom prst="roundRect">
            <a:avLst>
              <a:gd name="adj" fmla="val 24053"/>
            </a:avLst>
          </a:prstGeom>
          <a:noFill/>
          <a:ln w="12700" cap="rnd">
            <a:solidFill>
              <a:schemeClr val="accent2"/>
            </a:solidFill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40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defRPr/>
            </a:pPr>
            <a:endParaRPr lang="en-US" sz="1867" kern="0">
              <a:solidFill>
                <a:srgbClr val="005073"/>
              </a:solidFill>
              <a:latin typeface="CiscoSansTT ExtraLight"/>
              <a:sym typeface="Arial"/>
            </a:endParaRPr>
          </a:p>
        </p:txBody>
      </p:sp>
      <p:sp>
        <p:nvSpPr>
          <p:cNvPr id="109" name="Text Box 56" descr="© INSCALE GmbH, 26.05.2010&#10;http://www.presentationload.com/">
            <a:extLst>
              <a:ext uri="{FF2B5EF4-FFF2-40B4-BE49-F238E27FC236}">
                <a16:creationId xmlns:a16="http://schemas.microsoft.com/office/drawing/2014/main" id="{F87694C0-C674-49A7-8CEB-1A4456C928D6}"/>
              </a:ext>
            </a:extLst>
          </p:cNvPr>
          <p:cNvSpPr txBox="1">
            <a:spLocks noChangeArrowheads="1"/>
          </p:cNvSpPr>
          <p:nvPr/>
        </p:nvSpPr>
        <p:spPr bwMode="gray">
          <a:xfrm>
            <a:off x="5711206" y="4558021"/>
            <a:ext cx="759633" cy="4052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anchor="ctr" anchorCtr="0">
            <a:noAutofit/>
          </a:bodyPr>
          <a:lstStyle/>
          <a:p>
            <a:pPr defTabSz="609539" fontAlgn="base">
              <a:lnSpc>
                <a:spcPct val="110000"/>
              </a:lnSpc>
              <a:spcBef>
                <a:spcPct val="0"/>
              </a:spcBef>
              <a:spcAft>
                <a:spcPts val="1600"/>
              </a:spcAft>
              <a:defRPr/>
            </a:pPr>
            <a:r>
              <a:rPr lang="en-GB" sz="1200" kern="0" noProof="1">
                <a:solidFill>
                  <a:srgbClr val="14284A"/>
                </a:solidFill>
                <a:latin typeface="CiscoSansTT ExtraLight"/>
                <a:ea typeface="ＭＳ Ｐゴシック" charset="0"/>
                <a:cs typeface="Calibri" pitchFamily="34" charset="0"/>
                <a:sym typeface="Arial"/>
              </a:rPr>
              <a:t>Core networking</a:t>
            </a:r>
          </a:p>
        </p:txBody>
      </p:sp>
      <p:sp>
        <p:nvSpPr>
          <p:cNvPr id="110" name="Text Box 56" descr="© INSCALE GmbH, 26.05.2010&#10;http://www.presentationload.com/">
            <a:extLst>
              <a:ext uri="{FF2B5EF4-FFF2-40B4-BE49-F238E27FC236}">
                <a16:creationId xmlns:a16="http://schemas.microsoft.com/office/drawing/2014/main" id="{317575E2-9724-4FA5-AFC6-DCCE8DD8E9E6}"/>
              </a:ext>
            </a:extLst>
          </p:cNvPr>
          <p:cNvSpPr txBox="1">
            <a:spLocks noChangeArrowheads="1"/>
          </p:cNvSpPr>
          <p:nvPr/>
        </p:nvSpPr>
        <p:spPr bwMode="gray">
          <a:xfrm>
            <a:off x="5711207" y="5213370"/>
            <a:ext cx="811136" cy="3376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anchor="ctr" anchorCtr="0">
            <a:noAutofit/>
          </a:bodyPr>
          <a:lstStyle/>
          <a:p>
            <a:pPr defTabSz="609539" fontAlgn="base">
              <a:lnSpc>
                <a:spcPct val="110000"/>
              </a:lnSpc>
              <a:spcBef>
                <a:spcPct val="0"/>
              </a:spcBef>
              <a:spcAft>
                <a:spcPts val="1600"/>
              </a:spcAft>
              <a:defRPr/>
            </a:pPr>
            <a:r>
              <a:rPr lang="en-GB" sz="1200" kern="0" noProof="1">
                <a:solidFill>
                  <a:srgbClr val="14284A"/>
                </a:solidFill>
                <a:latin typeface="CiscoSansTT ExtraLight"/>
                <a:ea typeface="ＭＳ Ｐゴシック" charset="0"/>
                <a:cs typeface="Calibri" pitchFamily="34" charset="0"/>
                <a:sym typeface="Arial"/>
              </a:rPr>
              <a:t>Data center</a:t>
            </a:r>
          </a:p>
        </p:txBody>
      </p:sp>
      <p:sp>
        <p:nvSpPr>
          <p:cNvPr id="111" name="Text Box 56" descr="© INSCALE GmbH, 26.05.2010&#10;http://www.presentationload.com/">
            <a:extLst>
              <a:ext uri="{FF2B5EF4-FFF2-40B4-BE49-F238E27FC236}">
                <a16:creationId xmlns:a16="http://schemas.microsoft.com/office/drawing/2014/main" id="{5F4CA91F-A7C0-4F86-864F-3CBE6DEDA6DB}"/>
              </a:ext>
            </a:extLst>
          </p:cNvPr>
          <p:cNvSpPr txBox="1">
            <a:spLocks noChangeArrowheads="1"/>
          </p:cNvSpPr>
          <p:nvPr/>
        </p:nvSpPr>
        <p:spPr bwMode="gray">
          <a:xfrm>
            <a:off x="7080341" y="4640607"/>
            <a:ext cx="655131" cy="246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anchor="ctr" anchorCtr="0">
            <a:noAutofit/>
          </a:bodyPr>
          <a:lstStyle/>
          <a:p>
            <a:pPr defTabSz="609539" fontAlgn="base">
              <a:lnSpc>
                <a:spcPct val="110000"/>
              </a:lnSpc>
              <a:spcBef>
                <a:spcPct val="0"/>
              </a:spcBef>
              <a:spcAft>
                <a:spcPts val="1600"/>
              </a:spcAft>
              <a:defRPr/>
            </a:pPr>
            <a:r>
              <a:rPr lang="en-GB" sz="1200" kern="0" noProof="1">
                <a:solidFill>
                  <a:srgbClr val="14284A"/>
                </a:solidFill>
                <a:latin typeface="CiscoSansTT ExtraLight"/>
                <a:ea typeface="ＭＳ Ｐゴシック" charset="0"/>
                <a:cs typeface="Calibri" pitchFamily="34" charset="0"/>
                <a:sym typeface="Arial"/>
              </a:rPr>
              <a:t>Security</a:t>
            </a:r>
          </a:p>
        </p:txBody>
      </p:sp>
      <p:sp>
        <p:nvSpPr>
          <p:cNvPr id="112" name="Text Box 56" descr="© INSCALE GmbH, 26.05.2010&#10;http://www.presentationload.com/">
            <a:extLst>
              <a:ext uri="{FF2B5EF4-FFF2-40B4-BE49-F238E27FC236}">
                <a16:creationId xmlns:a16="http://schemas.microsoft.com/office/drawing/2014/main" id="{21653CF2-A2CD-49B7-9276-B8F750D2DF7E}"/>
              </a:ext>
            </a:extLst>
          </p:cNvPr>
          <p:cNvSpPr txBox="1">
            <a:spLocks noChangeArrowheads="1"/>
          </p:cNvSpPr>
          <p:nvPr/>
        </p:nvSpPr>
        <p:spPr bwMode="gray">
          <a:xfrm>
            <a:off x="7046273" y="5168178"/>
            <a:ext cx="917091" cy="2945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anchor="ctr" anchorCtr="0">
            <a:noAutofit/>
          </a:bodyPr>
          <a:lstStyle/>
          <a:p>
            <a:pPr defTabSz="609539" fontAlgn="base">
              <a:lnSpc>
                <a:spcPct val="110000"/>
              </a:lnSpc>
              <a:spcBef>
                <a:spcPct val="0"/>
              </a:spcBef>
              <a:spcAft>
                <a:spcPts val="1600"/>
              </a:spcAft>
              <a:defRPr/>
            </a:pPr>
            <a:r>
              <a:rPr lang="en-GB" sz="1200" kern="0" noProof="1">
                <a:solidFill>
                  <a:srgbClr val="14284A"/>
                </a:solidFill>
                <a:latin typeface="CiscoSansTT ExtraLight"/>
                <a:ea typeface="ＭＳ Ｐゴシック" charset="0"/>
                <a:cs typeface="Calibri" pitchFamily="34" charset="0"/>
                <a:sym typeface="Arial"/>
              </a:rPr>
              <a:t>Collaboration</a:t>
            </a:r>
          </a:p>
        </p:txBody>
      </p:sp>
      <p:grpSp>
        <p:nvGrpSpPr>
          <p:cNvPr id="113" name="Group 112">
            <a:extLst>
              <a:ext uri="{FF2B5EF4-FFF2-40B4-BE49-F238E27FC236}">
                <a16:creationId xmlns:a16="http://schemas.microsoft.com/office/drawing/2014/main" id="{80F6A1C6-DF7E-46CE-8217-17F46CA63927}"/>
              </a:ext>
            </a:extLst>
          </p:cNvPr>
          <p:cNvGrpSpPr/>
          <p:nvPr/>
        </p:nvGrpSpPr>
        <p:grpSpPr>
          <a:xfrm>
            <a:off x="6670167" y="4580415"/>
            <a:ext cx="360000" cy="360000"/>
            <a:chOff x="6918261" y="2257487"/>
            <a:chExt cx="535516" cy="535516"/>
          </a:xfrm>
        </p:grpSpPr>
        <p:sp>
          <p:nvSpPr>
            <p:cNvPr id="136" name="Oval 135">
              <a:extLst>
                <a:ext uri="{FF2B5EF4-FFF2-40B4-BE49-F238E27FC236}">
                  <a16:creationId xmlns:a16="http://schemas.microsoft.com/office/drawing/2014/main" id="{3BFA41CA-68A1-49A6-B9AA-212FBFFE277C}"/>
                </a:ext>
              </a:extLst>
            </p:cNvPr>
            <p:cNvSpPr/>
            <p:nvPr/>
          </p:nvSpPr>
          <p:spPr>
            <a:xfrm>
              <a:off x="6918261" y="2257487"/>
              <a:ext cx="535516" cy="535516"/>
            </a:xfrm>
            <a:prstGeom prst="ellipse">
              <a:avLst/>
            </a:prstGeom>
            <a:solidFill>
              <a:srgbClr val="F5F6F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609570" fontAlgn="base">
                <a:spcBef>
                  <a:spcPct val="0"/>
                </a:spcBef>
                <a:spcAft>
                  <a:spcPts val="600"/>
                </a:spcAft>
                <a:defRPr/>
              </a:pPr>
              <a:endParaRPr lang="en-US" sz="1100">
                <a:solidFill>
                  <a:srgbClr val="FFFFFF"/>
                </a:solidFill>
                <a:latin typeface="CiscoSansTT ExtraLight"/>
              </a:endParaRPr>
            </a:p>
          </p:txBody>
        </p:sp>
        <p:pic>
          <p:nvPicPr>
            <p:cNvPr id="137" name="Graphic 136">
              <a:extLst>
                <a:ext uri="{FF2B5EF4-FFF2-40B4-BE49-F238E27FC236}">
                  <a16:creationId xmlns:a16="http://schemas.microsoft.com/office/drawing/2014/main" id="{67E88D99-94FA-4E6F-9223-81631DD30EC3}"/>
                </a:ext>
              </a:extLst>
            </p:cNvPr>
            <p:cNvPicPr>
              <a:picLocks noChangeAspect="1"/>
            </p:cNvPicPr>
            <p:nvPr/>
          </p:nvPicPr>
          <p:blipFill>
            <a:blip r:embed="rId22">
              <a:extLst>
                <a:ext uri="{96DAC541-7B7A-43D3-8B79-37D633B846F1}">
                  <asvg:svgBlip xmlns:asvg="http://schemas.microsoft.com/office/drawing/2016/SVG/main" r:embed="rId23"/>
                </a:ext>
              </a:extLst>
            </a:blip>
            <a:stretch>
              <a:fillRect/>
            </a:stretch>
          </p:blipFill>
          <p:spPr>
            <a:xfrm>
              <a:off x="6948319" y="2287545"/>
              <a:ext cx="475400" cy="475400"/>
            </a:xfrm>
            <a:prstGeom prst="rect">
              <a:avLst/>
            </a:prstGeom>
          </p:spPr>
        </p:pic>
      </p:grpSp>
      <p:grpSp>
        <p:nvGrpSpPr>
          <p:cNvPr id="114" name="Group 113">
            <a:extLst>
              <a:ext uri="{FF2B5EF4-FFF2-40B4-BE49-F238E27FC236}">
                <a16:creationId xmlns:a16="http://schemas.microsoft.com/office/drawing/2014/main" id="{7EF6C3B6-8B15-49E2-90C6-5113BD52421C}"/>
              </a:ext>
            </a:extLst>
          </p:cNvPr>
          <p:cNvGrpSpPr/>
          <p:nvPr/>
        </p:nvGrpSpPr>
        <p:grpSpPr>
          <a:xfrm>
            <a:off x="6670167" y="5168177"/>
            <a:ext cx="360000" cy="360000"/>
            <a:chOff x="6449507" y="3119953"/>
            <a:chExt cx="535516" cy="535516"/>
          </a:xfrm>
        </p:grpSpPr>
        <p:sp>
          <p:nvSpPr>
            <p:cNvPr id="121" name="Oval 120">
              <a:extLst>
                <a:ext uri="{FF2B5EF4-FFF2-40B4-BE49-F238E27FC236}">
                  <a16:creationId xmlns:a16="http://schemas.microsoft.com/office/drawing/2014/main" id="{9A5EFC45-4177-41E9-8660-9807C363856E}"/>
                </a:ext>
              </a:extLst>
            </p:cNvPr>
            <p:cNvSpPr/>
            <p:nvPr/>
          </p:nvSpPr>
          <p:spPr>
            <a:xfrm>
              <a:off x="6449507" y="3119953"/>
              <a:ext cx="535516" cy="535516"/>
            </a:xfrm>
            <a:prstGeom prst="ellipse">
              <a:avLst/>
            </a:prstGeom>
            <a:solidFill>
              <a:srgbClr val="F5F6F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609570" fontAlgn="base">
                <a:spcBef>
                  <a:spcPct val="0"/>
                </a:spcBef>
                <a:spcAft>
                  <a:spcPts val="600"/>
                </a:spcAft>
                <a:defRPr/>
              </a:pPr>
              <a:endParaRPr lang="en-US" sz="1100">
                <a:solidFill>
                  <a:srgbClr val="FFFFFF"/>
                </a:solidFill>
                <a:latin typeface="CiscoSansTT ExtraLight"/>
              </a:endParaRPr>
            </a:p>
          </p:txBody>
        </p:sp>
        <p:pic>
          <p:nvPicPr>
            <p:cNvPr id="122" name="Graphic 121">
              <a:extLst>
                <a:ext uri="{FF2B5EF4-FFF2-40B4-BE49-F238E27FC236}">
                  <a16:creationId xmlns:a16="http://schemas.microsoft.com/office/drawing/2014/main" id="{033D07AD-8346-4E95-9B3F-08E4A6AE8E87}"/>
                </a:ext>
              </a:extLst>
            </p:cNvPr>
            <p:cNvPicPr>
              <a:picLocks noChangeAspect="1"/>
            </p:cNvPicPr>
            <p:nvPr/>
          </p:nvPicPr>
          <p:blipFill>
            <a:blip r:embed="rId24">
              <a:extLst>
                <a:ext uri="{96DAC541-7B7A-43D3-8B79-37D633B846F1}">
                  <asvg:svgBlip xmlns:asvg="http://schemas.microsoft.com/office/drawing/2016/SVG/main" r:embed="rId25"/>
                </a:ext>
              </a:extLst>
            </a:blip>
            <a:stretch>
              <a:fillRect/>
            </a:stretch>
          </p:blipFill>
          <p:spPr>
            <a:xfrm>
              <a:off x="6479665" y="3150111"/>
              <a:ext cx="475200" cy="475200"/>
            </a:xfrm>
            <a:prstGeom prst="rect">
              <a:avLst/>
            </a:prstGeom>
          </p:spPr>
        </p:pic>
      </p:grpSp>
      <p:grpSp>
        <p:nvGrpSpPr>
          <p:cNvPr id="115" name="Group 114">
            <a:extLst>
              <a:ext uri="{FF2B5EF4-FFF2-40B4-BE49-F238E27FC236}">
                <a16:creationId xmlns:a16="http://schemas.microsoft.com/office/drawing/2014/main" id="{356E04E2-39C9-4A8F-AB33-DD2CD553DA51}"/>
              </a:ext>
            </a:extLst>
          </p:cNvPr>
          <p:cNvGrpSpPr/>
          <p:nvPr/>
        </p:nvGrpSpPr>
        <p:grpSpPr>
          <a:xfrm>
            <a:off x="5287432" y="5168177"/>
            <a:ext cx="360000" cy="360000"/>
            <a:chOff x="4375404" y="3179234"/>
            <a:chExt cx="535516" cy="535516"/>
          </a:xfrm>
        </p:grpSpPr>
        <p:sp>
          <p:nvSpPr>
            <p:cNvPr id="119" name="Oval 118">
              <a:extLst>
                <a:ext uri="{FF2B5EF4-FFF2-40B4-BE49-F238E27FC236}">
                  <a16:creationId xmlns:a16="http://schemas.microsoft.com/office/drawing/2014/main" id="{856FAFCC-AD63-4856-A47A-75C595E564A5}"/>
                </a:ext>
              </a:extLst>
            </p:cNvPr>
            <p:cNvSpPr/>
            <p:nvPr/>
          </p:nvSpPr>
          <p:spPr>
            <a:xfrm>
              <a:off x="4375404" y="3179234"/>
              <a:ext cx="535516" cy="535516"/>
            </a:xfrm>
            <a:prstGeom prst="ellipse">
              <a:avLst/>
            </a:prstGeom>
            <a:solidFill>
              <a:srgbClr val="F5F6F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609570" fontAlgn="base">
                <a:spcBef>
                  <a:spcPct val="0"/>
                </a:spcBef>
                <a:spcAft>
                  <a:spcPts val="600"/>
                </a:spcAft>
                <a:defRPr/>
              </a:pPr>
              <a:endParaRPr lang="en-US" sz="1100">
                <a:solidFill>
                  <a:srgbClr val="FFFFFF"/>
                </a:solidFill>
                <a:latin typeface="CiscoSansTT ExtraLight"/>
              </a:endParaRPr>
            </a:p>
          </p:txBody>
        </p:sp>
        <p:pic>
          <p:nvPicPr>
            <p:cNvPr id="120" name="Graphic 119">
              <a:extLst>
                <a:ext uri="{FF2B5EF4-FFF2-40B4-BE49-F238E27FC236}">
                  <a16:creationId xmlns:a16="http://schemas.microsoft.com/office/drawing/2014/main" id="{5FA64495-FCF5-446D-B55A-F62570204F2D}"/>
                </a:ext>
              </a:extLst>
            </p:cNvPr>
            <p:cNvPicPr>
              <a:picLocks noChangeAspect="1"/>
            </p:cNvPicPr>
            <p:nvPr/>
          </p:nvPicPr>
          <p:blipFill>
            <a:blip r:embed="rId26">
              <a:extLst>
                <a:ext uri="{96DAC541-7B7A-43D3-8B79-37D633B846F1}">
                  <asvg:svgBlip xmlns:asvg="http://schemas.microsoft.com/office/drawing/2016/SVG/main" r:embed="rId27"/>
                </a:ext>
              </a:extLst>
            </a:blip>
            <a:stretch>
              <a:fillRect/>
            </a:stretch>
          </p:blipFill>
          <p:spPr>
            <a:xfrm>
              <a:off x="4405562" y="3209392"/>
              <a:ext cx="475200" cy="475200"/>
            </a:xfrm>
            <a:prstGeom prst="rect">
              <a:avLst/>
            </a:prstGeom>
          </p:spPr>
        </p:pic>
      </p:grpSp>
      <p:grpSp>
        <p:nvGrpSpPr>
          <p:cNvPr id="116" name="Group 115">
            <a:extLst>
              <a:ext uri="{FF2B5EF4-FFF2-40B4-BE49-F238E27FC236}">
                <a16:creationId xmlns:a16="http://schemas.microsoft.com/office/drawing/2014/main" id="{A13DDC2B-3A2A-4F80-B607-2C1B08646645}"/>
              </a:ext>
            </a:extLst>
          </p:cNvPr>
          <p:cNvGrpSpPr/>
          <p:nvPr/>
        </p:nvGrpSpPr>
        <p:grpSpPr>
          <a:xfrm>
            <a:off x="5287432" y="4580415"/>
            <a:ext cx="360000" cy="360000"/>
            <a:chOff x="4527961" y="2105879"/>
            <a:chExt cx="535516" cy="535516"/>
          </a:xfrm>
        </p:grpSpPr>
        <p:sp>
          <p:nvSpPr>
            <p:cNvPr id="117" name="Oval 116">
              <a:extLst>
                <a:ext uri="{FF2B5EF4-FFF2-40B4-BE49-F238E27FC236}">
                  <a16:creationId xmlns:a16="http://schemas.microsoft.com/office/drawing/2014/main" id="{DBF63436-C728-4574-987D-6B77F9695130}"/>
                </a:ext>
              </a:extLst>
            </p:cNvPr>
            <p:cNvSpPr/>
            <p:nvPr/>
          </p:nvSpPr>
          <p:spPr>
            <a:xfrm>
              <a:off x="4527961" y="2105879"/>
              <a:ext cx="535516" cy="535516"/>
            </a:xfrm>
            <a:prstGeom prst="ellipse">
              <a:avLst/>
            </a:prstGeom>
            <a:solidFill>
              <a:srgbClr val="F5F6F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609570" fontAlgn="base">
                <a:spcBef>
                  <a:spcPct val="0"/>
                </a:spcBef>
                <a:spcAft>
                  <a:spcPts val="600"/>
                </a:spcAft>
                <a:defRPr/>
              </a:pPr>
              <a:endParaRPr lang="en-US" sz="1100">
                <a:solidFill>
                  <a:srgbClr val="FFFFFF"/>
                </a:solidFill>
                <a:latin typeface="CiscoSansTT ExtraLight"/>
              </a:endParaRPr>
            </a:p>
          </p:txBody>
        </p:sp>
        <p:pic>
          <p:nvPicPr>
            <p:cNvPr id="118" name="Graphic 117">
              <a:extLst>
                <a:ext uri="{FF2B5EF4-FFF2-40B4-BE49-F238E27FC236}">
                  <a16:creationId xmlns:a16="http://schemas.microsoft.com/office/drawing/2014/main" id="{71DAB704-33A4-4BE6-B059-EAE6567F5C4F}"/>
                </a:ext>
              </a:extLst>
            </p:cNvPr>
            <p:cNvPicPr>
              <a:picLocks noChangeAspect="1"/>
            </p:cNvPicPr>
            <p:nvPr/>
          </p:nvPicPr>
          <p:blipFill>
            <a:blip r:embed="rId28">
              <a:extLst>
                <a:ext uri="{96DAC541-7B7A-43D3-8B79-37D633B846F1}">
                  <asvg:svgBlip xmlns:asvg="http://schemas.microsoft.com/office/drawing/2016/SVG/main" r:embed="rId29"/>
                </a:ext>
              </a:extLst>
            </a:blip>
            <a:stretch>
              <a:fillRect/>
            </a:stretch>
          </p:blipFill>
          <p:spPr>
            <a:xfrm flipH="1">
              <a:off x="4558119" y="2136037"/>
              <a:ext cx="475200" cy="475200"/>
            </a:xfrm>
            <a:prstGeom prst="rect">
              <a:avLst/>
            </a:prstGeom>
          </p:spPr>
        </p:pic>
      </p:grpSp>
      <p:sp>
        <p:nvSpPr>
          <p:cNvPr id="140" name="Rounded Rectangle 143">
            <a:extLst>
              <a:ext uri="{FF2B5EF4-FFF2-40B4-BE49-F238E27FC236}">
                <a16:creationId xmlns:a16="http://schemas.microsoft.com/office/drawing/2014/main" id="{7ECABA6F-13C9-4F69-85A0-B265CEB9EC1E}"/>
              </a:ext>
            </a:extLst>
          </p:cNvPr>
          <p:cNvSpPr/>
          <p:nvPr/>
        </p:nvSpPr>
        <p:spPr>
          <a:xfrm>
            <a:off x="6542618" y="5050585"/>
            <a:ext cx="1434541" cy="619576"/>
          </a:xfrm>
          <a:prstGeom prst="roundRect">
            <a:avLst>
              <a:gd name="adj" fmla="val 24053"/>
            </a:avLst>
          </a:prstGeom>
          <a:noFill/>
          <a:ln w="12700" cap="rnd">
            <a:solidFill>
              <a:schemeClr val="accent2"/>
            </a:solidFill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40" fontAlgn="base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defRPr/>
            </a:pPr>
            <a:endParaRPr lang="en-US" sz="1867" kern="0">
              <a:solidFill>
                <a:srgbClr val="005073"/>
              </a:solidFill>
              <a:latin typeface="CiscoSansTT ExtraLight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7388892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A91B0D0-AB6B-4566-959E-072C2FBF8A2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Add-Ons</a:t>
            </a:r>
            <a:br>
              <a:rPr lang="en-GB"/>
            </a:br>
            <a:r>
              <a:rPr lang="en-GB" sz="2400">
                <a:solidFill>
                  <a:schemeClr val="accent1"/>
                </a:solidFill>
              </a:rPr>
              <a:t>CX BCS Lifecycle </a:t>
            </a:r>
            <a:br>
              <a:rPr lang="en-GB" sz="2400">
                <a:solidFill>
                  <a:schemeClr val="accent1"/>
                </a:solidFill>
              </a:rPr>
            </a:br>
            <a:r>
              <a:rPr lang="en-GB" sz="2400">
                <a:solidFill>
                  <a:schemeClr val="accent1"/>
                </a:solidFill>
              </a:rPr>
              <a:t>Add-Ons</a:t>
            </a:r>
            <a:endParaRPr lang="en-US" sz="2400">
              <a:solidFill>
                <a:schemeClr val="accent1"/>
              </a:solidFill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9995488F-4E5D-49AD-8CB2-A14A7D35B21B}"/>
              </a:ext>
            </a:extLst>
          </p:cNvPr>
          <p:cNvSpPr txBox="1"/>
          <p:nvPr/>
        </p:nvSpPr>
        <p:spPr>
          <a:xfrm>
            <a:off x="8658630" y="1845814"/>
            <a:ext cx="3105023" cy="3454693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 defTabSz="914377">
              <a:lnSpc>
                <a:spcPct val="110000"/>
              </a:lnSpc>
              <a:spcAft>
                <a:spcPts val="1200"/>
              </a:spcAft>
              <a:buClr>
                <a:srgbClr val="000000"/>
              </a:buClr>
              <a:defRPr/>
            </a:pPr>
            <a:r>
              <a:rPr lang="en-US" sz="1600" kern="0">
                <a:solidFill>
                  <a:srgbClr val="6EBE4A"/>
                </a:solidFill>
                <a:latin typeface="CiscoSansTT Light" panose="020B0503020201020303" pitchFamily="34" charset="0"/>
                <a:ea typeface="ＭＳ Ｐゴシック"/>
                <a:cs typeface="CiscoSansTT Light" panose="020B0503020201020303" pitchFamily="34" charset="0"/>
                <a:sym typeface="Arial"/>
              </a:rPr>
              <a:t>Choose</a:t>
            </a:r>
            <a:r>
              <a:rPr lang="en-US" sz="1600" kern="0">
                <a:solidFill>
                  <a:srgbClr val="14284A"/>
                </a:solidFill>
                <a:latin typeface="CiscoSansTT ExtraLight"/>
                <a:ea typeface="ＭＳ Ｐゴシック"/>
                <a:cs typeface="Arial"/>
                <a:sym typeface="Arial"/>
              </a:rPr>
              <a:t> the experts you need </a:t>
            </a:r>
            <a:br>
              <a:rPr lang="en-US" sz="1600" kern="0">
                <a:solidFill>
                  <a:srgbClr val="14284A"/>
                </a:solidFill>
                <a:latin typeface="CiscoSansTT ExtraLight"/>
                <a:ea typeface="ＭＳ Ｐゴシック"/>
                <a:cs typeface="Arial"/>
                <a:sym typeface="Arial"/>
              </a:rPr>
            </a:br>
            <a:r>
              <a:rPr lang="en-US" sz="1600" kern="0">
                <a:solidFill>
                  <a:srgbClr val="14284A"/>
                </a:solidFill>
                <a:latin typeface="CiscoSansTT ExtraLight"/>
                <a:ea typeface="ＭＳ Ｐゴシック"/>
                <a:cs typeface="Arial"/>
                <a:sym typeface="Arial"/>
              </a:rPr>
              <a:t>to augment your project team:</a:t>
            </a:r>
            <a:endParaRPr lang="en-US" sz="1600" kern="0">
              <a:solidFill>
                <a:srgbClr val="000000"/>
              </a:solidFill>
              <a:latin typeface="CiscoSansTT ExtraLight"/>
              <a:ea typeface="ＭＳ Ｐゴシック" charset="0"/>
              <a:cs typeface="Arial"/>
              <a:sym typeface="Arial"/>
            </a:endParaRPr>
          </a:p>
          <a:p>
            <a:pPr marL="143996" lvl="1" indent="-143996" defTabSz="914377">
              <a:lnSpc>
                <a:spcPct val="110000"/>
              </a:lnSpc>
              <a:spcAft>
                <a:spcPts val="900"/>
              </a:spcAft>
              <a:buClr>
                <a:srgbClr val="6EBE4A"/>
              </a:buClr>
              <a:buSzPct val="75000"/>
              <a:buFont typeface="Arial" panose="020B0604020202020204" pitchFamily="34" charset="0"/>
              <a:buChar char="•"/>
              <a:defRPr/>
            </a:pPr>
            <a:r>
              <a:rPr lang="en-US" sz="1600" kern="0">
                <a:solidFill>
                  <a:srgbClr val="14284A"/>
                </a:solidFill>
                <a:latin typeface="CiscoSansTT ExtraLight"/>
                <a:ea typeface="ＭＳ Ｐゴシック"/>
                <a:cs typeface="Arial"/>
                <a:sym typeface="Arial"/>
              </a:rPr>
              <a:t>Solution architects</a:t>
            </a:r>
          </a:p>
          <a:p>
            <a:pPr marL="143996" lvl="1" indent="-143996" defTabSz="914377">
              <a:lnSpc>
                <a:spcPct val="110000"/>
              </a:lnSpc>
              <a:spcAft>
                <a:spcPts val="900"/>
              </a:spcAft>
              <a:buClr>
                <a:srgbClr val="6EBE4A"/>
              </a:buClr>
              <a:buSzPct val="75000"/>
              <a:buFont typeface="Arial" panose="020B0604020202020204" pitchFamily="34" charset="0"/>
              <a:buChar char="•"/>
              <a:defRPr/>
            </a:pPr>
            <a:r>
              <a:rPr lang="en-US" sz="1600" kern="0">
                <a:solidFill>
                  <a:srgbClr val="14284A"/>
                </a:solidFill>
                <a:latin typeface="CiscoSansTT ExtraLight"/>
                <a:ea typeface="ＭＳ Ｐゴシック"/>
                <a:cs typeface="Arial"/>
                <a:sym typeface="Arial"/>
              </a:rPr>
              <a:t>Consulting engineer</a:t>
            </a:r>
          </a:p>
          <a:p>
            <a:pPr marL="143996" lvl="1" indent="-143996" defTabSz="914377">
              <a:lnSpc>
                <a:spcPct val="110000"/>
              </a:lnSpc>
              <a:spcAft>
                <a:spcPts val="900"/>
              </a:spcAft>
              <a:buClr>
                <a:srgbClr val="6EBE4A"/>
              </a:buClr>
              <a:buSzPct val="75000"/>
              <a:buFont typeface="Arial" panose="020B0604020202020204" pitchFamily="34" charset="0"/>
              <a:buChar char="•"/>
              <a:defRPr/>
            </a:pPr>
            <a:r>
              <a:rPr lang="en-US" sz="1600" kern="0">
                <a:solidFill>
                  <a:srgbClr val="14284A"/>
                </a:solidFill>
                <a:latin typeface="CiscoSansTT ExtraLight"/>
                <a:ea typeface="ＭＳ Ｐゴシック"/>
                <a:cs typeface="Arial"/>
                <a:sym typeface="Arial"/>
              </a:rPr>
              <a:t>Project manager</a:t>
            </a:r>
          </a:p>
          <a:p>
            <a:pPr defTabSz="914377">
              <a:lnSpc>
                <a:spcPct val="110000"/>
              </a:lnSpc>
              <a:spcAft>
                <a:spcPts val="900"/>
              </a:spcAft>
              <a:buClr>
                <a:srgbClr val="000000"/>
              </a:buClr>
              <a:defRPr/>
            </a:pPr>
            <a:endParaRPr lang="en-GB" sz="1400" kern="0">
              <a:solidFill>
                <a:srgbClr val="14284A"/>
              </a:solidFill>
              <a:latin typeface="CiscoSansTT ExtraLight"/>
              <a:ea typeface="ＭＳ Ｐゴシック" charset="0"/>
              <a:cs typeface="Arial"/>
              <a:sym typeface="Arial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7E260C4B-0BA7-4F4C-8E5D-98D43F8F2F4B}"/>
              </a:ext>
            </a:extLst>
          </p:cNvPr>
          <p:cNvSpPr txBox="1"/>
          <p:nvPr/>
        </p:nvSpPr>
        <p:spPr>
          <a:xfrm>
            <a:off x="4523375" y="1845814"/>
            <a:ext cx="3774741" cy="3454693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 defTabSz="914377">
              <a:lnSpc>
                <a:spcPct val="110000"/>
              </a:lnSpc>
              <a:spcAft>
                <a:spcPts val="1800"/>
              </a:spcAft>
              <a:buClr>
                <a:srgbClr val="000000"/>
              </a:buClr>
              <a:defRPr/>
            </a:pPr>
            <a:r>
              <a:rPr lang="en-US" sz="1600" kern="0">
                <a:solidFill>
                  <a:srgbClr val="00BCEB"/>
                </a:solidFill>
                <a:latin typeface="CiscoSansTT Light" panose="020B0503020201020303" pitchFamily="34" charset="0"/>
                <a:ea typeface="ＭＳ Ｐゴシック"/>
                <a:cs typeface="CiscoSansTT Light" panose="020B0503020201020303" pitchFamily="34" charset="0"/>
                <a:sym typeface="Arial"/>
              </a:rPr>
              <a:t>Choose</a:t>
            </a:r>
            <a:r>
              <a:rPr lang="en-US" sz="1600" kern="0">
                <a:solidFill>
                  <a:srgbClr val="14284A"/>
                </a:solidFill>
                <a:latin typeface="CiscoSansTT ExtraLight"/>
                <a:ea typeface="ＭＳ Ｐゴシック"/>
                <a:cs typeface="Arial"/>
                <a:sym typeface="Arial"/>
              </a:rPr>
              <a:t> your primary and secondary architecture focus areas</a:t>
            </a:r>
            <a:endParaRPr lang="en-US" sz="1600">
              <a:solidFill>
                <a:srgbClr val="14284A"/>
              </a:solidFill>
              <a:latin typeface="CiscoSansTT ExtraLight"/>
              <a:ea typeface="ＭＳ Ｐゴシック" charset="0"/>
              <a:cs typeface="Arial"/>
              <a:sym typeface="Arial"/>
            </a:endParaRPr>
          </a:p>
          <a:p>
            <a:pPr defTabSz="914377">
              <a:lnSpc>
                <a:spcPct val="110000"/>
              </a:lnSpc>
              <a:spcAft>
                <a:spcPts val="1200"/>
              </a:spcAft>
              <a:buClr>
                <a:srgbClr val="000000"/>
              </a:buClr>
              <a:defRPr/>
            </a:pPr>
            <a:r>
              <a:rPr lang="en-US" sz="1600" kern="0">
                <a:solidFill>
                  <a:srgbClr val="00BCEB"/>
                </a:solidFill>
                <a:latin typeface="CiscoSansTT Light" panose="020B0503020201020303" pitchFamily="34" charset="0"/>
                <a:ea typeface="ＭＳ Ｐゴシック"/>
                <a:cs typeface="CiscoSansTT Light" panose="020B0503020201020303" pitchFamily="34" charset="0"/>
                <a:sym typeface="Arial"/>
              </a:rPr>
              <a:t>Choose</a:t>
            </a:r>
            <a:r>
              <a:rPr lang="en-US" sz="1600" kern="0">
                <a:solidFill>
                  <a:srgbClr val="14284A"/>
                </a:solidFill>
                <a:latin typeface="CiscoSansTT ExtraLight"/>
                <a:ea typeface="ＭＳ Ｐゴシック"/>
                <a:cs typeface="Arial"/>
                <a:sym typeface="Arial"/>
              </a:rPr>
              <a:t> your initial project </a:t>
            </a:r>
            <a:br>
              <a:rPr lang="en-US" sz="1600" kern="0">
                <a:solidFill>
                  <a:srgbClr val="14284A"/>
                </a:solidFill>
                <a:latin typeface="CiscoSansTT ExtraLight"/>
                <a:ea typeface="ＭＳ Ｐゴシック"/>
                <a:cs typeface="Arial"/>
                <a:sym typeface="Arial"/>
              </a:rPr>
            </a:br>
            <a:r>
              <a:rPr lang="en-US" sz="1600" kern="0">
                <a:solidFill>
                  <a:srgbClr val="14284A"/>
                </a:solidFill>
                <a:latin typeface="CiscoSansTT ExtraLight"/>
                <a:ea typeface="ＭＳ Ｐゴシック"/>
                <a:cs typeface="Arial"/>
                <a:sym typeface="Arial"/>
              </a:rPr>
              <a:t>and match capabilities</a:t>
            </a:r>
          </a:p>
          <a:p>
            <a:pPr marL="143996" lvl="1" indent="-143996" defTabSz="914377">
              <a:lnSpc>
                <a:spcPct val="110000"/>
              </a:lnSpc>
              <a:spcAft>
                <a:spcPts val="600"/>
              </a:spcAft>
              <a:buClr>
                <a:srgbClr val="00BCEB"/>
              </a:buClr>
              <a:buSzPct val="75000"/>
              <a:buFont typeface="Arial" panose="020B0604020202020204" pitchFamily="34" charset="0"/>
              <a:buChar char="•"/>
              <a:defRPr/>
            </a:pPr>
            <a:r>
              <a:rPr lang="en-US" sz="1600" kern="0">
                <a:solidFill>
                  <a:srgbClr val="14284A"/>
                </a:solidFill>
                <a:latin typeface="CiscoSansTT ExtraLight"/>
                <a:ea typeface="ＭＳ Ｐゴシック"/>
                <a:cs typeface="Arial"/>
                <a:sym typeface="Arial"/>
              </a:rPr>
              <a:t>Planning and architecture</a:t>
            </a:r>
          </a:p>
          <a:p>
            <a:pPr marL="143996" lvl="1" indent="-143996" defTabSz="914377">
              <a:lnSpc>
                <a:spcPct val="110000"/>
              </a:lnSpc>
              <a:spcAft>
                <a:spcPts val="600"/>
              </a:spcAft>
              <a:buClr>
                <a:srgbClr val="00BCEB"/>
              </a:buClr>
              <a:buSzPct val="75000"/>
              <a:buFont typeface="Arial" panose="020B0604020202020204" pitchFamily="34" charset="0"/>
              <a:buChar char="•"/>
              <a:defRPr/>
            </a:pPr>
            <a:r>
              <a:rPr lang="en-US" sz="1600" kern="0">
                <a:solidFill>
                  <a:srgbClr val="14284A"/>
                </a:solidFill>
                <a:latin typeface="CiscoSansTT ExtraLight"/>
                <a:ea typeface="ＭＳ Ｐゴシック"/>
                <a:cs typeface="Arial"/>
                <a:sym typeface="Arial"/>
              </a:rPr>
              <a:t>Design and engineering</a:t>
            </a:r>
          </a:p>
          <a:p>
            <a:pPr marL="143996" lvl="1" indent="-143996" defTabSz="914377">
              <a:lnSpc>
                <a:spcPct val="110000"/>
              </a:lnSpc>
              <a:spcAft>
                <a:spcPts val="600"/>
              </a:spcAft>
              <a:buClr>
                <a:srgbClr val="00BCEB"/>
              </a:buClr>
              <a:buSzPct val="75000"/>
              <a:buFont typeface="Arial" panose="020B0604020202020204" pitchFamily="34" charset="0"/>
              <a:buChar char="•"/>
              <a:defRPr/>
            </a:pPr>
            <a:r>
              <a:rPr lang="en-US" sz="1600" kern="0">
                <a:solidFill>
                  <a:srgbClr val="14284A"/>
                </a:solidFill>
                <a:latin typeface="CiscoSansTT ExtraLight"/>
                <a:ea typeface="ＭＳ Ｐゴシック"/>
                <a:cs typeface="Arial"/>
                <a:sym typeface="Arial"/>
              </a:rPr>
              <a:t>Implementation planning and execution</a:t>
            </a:r>
          </a:p>
          <a:p>
            <a:pPr marL="143996" lvl="1" indent="-143996" defTabSz="914377">
              <a:lnSpc>
                <a:spcPct val="110000"/>
              </a:lnSpc>
              <a:spcAft>
                <a:spcPts val="600"/>
              </a:spcAft>
              <a:buClr>
                <a:srgbClr val="00BCEB"/>
              </a:buClr>
              <a:buSzPct val="75000"/>
              <a:buFont typeface="Arial" panose="020B0604020202020204" pitchFamily="34" charset="0"/>
              <a:buChar char="•"/>
              <a:defRPr/>
            </a:pPr>
            <a:r>
              <a:rPr lang="en-US" sz="1600" kern="0">
                <a:solidFill>
                  <a:srgbClr val="14284A"/>
                </a:solidFill>
                <a:latin typeface="CiscoSansTT ExtraLight"/>
                <a:ea typeface="ＭＳ Ｐゴシック"/>
                <a:cs typeface="Arial"/>
                <a:sym typeface="Arial"/>
              </a:rPr>
              <a:t>Assessments, analysis, and testing</a:t>
            </a:r>
          </a:p>
          <a:p>
            <a:pPr marL="143996" lvl="1" indent="-143996" defTabSz="914377">
              <a:lnSpc>
                <a:spcPct val="110000"/>
              </a:lnSpc>
              <a:spcAft>
                <a:spcPts val="1800"/>
              </a:spcAft>
              <a:buClr>
                <a:srgbClr val="00BCEB"/>
              </a:buClr>
              <a:buSzPct val="75000"/>
              <a:buFont typeface="Arial" panose="020B0604020202020204" pitchFamily="34" charset="0"/>
              <a:buChar char="•"/>
              <a:defRPr/>
            </a:pPr>
            <a:r>
              <a:rPr lang="en-US" sz="1600" kern="0">
                <a:solidFill>
                  <a:srgbClr val="14284A"/>
                </a:solidFill>
                <a:latin typeface="CiscoSansTT ExtraLight"/>
                <a:ea typeface="ＭＳ Ｐゴシック"/>
                <a:cs typeface="Arial"/>
                <a:sym typeface="Arial"/>
              </a:rPr>
              <a:t>Operations and enablement</a:t>
            </a:r>
          </a:p>
          <a:p>
            <a:pPr defTabSz="914377">
              <a:lnSpc>
                <a:spcPct val="110000"/>
              </a:lnSpc>
              <a:spcAft>
                <a:spcPts val="1200"/>
              </a:spcAft>
              <a:buClr>
                <a:srgbClr val="000000"/>
              </a:buClr>
              <a:defRPr/>
            </a:pPr>
            <a:r>
              <a:rPr lang="en-US" sz="1600" kern="0">
                <a:solidFill>
                  <a:srgbClr val="00BCEB"/>
                </a:solidFill>
                <a:latin typeface="CiscoSansTT Light" panose="020B0503020201020303" pitchFamily="34" charset="0"/>
                <a:ea typeface="ＭＳ Ｐゴシック"/>
                <a:cs typeface="CiscoSansTT Light" panose="020B0503020201020303" pitchFamily="34" charset="0"/>
                <a:sym typeface="Arial"/>
              </a:rPr>
              <a:t>Modify</a:t>
            </a:r>
            <a:r>
              <a:rPr lang="en-US" sz="1600" kern="0">
                <a:solidFill>
                  <a:srgbClr val="14284A"/>
                </a:solidFill>
                <a:latin typeface="CiscoSansTT ExtraLight"/>
                <a:ea typeface="ＭＳ Ｐゴシック"/>
                <a:cs typeface="Arial"/>
                <a:sym typeface="Arial"/>
              </a:rPr>
              <a:t> the expertise for project focus and priorities throughout term to meet evolving needs</a:t>
            </a:r>
            <a:endParaRPr lang="en-US" sz="1600" kern="0">
              <a:solidFill>
                <a:srgbClr val="14284A"/>
              </a:solidFill>
              <a:latin typeface="CiscoSansTT ExtraLight"/>
              <a:ea typeface="ＭＳ Ｐゴシック" charset="0"/>
              <a:cs typeface="Arial"/>
              <a:sym typeface="Arial"/>
            </a:endParaRPr>
          </a:p>
          <a:p>
            <a:pPr defTabSz="914377">
              <a:lnSpc>
                <a:spcPct val="110000"/>
              </a:lnSpc>
              <a:spcAft>
                <a:spcPts val="1200"/>
              </a:spcAft>
              <a:buClr>
                <a:srgbClr val="000000"/>
              </a:buClr>
              <a:defRPr/>
            </a:pPr>
            <a:endParaRPr lang="en-GB" sz="1400" kern="0">
              <a:solidFill>
                <a:srgbClr val="14284A"/>
              </a:solidFill>
              <a:latin typeface="CiscoSansTT ExtraLight"/>
              <a:ea typeface="ＭＳ Ｐゴシック" charset="0"/>
              <a:cs typeface="Arial"/>
              <a:sym typeface="Arial"/>
            </a:endParaRPr>
          </a:p>
        </p:txBody>
      </p:sp>
      <p:sp>
        <p:nvSpPr>
          <p:cNvPr id="6" name="Rectangle: Rounded Corners 24">
            <a:extLst>
              <a:ext uri="{FF2B5EF4-FFF2-40B4-BE49-F238E27FC236}">
                <a16:creationId xmlns:a16="http://schemas.microsoft.com/office/drawing/2014/main" id="{16886722-2F2B-4079-BE00-B88A86207CA0}"/>
              </a:ext>
            </a:extLst>
          </p:cNvPr>
          <p:cNvSpPr/>
          <p:nvPr/>
        </p:nvSpPr>
        <p:spPr>
          <a:xfrm>
            <a:off x="8298116" y="1292725"/>
            <a:ext cx="3420587" cy="396000"/>
          </a:xfrm>
          <a:prstGeom prst="roundRect">
            <a:avLst>
              <a:gd name="adj" fmla="val 50000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ctr" defTabSz="914332">
              <a:buClr>
                <a:srgbClr val="000000"/>
              </a:buClr>
              <a:defRPr/>
            </a:pPr>
            <a:r>
              <a:rPr lang="en-US">
                <a:solidFill>
                  <a:srgbClr val="FFFFFF"/>
                </a:solidFill>
                <a:latin typeface="CiscoSansTT ExtraLight"/>
                <a:cs typeface="CiscoSansTT Light" panose="020B0503020201020303" pitchFamily="34" charset="0"/>
                <a:sym typeface="Arial"/>
              </a:rPr>
              <a:t>Expert-as-a-Service</a:t>
            </a:r>
          </a:p>
        </p:txBody>
      </p:sp>
      <p:sp>
        <p:nvSpPr>
          <p:cNvPr id="9" name="Rectangle: Rounded Corners 24">
            <a:extLst>
              <a:ext uri="{FF2B5EF4-FFF2-40B4-BE49-F238E27FC236}">
                <a16:creationId xmlns:a16="http://schemas.microsoft.com/office/drawing/2014/main" id="{5A4B265C-F1D3-4EC0-BB36-C9BC5E75CFC7}"/>
              </a:ext>
            </a:extLst>
          </p:cNvPr>
          <p:cNvSpPr/>
          <p:nvPr/>
        </p:nvSpPr>
        <p:spPr>
          <a:xfrm>
            <a:off x="4420331" y="1297444"/>
            <a:ext cx="3420587" cy="396000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pPr algn="ctr" defTabSz="914332">
              <a:buClr>
                <a:srgbClr val="000000"/>
              </a:buClr>
              <a:defRPr/>
            </a:pPr>
            <a:r>
              <a:rPr lang="en-US" kern="0">
                <a:solidFill>
                  <a:srgbClr val="FFFFFF"/>
                </a:solidFill>
                <a:latin typeface="CiscoSansTT ExtraLight"/>
                <a:cs typeface="CiscoSansTT Light" panose="020B0503020201020303" pitchFamily="34" charset="0"/>
                <a:sym typeface="Arial"/>
              </a:rPr>
              <a:t>Specialized Expertise </a:t>
            </a:r>
            <a:endParaRPr lang="en-US">
              <a:solidFill>
                <a:srgbClr val="FFFFFF"/>
              </a:solidFill>
              <a:latin typeface="CiscoSansTT ExtraLight"/>
              <a:cs typeface="CiscoSansTT Light" panose="020B0503020201020303" pitchFamily="34" charset="0"/>
              <a:sym typeface="Arial"/>
            </a:endParaRP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879A48F0-50EC-475F-A98B-2BA03907A742}"/>
              </a:ext>
            </a:extLst>
          </p:cNvPr>
          <p:cNvSpPr txBox="1"/>
          <p:nvPr/>
        </p:nvSpPr>
        <p:spPr>
          <a:xfrm>
            <a:off x="719140" y="3291805"/>
            <a:ext cx="2922313" cy="916982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defTabSz="914377">
              <a:lnSpc>
                <a:spcPct val="110000"/>
              </a:lnSpc>
              <a:spcAft>
                <a:spcPts val="1600"/>
              </a:spcAft>
              <a:buClr>
                <a:srgbClr val="000000"/>
              </a:buClr>
              <a:defRPr/>
            </a:pPr>
            <a:r>
              <a:rPr lang="en-US" sz="1867" kern="0">
                <a:solidFill>
                  <a:srgbClr val="14284A"/>
                </a:solidFill>
                <a:latin typeface="CiscoSansTT ExtraLight"/>
                <a:ea typeface="ＭＳ Ｐゴシック"/>
                <a:cs typeface="CiscoSansTT Light" panose="020B0503020201020303" pitchFamily="34" charset="0"/>
                <a:sym typeface="Arial"/>
              </a:rPr>
              <a:t>Bridge the skills gap with flexible access to leading expertise </a:t>
            </a:r>
            <a:endParaRPr lang="en-US" sz="1867" kern="0">
              <a:solidFill>
                <a:srgbClr val="14284A"/>
              </a:solidFill>
              <a:latin typeface="CiscoSansTT ExtraLight"/>
              <a:ea typeface="ＭＳ Ｐゴシック"/>
              <a:cs typeface="CiscoSansTT Light" panose="020B0503020201020303" pitchFamily="34" charset="0"/>
            </a:endParaRPr>
          </a:p>
        </p:txBody>
      </p:sp>
      <p:grpSp>
        <p:nvGrpSpPr>
          <p:cNvPr id="35" name="Group 34">
            <a:extLst>
              <a:ext uri="{FF2B5EF4-FFF2-40B4-BE49-F238E27FC236}">
                <a16:creationId xmlns:a16="http://schemas.microsoft.com/office/drawing/2014/main" id="{86962616-ADF4-4AE5-B242-500823EEFBDD}"/>
              </a:ext>
            </a:extLst>
          </p:cNvPr>
          <p:cNvGrpSpPr/>
          <p:nvPr/>
        </p:nvGrpSpPr>
        <p:grpSpPr>
          <a:xfrm>
            <a:off x="10579102" y="1"/>
            <a:ext cx="888999" cy="1135635"/>
            <a:chOff x="10579099" y="0"/>
            <a:chExt cx="888999" cy="1135635"/>
          </a:xfrm>
        </p:grpSpPr>
        <p:sp>
          <p:nvSpPr>
            <p:cNvPr id="37" name="Rectangle: Top Corners Rounded 36">
              <a:extLst>
                <a:ext uri="{FF2B5EF4-FFF2-40B4-BE49-F238E27FC236}">
                  <a16:creationId xmlns:a16="http://schemas.microsoft.com/office/drawing/2014/main" id="{FC106A15-7E93-4D33-A0F1-72C35B9CB92E}"/>
                </a:ext>
              </a:extLst>
            </p:cNvPr>
            <p:cNvSpPr/>
            <p:nvPr/>
          </p:nvSpPr>
          <p:spPr>
            <a:xfrm rot="10800000">
              <a:off x="10579099" y="0"/>
              <a:ext cx="888999" cy="1135635"/>
            </a:xfrm>
            <a:prstGeom prst="round2SameRect">
              <a:avLst>
                <a:gd name="adj1" fmla="val 50000"/>
                <a:gd name="adj2" fmla="val 0"/>
              </a:avLst>
            </a:prstGeom>
            <a:solidFill>
              <a:srgbClr val="F5F6F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377">
                <a:spcAft>
                  <a:spcPts val="600"/>
                </a:spcAft>
                <a:buClr>
                  <a:srgbClr val="000000"/>
                </a:buClr>
                <a:defRPr/>
              </a:pPr>
              <a:endParaRPr lang="en-US" sz="1100" kern="0">
                <a:solidFill>
                  <a:srgbClr val="FFFFFF"/>
                </a:solidFill>
                <a:latin typeface="CiscoSansTT ExtraLight"/>
                <a:sym typeface="Arial"/>
              </a:endParaRPr>
            </a:p>
          </p:txBody>
        </p:sp>
        <p:sp>
          <p:nvSpPr>
            <p:cNvPr id="38" name="Oval 37">
              <a:extLst>
                <a:ext uri="{FF2B5EF4-FFF2-40B4-BE49-F238E27FC236}">
                  <a16:creationId xmlns:a16="http://schemas.microsoft.com/office/drawing/2014/main" id="{2939CD2E-0394-4678-BCB6-86E690210D0C}"/>
                </a:ext>
              </a:extLst>
            </p:cNvPr>
            <p:cNvSpPr/>
            <p:nvPr/>
          </p:nvSpPr>
          <p:spPr>
            <a:xfrm>
              <a:off x="10661972" y="330401"/>
              <a:ext cx="723254" cy="723254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914377">
                <a:spcAft>
                  <a:spcPts val="600"/>
                </a:spcAft>
                <a:buClr>
                  <a:srgbClr val="000000"/>
                </a:buClr>
                <a:defRPr/>
              </a:pPr>
              <a:endParaRPr lang="en-US" sz="1100" kern="0">
                <a:solidFill>
                  <a:srgbClr val="FFFFFF"/>
                </a:solidFill>
                <a:latin typeface="CiscoSansTT ExtraLight"/>
                <a:sym typeface="Arial"/>
              </a:endParaRPr>
            </a:p>
          </p:txBody>
        </p:sp>
        <p:sp>
          <p:nvSpPr>
            <p:cNvPr id="39" name="Freeform: Shape 38">
              <a:extLst>
                <a:ext uri="{FF2B5EF4-FFF2-40B4-BE49-F238E27FC236}">
                  <a16:creationId xmlns:a16="http://schemas.microsoft.com/office/drawing/2014/main" id="{FA8A8378-F7A4-498D-AA15-B6127848608A}"/>
                </a:ext>
              </a:extLst>
            </p:cNvPr>
            <p:cNvSpPr/>
            <p:nvPr/>
          </p:nvSpPr>
          <p:spPr>
            <a:xfrm>
              <a:off x="10714390" y="384329"/>
              <a:ext cx="617814" cy="615399"/>
            </a:xfrm>
            <a:custGeom>
              <a:avLst/>
              <a:gdLst>
                <a:gd name="connsiteX0" fmla="*/ 618176 w 617814"/>
                <a:gd name="connsiteY0" fmla="*/ 307820 h 615399"/>
                <a:gd name="connsiteX1" fmla="*/ 309088 w 617814"/>
                <a:gd name="connsiteY1" fmla="*/ 615641 h 615399"/>
                <a:gd name="connsiteX2" fmla="*/ 0 w 617814"/>
                <a:gd name="connsiteY2" fmla="*/ 307820 h 615399"/>
                <a:gd name="connsiteX3" fmla="*/ 309088 w 617814"/>
                <a:gd name="connsiteY3" fmla="*/ 0 h 615399"/>
                <a:gd name="connsiteX4" fmla="*/ 618176 w 617814"/>
                <a:gd name="connsiteY4" fmla="*/ 307820 h 6153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17814" h="615399">
                  <a:moveTo>
                    <a:pt x="618176" y="307820"/>
                  </a:moveTo>
                  <a:cubicBezTo>
                    <a:pt x="618176" y="477825"/>
                    <a:pt x="479817" y="615641"/>
                    <a:pt x="309088" y="615641"/>
                  </a:cubicBezTo>
                  <a:cubicBezTo>
                    <a:pt x="138359" y="615641"/>
                    <a:pt x="0" y="477825"/>
                    <a:pt x="0" y="307820"/>
                  </a:cubicBezTo>
                  <a:cubicBezTo>
                    <a:pt x="0" y="137816"/>
                    <a:pt x="138359" y="0"/>
                    <a:pt x="309088" y="0"/>
                  </a:cubicBezTo>
                  <a:cubicBezTo>
                    <a:pt x="479757" y="0"/>
                    <a:pt x="618176" y="137816"/>
                    <a:pt x="618176" y="307820"/>
                  </a:cubicBezTo>
                </a:path>
              </a:pathLst>
            </a:custGeom>
            <a:solidFill>
              <a:schemeClr val="accent5"/>
            </a:solidFill>
            <a:ln w="59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914377">
                <a:buClr>
                  <a:srgbClr val="000000"/>
                </a:buClr>
                <a:defRPr/>
              </a:pPr>
              <a:endParaRPr lang="en-US" sz="1867" kern="0">
                <a:solidFill>
                  <a:srgbClr val="000000"/>
                </a:solidFill>
                <a:latin typeface="Arial"/>
                <a:ea typeface="ＭＳ Ｐゴシック" charset="0"/>
                <a:cs typeface="Arial"/>
                <a:sym typeface="Arial"/>
              </a:endParaRPr>
            </a:p>
          </p:txBody>
        </p:sp>
        <p:grpSp>
          <p:nvGrpSpPr>
            <p:cNvPr id="40" name="Graphic 2">
              <a:extLst>
                <a:ext uri="{FF2B5EF4-FFF2-40B4-BE49-F238E27FC236}">
                  <a16:creationId xmlns:a16="http://schemas.microsoft.com/office/drawing/2014/main" id="{D12D724C-BFD5-46AB-AB2F-267DE2C0F7BD}"/>
                </a:ext>
              </a:extLst>
            </p:cNvPr>
            <p:cNvGrpSpPr/>
            <p:nvPr/>
          </p:nvGrpSpPr>
          <p:grpSpPr>
            <a:xfrm>
              <a:off x="10798335" y="582977"/>
              <a:ext cx="450312" cy="218144"/>
              <a:chOff x="10798335" y="582977"/>
              <a:chExt cx="450312" cy="218144"/>
            </a:xfrm>
            <a:solidFill>
              <a:srgbClr val="FFFFFF"/>
            </a:solidFill>
          </p:grpSpPr>
          <p:sp>
            <p:nvSpPr>
              <p:cNvPr id="41" name="Freeform: Shape 40">
                <a:extLst>
                  <a:ext uri="{FF2B5EF4-FFF2-40B4-BE49-F238E27FC236}">
                    <a16:creationId xmlns:a16="http://schemas.microsoft.com/office/drawing/2014/main" id="{B5CF8B82-51A8-47FB-86AD-FE7DF0ECB1DD}"/>
                  </a:ext>
                </a:extLst>
              </p:cNvPr>
              <p:cNvSpPr/>
              <p:nvPr/>
            </p:nvSpPr>
            <p:spPr>
              <a:xfrm>
                <a:off x="10941405" y="583081"/>
                <a:ext cx="109914" cy="218017"/>
              </a:xfrm>
              <a:custGeom>
                <a:avLst/>
                <a:gdLst>
                  <a:gd name="connsiteX0" fmla="*/ 89260 w 109914"/>
                  <a:gd name="connsiteY0" fmla="*/ 130085 h 218016"/>
                  <a:gd name="connsiteX1" fmla="*/ 110156 w 109914"/>
                  <a:gd name="connsiteY1" fmla="*/ 109129 h 218016"/>
                  <a:gd name="connsiteX2" fmla="*/ 89260 w 109914"/>
                  <a:gd name="connsiteY2" fmla="*/ 88173 h 218016"/>
                  <a:gd name="connsiteX3" fmla="*/ 41792 w 109914"/>
                  <a:gd name="connsiteY3" fmla="*/ 88173 h 218016"/>
                  <a:gd name="connsiteX4" fmla="*/ 41792 w 109914"/>
                  <a:gd name="connsiteY4" fmla="*/ 41912 h 218016"/>
                  <a:gd name="connsiteX5" fmla="*/ 89260 w 109914"/>
                  <a:gd name="connsiteY5" fmla="*/ 41912 h 218016"/>
                  <a:gd name="connsiteX6" fmla="*/ 110156 w 109914"/>
                  <a:gd name="connsiteY6" fmla="*/ 20956 h 218016"/>
                  <a:gd name="connsiteX7" fmla="*/ 89260 w 109914"/>
                  <a:gd name="connsiteY7" fmla="*/ 0 h 218016"/>
                  <a:gd name="connsiteX8" fmla="*/ 20896 w 109914"/>
                  <a:gd name="connsiteY8" fmla="*/ 0 h 218016"/>
                  <a:gd name="connsiteX9" fmla="*/ 0 w 109914"/>
                  <a:gd name="connsiteY9" fmla="*/ 20956 h 218016"/>
                  <a:gd name="connsiteX10" fmla="*/ 0 w 109914"/>
                  <a:gd name="connsiteY10" fmla="*/ 197242 h 218016"/>
                  <a:gd name="connsiteX11" fmla="*/ 20896 w 109914"/>
                  <a:gd name="connsiteY11" fmla="*/ 218198 h 218016"/>
                  <a:gd name="connsiteX12" fmla="*/ 89260 w 109914"/>
                  <a:gd name="connsiteY12" fmla="*/ 218198 h 218016"/>
                  <a:gd name="connsiteX13" fmla="*/ 110156 w 109914"/>
                  <a:gd name="connsiteY13" fmla="*/ 197242 h 218016"/>
                  <a:gd name="connsiteX14" fmla="*/ 89260 w 109914"/>
                  <a:gd name="connsiteY14" fmla="*/ 176286 h 218016"/>
                  <a:gd name="connsiteX15" fmla="*/ 41792 w 109914"/>
                  <a:gd name="connsiteY15" fmla="*/ 176286 h 218016"/>
                  <a:gd name="connsiteX16" fmla="*/ 41792 w 109914"/>
                  <a:gd name="connsiteY16" fmla="*/ 130025 h 218016"/>
                  <a:gd name="connsiteX17" fmla="*/ 89260 w 109914"/>
                  <a:gd name="connsiteY17" fmla="*/ 130025 h 218016"/>
                  <a:gd name="connsiteX18" fmla="*/ 89260 w 109914"/>
                  <a:gd name="connsiteY18" fmla="*/ 130085 h 2180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109914" h="218016">
                    <a:moveTo>
                      <a:pt x="89260" y="130085"/>
                    </a:moveTo>
                    <a:cubicBezTo>
                      <a:pt x="100735" y="130085"/>
                      <a:pt x="110156" y="120664"/>
                      <a:pt x="110156" y="109129"/>
                    </a:cubicBezTo>
                    <a:cubicBezTo>
                      <a:pt x="110156" y="97594"/>
                      <a:pt x="100735" y="88173"/>
                      <a:pt x="89260" y="88173"/>
                    </a:cubicBezTo>
                    <a:lnTo>
                      <a:pt x="41792" y="88173"/>
                    </a:lnTo>
                    <a:lnTo>
                      <a:pt x="41792" y="41912"/>
                    </a:lnTo>
                    <a:lnTo>
                      <a:pt x="89260" y="41912"/>
                    </a:lnTo>
                    <a:cubicBezTo>
                      <a:pt x="100735" y="41912"/>
                      <a:pt x="110156" y="32491"/>
                      <a:pt x="110156" y="20956"/>
                    </a:cubicBezTo>
                    <a:cubicBezTo>
                      <a:pt x="110156" y="9421"/>
                      <a:pt x="100735" y="0"/>
                      <a:pt x="89260" y="0"/>
                    </a:cubicBezTo>
                    <a:lnTo>
                      <a:pt x="20896" y="0"/>
                    </a:lnTo>
                    <a:cubicBezTo>
                      <a:pt x="9421" y="0"/>
                      <a:pt x="0" y="9421"/>
                      <a:pt x="0" y="20956"/>
                    </a:cubicBezTo>
                    <a:lnTo>
                      <a:pt x="0" y="197242"/>
                    </a:lnTo>
                    <a:cubicBezTo>
                      <a:pt x="0" y="208777"/>
                      <a:pt x="9361" y="218198"/>
                      <a:pt x="20896" y="218198"/>
                    </a:cubicBezTo>
                    <a:lnTo>
                      <a:pt x="89260" y="218198"/>
                    </a:lnTo>
                    <a:cubicBezTo>
                      <a:pt x="100735" y="218198"/>
                      <a:pt x="110156" y="208777"/>
                      <a:pt x="110156" y="197242"/>
                    </a:cubicBezTo>
                    <a:cubicBezTo>
                      <a:pt x="110156" y="185707"/>
                      <a:pt x="100735" y="176286"/>
                      <a:pt x="89260" y="176286"/>
                    </a:cubicBezTo>
                    <a:lnTo>
                      <a:pt x="41792" y="176286"/>
                    </a:lnTo>
                    <a:lnTo>
                      <a:pt x="41792" y="130025"/>
                    </a:lnTo>
                    <a:lnTo>
                      <a:pt x="89260" y="130025"/>
                    </a:lnTo>
                    <a:lnTo>
                      <a:pt x="89260" y="130085"/>
                    </a:lnTo>
                    <a:close/>
                  </a:path>
                </a:pathLst>
              </a:custGeom>
              <a:solidFill>
                <a:srgbClr val="FFFFFF"/>
              </a:solidFill>
              <a:ln w="59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914377">
                  <a:buClr>
                    <a:srgbClr val="000000"/>
                  </a:buClr>
                  <a:defRPr/>
                </a:pPr>
                <a:endParaRPr lang="en-US" sz="1867" kern="0">
                  <a:solidFill>
                    <a:srgbClr val="000000"/>
                  </a:solidFill>
                  <a:latin typeface="Arial"/>
                  <a:ea typeface="ＭＳ Ｐゴシック" charset="0"/>
                  <a:cs typeface="Arial"/>
                  <a:sym typeface="Arial"/>
                </a:endParaRPr>
              </a:p>
            </p:txBody>
          </p:sp>
          <p:grpSp>
            <p:nvGrpSpPr>
              <p:cNvPr id="42" name="Graphic 2">
                <a:extLst>
                  <a:ext uri="{FF2B5EF4-FFF2-40B4-BE49-F238E27FC236}">
                    <a16:creationId xmlns:a16="http://schemas.microsoft.com/office/drawing/2014/main" id="{82D0C654-0E24-4FFF-B4E0-C5420A7F8352}"/>
                  </a:ext>
                </a:extLst>
              </p:cNvPr>
              <p:cNvGrpSpPr/>
              <p:nvPr/>
            </p:nvGrpSpPr>
            <p:grpSpPr>
              <a:xfrm>
                <a:off x="10798335" y="582977"/>
                <a:ext cx="120785" cy="218017"/>
                <a:chOff x="10798335" y="582977"/>
                <a:chExt cx="120785" cy="218017"/>
              </a:xfrm>
              <a:solidFill>
                <a:srgbClr val="FFFFFF"/>
              </a:solidFill>
            </p:grpSpPr>
            <p:sp>
              <p:nvSpPr>
                <p:cNvPr id="48" name="Freeform: Shape 47">
                  <a:extLst>
                    <a:ext uri="{FF2B5EF4-FFF2-40B4-BE49-F238E27FC236}">
                      <a16:creationId xmlns:a16="http://schemas.microsoft.com/office/drawing/2014/main" id="{CA897957-78D9-43CE-800D-B40BDE6A0C50}"/>
                    </a:ext>
                  </a:extLst>
                </p:cNvPr>
                <p:cNvSpPr/>
                <p:nvPr/>
              </p:nvSpPr>
              <p:spPr>
                <a:xfrm>
                  <a:off x="10877449" y="583081"/>
                  <a:ext cx="41671" cy="218017"/>
                </a:xfrm>
                <a:custGeom>
                  <a:avLst/>
                  <a:gdLst>
                    <a:gd name="connsiteX0" fmla="*/ 0 w 41670"/>
                    <a:gd name="connsiteY0" fmla="*/ 197302 h 218016"/>
                    <a:gd name="connsiteX1" fmla="*/ 0 w 41670"/>
                    <a:gd name="connsiteY1" fmla="*/ 20956 h 218016"/>
                    <a:gd name="connsiteX2" fmla="*/ 20896 w 41670"/>
                    <a:gd name="connsiteY2" fmla="*/ 0 h 218016"/>
                    <a:gd name="connsiteX3" fmla="*/ 41792 w 41670"/>
                    <a:gd name="connsiteY3" fmla="*/ 20956 h 218016"/>
                    <a:gd name="connsiteX4" fmla="*/ 41792 w 41670"/>
                    <a:gd name="connsiteY4" fmla="*/ 197242 h 218016"/>
                    <a:gd name="connsiteX5" fmla="*/ 20896 w 41670"/>
                    <a:gd name="connsiteY5" fmla="*/ 218198 h 218016"/>
                    <a:gd name="connsiteX6" fmla="*/ 0 w 41670"/>
                    <a:gd name="connsiteY6" fmla="*/ 197302 h 21801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41670" h="218016">
                      <a:moveTo>
                        <a:pt x="0" y="197302"/>
                      </a:moveTo>
                      <a:lnTo>
                        <a:pt x="0" y="20956"/>
                      </a:lnTo>
                      <a:cubicBezTo>
                        <a:pt x="0" y="9421"/>
                        <a:pt x="9361" y="0"/>
                        <a:pt x="20896" y="0"/>
                      </a:cubicBezTo>
                      <a:cubicBezTo>
                        <a:pt x="32370" y="0"/>
                        <a:pt x="41792" y="9421"/>
                        <a:pt x="41792" y="20956"/>
                      </a:cubicBezTo>
                      <a:lnTo>
                        <a:pt x="41792" y="197242"/>
                      </a:lnTo>
                      <a:cubicBezTo>
                        <a:pt x="41792" y="208777"/>
                        <a:pt x="32431" y="218198"/>
                        <a:pt x="20896" y="218198"/>
                      </a:cubicBezTo>
                      <a:cubicBezTo>
                        <a:pt x="9421" y="218198"/>
                        <a:pt x="0" y="208777"/>
                        <a:pt x="0" y="197302"/>
                      </a:cubicBezTo>
                    </a:path>
                  </a:pathLst>
                </a:custGeom>
                <a:solidFill>
                  <a:srgbClr val="FFFFFF"/>
                </a:solidFill>
                <a:ln w="59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defTabSz="914377">
                    <a:buClr>
                      <a:srgbClr val="000000"/>
                    </a:buClr>
                    <a:defRPr/>
                  </a:pPr>
                  <a:endParaRPr lang="en-US" sz="1867" kern="0">
                    <a:solidFill>
                      <a:srgbClr val="000000"/>
                    </a:solidFill>
                    <a:latin typeface="Arial"/>
                    <a:ea typeface="ＭＳ Ｐゴシック" charset="0"/>
                    <a:cs typeface="Arial"/>
                    <a:sym typeface="Arial"/>
                  </a:endParaRPr>
                </a:p>
              </p:txBody>
            </p:sp>
            <p:sp>
              <p:nvSpPr>
                <p:cNvPr id="49" name="Freeform: Shape 48">
                  <a:extLst>
                    <a:ext uri="{FF2B5EF4-FFF2-40B4-BE49-F238E27FC236}">
                      <a16:creationId xmlns:a16="http://schemas.microsoft.com/office/drawing/2014/main" id="{3531E59D-E1BC-4B3A-AF90-4B4497150D9F}"/>
                    </a:ext>
                  </a:extLst>
                </p:cNvPr>
                <p:cNvSpPr/>
                <p:nvPr/>
              </p:nvSpPr>
              <p:spPr>
                <a:xfrm>
                  <a:off x="10798335" y="583081"/>
                  <a:ext cx="41671" cy="218017"/>
                </a:xfrm>
                <a:custGeom>
                  <a:avLst/>
                  <a:gdLst>
                    <a:gd name="connsiteX0" fmla="*/ 0 w 41670"/>
                    <a:gd name="connsiteY0" fmla="*/ 197302 h 218016"/>
                    <a:gd name="connsiteX1" fmla="*/ 0 w 41670"/>
                    <a:gd name="connsiteY1" fmla="*/ 20956 h 218016"/>
                    <a:gd name="connsiteX2" fmla="*/ 20896 w 41670"/>
                    <a:gd name="connsiteY2" fmla="*/ 0 h 218016"/>
                    <a:gd name="connsiteX3" fmla="*/ 41792 w 41670"/>
                    <a:gd name="connsiteY3" fmla="*/ 20956 h 218016"/>
                    <a:gd name="connsiteX4" fmla="*/ 41792 w 41670"/>
                    <a:gd name="connsiteY4" fmla="*/ 197242 h 218016"/>
                    <a:gd name="connsiteX5" fmla="*/ 20896 w 41670"/>
                    <a:gd name="connsiteY5" fmla="*/ 218198 h 218016"/>
                    <a:gd name="connsiteX6" fmla="*/ 0 w 41670"/>
                    <a:gd name="connsiteY6" fmla="*/ 197302 h 21801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41670" h="218016">
                      <a:moveTo>
                        <a:pt x="0" y="197302"/>
                      </a:moveTo>
                      <a:lnTo>
                        <a:pt x="0" y="20956"/>
                      </a:lnTo>
                      <a:cubicBezTo>
                        <a:pt x="0" y="9421"/>
                        <a:pt x="9361" y="0"/>
                        <a:pt x="20896" y="0"/>
                      </a:cubicBezTo>
                      <a:cubicBezTo>
                        <a:pt x="32431" y="0"/>
                        <a:pt x="41792" y="9421"/>
                        <a:pt x="41792" y="20956"/>
                      </a:cubicBezTo>
                      <a:lnTo>
                        <a:pt x="41792" y="197242"/>
                      </a:lnTo>
                      <a:cubicBezTo>
                        <a:pt x="41792" y="208777"/>
                        <a:pt x="32370" y="218198"/>
                        <a:pt x="20896" y="218198"/>
                      </a:cubicBezTo>
                      <a:cubicBezTo>
                        <a:pt x="9421" y="218198"/>
                        <a:pt x="0" y="208777"/>
                        <a:pt x="0" y="197302"/>
                      </a:cubicBezTo>
                    </a:path>
                  </a:pathLst>
                </a:custGeom>
                <a:solidFill>
                  <a:srgbClr val="FFFFFF"/>
                </a:solidFill>
                <a:ln w="59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defTabSz="914377">
                    <a:buClr>
                      <a:srgbClr val="000000"/>
                    </a:buClr>
                    <a:defRPr/>
                  </a:pPr>
                  <a:endParaRPr lang="en-US" sz="1867" kern="0">
                    <a:solidFill>
                      <a:srgbClr val="000000"/>
                    </a:solidFill>
                    <a:latin typeface="Arial"/>
                    <a:ea typeface="ＭＳ Ｐゴシック" charset="0"/>
                    <a:cs typeface="Arial"/>
                    <a:sym typeface="Arial"/>
                  </a:endParaRPr>
                </a:p>
              </p:txBody>
            </p:sp>
            <p:sp>
              <p:nvSpPr>
                <p:cNvPr id="50" name="Freeform: Shape 49">
                  <a:extLst>
                    <a:ext uri="{FF2B5EF4-FFF2-40B4-BE49-F238E27FC236}">
                      <a16:creationId xmlns:a16="http://schemas.microsoft.com/office/drawing/2014/main" id="{BD32E605-7241-4378-B44C-7C53CC483E1A}"/>
                    </a:ext>
                  </a:extLst>
                </p:cNvPr>
                <p:cNvSpPr/>
                <p:nvPr/>
              </p:nvSpPr>
              <p:spPr>
                <a:xfrm>
                  <a:off x="10798533" y="582977"/>
                  <a:ext cx="120181" cy="218017"/>
                </a:xfrm>
                <a:custGeom>
                  <a:avLst/>
                  <a:gdLst>
                    <a:gd name="connsiteX0" fmla="*/ 80728 w 120180"/>
                    <a:gd name="connsiteY0" fmla="*/ 205921 h 218016"/>
                    <a:gd name="connsiteX1" fmla="*/ 1735 w 120180"/>
                    <a:gd name="connsiteY1" fmla="*/ 29334 h 218016"/>
                    <a:gd name="connsiteX2" fmla="*/ 12545 w 120180"/>
                    <a:gd name="connsiteY2" fmla="*/ 1735 h 218016"/>
                    <a:gd name="connsiteX3" fmla="*/ 40023 w 120180"/>
                    <a:gd name="connsiteY3" fmla="*/ 12545 h 218016"/>
                    <a:gd name="connsiteX4" fmla="*/ 118896 w 120180"/>
                    <a:gd name="connsiteY4" fmla="*/ 188830 h 218016"/>
                    <a:gd name="connsiteX5" fmla="*/ 108327 w 120180"/>
                    <a:gd name="connsiteY5" fmla="*/ 216490 h 218016"/>
                    <a:gd name="connsiteX6" fmla="*/ 80728 w 120180"/>
                    <a:gd name="connsiteY6" fmla="*/ 205921 h 21801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20180" h="218016">
                      <a:moveTo>
                        <a:pt x="80728" y="205921"/>
                      </a:moveTo>
                      <a:lnTo>
                        <a:pt x="1735" y="29334"/>
                      </a:lnTo>
                      <a:cubicBezTo>
                        <a:pt x="-2855" y="18765"/>
                        <a:pt x="1976" y="6385"/>
                        <a:pt x="12545" y="1735"/>
                      </a:cubicBezTo>
                      <a:cubicBezTo>
                        <a:pt x="23053" y="-2855"/>
                        <a:pt x="35433" y="1976"/>
                        <a:pt x="40023" y="12545"/>
                      </a:cubicBezTo>
                      <a:lnTo>
                        <a:pt x="118896" y="188830"/>
                      </a:lnTo>
                      <a:cubicBezTo>
                        <a:pt x="123546" y="199339"/>
                        <a:pt x="118775" y="211779"/>
                        <a:pt x="108327" y="216490"/>
                      </a:cubicBezTo>
                      <a:cubicBezTo>
                        <a:pt x="97819" y="221201"/>
                        <a:pt x="85378" y="216430"/>
                        <a:pt x="80728" y="205921"/>
                      </a:cubicBezTo>
                    </a:path>
                  </a:pathLst>
                </a:custGeom>
                <a:solidFill>
                  <a:srgbClr val="FFFFFF"/>
                </a:solidFill>
                <a:ln w="59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defTabSz="914377">
                    <a:buClr>
                      <a:srgbClr val="000000"/>
                    </a:buClr>
                    <a:defRPr/>
                  </a:pPr>
                  <a:endParaRPr lang="en-US" sz="1867" kern="0">
                    <a:solidFill>
                      <a:srgbClr val="000000"/>
                    </a:solidFill>
                    <a:latin typeface="Arial"/>
                    <a:ea typeface="ＭＳ Ｐゴシック" charset="0"/>
                    <a:cs typeface="Arial"/>
                    <a:sym typeface="Arial"/>
                  </a:endParaRPr>
                </a:p>
              </p:txBody>
            </p:sp>
          </p:grpSp>
          <p:grpSp>
            <p:nvGrpSpPr>
              <p:cNvPr id="43" name="Graphic 2">
                <a:extLst>
                  <a:ext uri="{FF2B5EF4-FFF2-40B4-BE49-F238E27FC236}">
                    <a16:creationId xmlns:a16="http://schemas.microsoft.com/office/drawing/2014/main" id="{949824C3-496C-4765-B0D2-217253AB9999}"/>
                  </a:ext>
                </a:extLst>
              </p:cNvPr>
              <p:cNvGrpSpPr/>
              <p:nvPr/>
            </p:nvGrpSpPr>
            <p:grpSpPr>
              <a:xfrm>
                <a:off x="11066262" y="583104"/>
                <a:ext cx="182385" cy="218017"/>
                <a:chOff x="11066262" y="583104"/>
                <a:chExt cx="182385" cy="218017"/>
              </a:xfrm>
              <a:solidFill>
                <a:srgbClr val="FFFFFF"/>
              </a:solidFill>
            </p:grpSpPr>
            <p:sp>
              <p:nvSpPr>
                <p:cNvPr id="44" name="Freeform: Shape 43">
                  <a:extLst>
                    <a:ext uri="{FF2B5EF4-FFF2-40B4-BE49-F238E27FC236}">
                      <a16:creationId xmlns:a16="http://schemas.microsoft.com/office/drawing/2014/main" id="{F55A805F-2885-4028-BF6D-EB2B4120C0FD}"/>
                    </a:ext>
                  </a:extLst>
                </p:cNvPr>
                <p:cNvSpPr/>
                <p:nvPr/>
              </p:nvSpPr>
              <p:spPr>
                <a:xfrm>
                  <a:off x="11066262" y="583104"/>
                  <a:ext cx="76698" cy="218017"/>
                </a:xfrm>
                <a:custGeom>
                  <a:avLst/>
                  <a:gdLst>
                    <a:gd name="connsiteX0" fmla="*/ 35545 w 76698"/>
                    <a:gd name="connsiteY0" fmla="*/ 201325 h 218016"/>
                    <a:gd name="connsiteX1" fmla="*/ 397 w 76698"/>
                    <a:gd name="connsiteY1" fmla="*/ 25039 h 218016"/>
                    <a:gd name="connsiteX2" fmla="*/ 16884 w 76698"/>
                    <a:gd name="connsiteY2" fmla="*/ 399 h 218016"/>
                    <a:gd name="connsiteX3" fmla="*/ 41524 w 76698"/>
                    <a:gd name="connsiteY3" fmla="*/ 16886 h 218016"/>
                    <a:gd name="connsiteX4" fmla="*/ 76612 w 76698"/>
                    <a:gd name="connsiteY4" fmla="*/ 193172 h 218016"/>
                    <a:gd name="connsiteX5" fmla="*/ 60125 w 76698"/>
                    <a:gd name="connsiteY5" fmla="*/ 217812 h 218016"/>
                    <a:gd name="connsiteX6" fmla="*/ 35545 w 76698"/>
                    <a:gd name="connsiteY6" fmla="*/ 201325 h 21801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6698" h="218016">
                      <a:moveTo>
                        <a:pt x="35545" y="201325"/>
                      </a:moveTo>
                      <a:lnTo>
                        <a:pt x="397" y="25039"/>
                      </a:lnTo>
                      <a:cubicBezTo>
                        <a:pt x="-1838" y="13746"/>
                        <a:pt x="5591" y="2634"/>
                        <a:pt x="16884" y="399"/>
                      </a:cubicBezTo>
                      <a:cubicBezTo>
                        <a:pt x="28178" y="-1835"/>
                        <a:pt x="39290" y="5533"/>
                        <a:pt x="41524" y="16886"/>
                      </a:cubicBezTo>
                      <a:lnTo>
                        <a:pt x="76612" y="193172"/>
                      </a:lnTo>
                      <a:cubicBezTo>
                        <a:pt x="78847" y="204465"/>
                        <a:pt x="71418" y="215578"/>
                        <a:pt x="60125" y="217812"/>
                      </a:cubicBezTo>
                      <a:cubicBezTo>
                        <a:pt x="48832" y="220047"/>
                        <a:pt x="37780" y="212618"/>
                        <a:pt x="35545" y="201325"/>
                      </a:cubicBezTo>
                    </a:path>
                  </a:pathLst>
                </a:custGeom>
                <a:solidFill>
                  <a:srgbClr val="FFFFFF"/>
                </a:solidFill>
                <a:ln w="59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defTabSz="914377">
                    <a:buClr>
                      <a:srgbClr val="000000"/>
                    </a:buClr>
                    <a:defRPr/>
                  </a:pPr>
                  <a:endParaRPr lang="en-US" sz="1867" kern="0">
                    <a:solidFill>
                      <a:srgbClr val="000000"/>
                    </a:solidFill>
                    <a:latin typeface="Arial"/>
                    <a:ea typeface="ＭＳ Ｐゴシック" charset="0"/>
                    <a:cs typeface="Arial"/>
                    <a:sym typeface="Arial"/>
                  </a:endParaRPr>
                </a:p>
              </p:txBody>
            </p:sp>
            <p:sp>
              <p:nvSpPr>
                <p:cNvPr id="45" name="Freeform: Shape 44">
                  <a:extLst>
                    <a:ext uri="{FF2B5EF4-FFF2-40B4-BE49-F238E27FC236}">
                      <a16:creationId xmlns:a16="http://schemas.microsoft.com/office/drawing/2014/main" id="{E045BBDC-3726-4E23-B129-A84886DB8385}"/>
                    </a:ext>
                  </a:extLst>
                </p:cNvPr>
                <p:cNvSpPr/>
                <p:nvPr/>
              </p:nvSpPr>
              <p:spPr>
                <a:xfrm>
                  <a:off x="11101408" y="583104"/>
                  <a:ext cx="76698" cy="218017"/>
                </a:xfrm>
                <a:custGeom>
                  <a:avLst/>
                  <a:gdLst>
                    <a:gd name="connsiteX0" fmla="*/ 41466 w 76698"/>
                    <a:gd name="connsiteY0" fmla="*/ 201325 h 218016"/>
                    <a:gd name="connsiteX1" fmla="*/ 76615 w 76698"/>
                    <a:gd name="connsiteY1" fmla="*/ 25039 h 218016"/>
                    <a:gd name="connsiteX2" fmla="*/ 60128 w 76698"/>
                    <a:gd name="connsiteY2" fmla="*/ 399 h 218016"/>
                    <a:gd name="connsiteX3" fmla="*/ 35487 w 76698"/>
                    <a:gd name="connsiteY3" fmla="*/ 16886 h 218016"/>
                    <a:gd name="connsiteX4" fmla="*/ 399 w 76698"/>
                    <a:gd name="connsiteY4" fmla="*/ 193172 h 218016"/>
                    <a:gd name="connsiteX5" fmla="*/ 16826 w 76698"/>
                    <a:gd name="connsiteY5" fmla="*/ 217812 h 218016"/>
                    <a:gd name="connsiteX6" fmla="*/ 41466 w 76698"/>
                    <a:gd name="connsiteY6" fmla="*/ 201325 h 21801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6698" h="218016">
                      <a:moveTo>
                        <a:pt x="41466" y="201325"/>
                      </a:moveTo>
                      <a:lnTo>
                        <a:pt x="76615" y="25039"/>
                      </a:lnTo>
                      <a:cubicBezTo>
                        <a:pt x="78849" y="13746"/>
                        <a:pt x="71421" y="2634"/>
                        <a:pt x="60128" y="399"/>
                      </a:cubicBezTo>
                      <a:cubicBezTo>
                        <a:pt x="48834" y="-1835"/>
                        <a:pt x="37782" y="5533"/>
                        <a:pt x="35487" y="16886"/>
                      </a:cubicBezTo>
                      <a:lnTo>
                        <a:pt x="399" y="193172"/>
                      </a:lnTo>
                      <a:cubicBezTo>
                        <a:pt x="-1835" y="204465"/>
                        <a:pt x="5533" y="215578"/>
                        <a:pt x="16826" y="217812"/>
                      </a:cubicBezTo>
                      <a:cubicBezTo>
                        <a:pt x="28120" y="220047"/>
                        <a:pt x="39232" y="212618"/>
                        <a:pt x="41466" y="201325"/>
                      </a:cubicBezTo>
                    </a:path>
                  </a:pathLst>
                </a:custGeom>
                <a:solidFill>
                  <a:srgbClr val="FFFFFF"/>
                </a:solidFill>
                <a:ln w="59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defTabSz="914377">
                    <a:buClr>
                      <a:srgbClr val="000000"/>
                    </a:buClr>
                    <a:defRPr/>
                  </a:pPr>
                  <a:endParaRPr lang="en-US" sz="1867" kern="0">
                    <a:solidFill>
                      <a:srgbClr val="000000"/>
                    </a:solidFill>
                    <a:latin typeface="Arial"/>
                    <a:ea typeface="ＭＳ Ｐゴシック" charset="0"/>
                    <a:cs typeface="Arial"/>
                    <a:sym typeface="Arial"/>
                  </a:endParaRPr>
                </a:p>
              </p:txBody>
            </p:sp>
            <p:sp>
              <p:nvSpPr>
                <p:cNvPr id="46" name="Freeform: Shape 45">
                  <a:extLst>
                    <a:ext uri="{FF2B5EF4-FFF2-40B4-BE49-F238E27FC236}">
                      <a16:creationId xmlns:a16="http://schemas.microsoft.com/office/drawing/2014/main" id="{4164EF13-A2D6-4BA1-B93E-646F4B45341F}"/>
                    </a:ext>
                  </a:extLst>
                </p:cNvPr>
                <p:cNvSpPr/>
                <p:nvPr/>
              </p:nvSpPr>
              <p:spPr>
                <a:xfrm>
                  <a:off x="11136438" y="583104"/>
                  <a:ext cx="76698" cy="218017"/>
                </a:xfrm>
                <a:custGeom>
                  <a:avLst/>
                  <a:gdLst>
                    <a:gd name="connsiteX0" fmla="*/ 35545 w 76698"/>
                    <a:gd name="connsiteY0" fmla="*/ 201325 h 218016"/>
                    <a:gd name="connsiteX1" fmla="*/ 397 w 76698"/>
                    <a:gd name="connsiteY1" fmla="*/ 25039 h 218016"/>
                    <a:gd name="connsiteX2" fmla="*/ 16884 w 76698"/>
                    <a:gd name="connsiteY2" fmla="*/ 399 h 218016"/>
                    <a:gd name="connsiteX3" fmla="*/ 41524 w 76698"/>
                    <a:gd name="connsiteY3" fmla="*/ 16886 h 218016"/>
                    <a:gd name="connsiteX4" fmla="*/ 76673 w 76698"/>
                    <a:gd name="connsiteY4" fmla="*/ 193172 h 218016"/>
                    <a:gd name="connsiteX5" fmla="*/ 60185 w 76698"/>
                    <a:gd name="connsiteY5" fmla="*/ 217812 h 218016"/>
                    <a:gd name="connsiteX6" fmla="*/ 35545 w 76698"/>
                    <a:gd name="connsiteY6" fmla="*/ 201325 h 21801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6698" h="218016">
                      <a:moveTo>
                        <a:pt x="35545" y="201325"/>
                      </a:moveTo>
                      <a:lnTo>
                        <a:pt x="397" y="25039"/>
                      </a:lnTo>
                      <a:cubicBezTo>
                        <a:pt x="-1838" y="13746"/>
                        <a:pt x="5591" y="2634"/>
                        <a:pt x="16884" y="399"/>
                      </a:cubicBezTo>
                      <a:cubicBezTo>
                        <a:pt x="28178" y="-1835"/>
                        <a:pt x="39229" y="5533"/>
                        <a:pt x="41524" y="16886"/>
                      </a:cubicBezTo>
                      <a:lnTo>
                        <a:pt x="76673" y="193172"/>
                      </a:lnTo>
                      <a:cubicBezTo>
                        <a:pt x="78907" y="204465"/>
                        <a:pt x="71479" y="215578"/>
                        <a:pt x="60185" y="217812"/>
                      </a:cubicBezTo>
                      <a:cubicBezTo>
                        <a:pt x="48892" y="220047"/>
                        <a:pt x="37780" y="212618"/>
                        <a:pt x="35545" y="201325"/>
                      </a:cubicBezTo>
                    </a:path>
                  </a:pathLst>
                </a:custGeom>
                <a:solidFill>
                  <a:srgbClr val="FFFFFF"/>
                </a:solidFill>
                <a:ln w="59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defTabSz="914377">
                    <a:buClr>
                      <a:srgbClr val="000000"/>
                    </a:buClr>
                    <a:defRPr/>
                  </a:pPr>
                  <a:endParaRPr lang="en-US" sz="1867" kern="0">
                    <a:solidFill>
                      <a:srgbClr val="000000"/>
                    </a:solidFill>
                    <a:latin typeface="Arial"/>
                    <a:ea typeface="ＭＳ Ｐゴシック" charset="0"/>
                    <a:cs typeface="Arial"/>
                    <a:sym typeface="Arial"/>
                  </a:endParaRPr>
                </a:p>
              </p:txBody>
            </p:sp>
            <p:sp>
              <p:nvSpPr>
                <p:cNvPr id="47" name="Freeform: Shape 46">
                  <a:extLst>
                    <a:ext uri="{FF2B5EF4-FFF2-40B4-BE49-F238E27FC236}">
                      <a16:creationId xmlns:a16="http://schemas.microsoft.com/office/drawing/2014/main" id="{1F09E105-B3CE-4F05-89E2-7E4FD4C35281}"/>
                    </a:ext>
                  </a:extLst>
                </p:cNvPr>
                <p:cNvSpPr/>
                <p:nvPr/>
              </p:nvSpPr>
              <p:spPr>
                <a:xfrm>
                  <a:off x="11171584" y="583104"/>
                  <a:ext cx="76698" cy="218017"/>
                </a:xfrm>
                <a:custGeom>
                  <a:avLst/>
                  <a:gdLst>
                    <a:gd name="connsiteX0" fmla="*/ 41527 w 76698"/>
                    <a:gd name="connsiteY0" fmla="*/ 201325 h 218016"/>
                    <a:gd name="connsiteX1" fmla="*/ 76675 w 76698"/>
                    <a:gd name="connsiteY1" fmla="*/ 25039 h 218016"/>
                    <a:gd name="connsiteX2" fmla="*/ 60188 w 76698"/>
                    <a:gd name="connsiteY2" fmla="*/ 399 h 218016"/>
                    <a:gd name="connsiteX3" fmla="*/ 35548 w 76698"/>
                    <a:gd name="connsiteY3" fmla="*/ 16886 h 218016"/>
                    <a:gd name="connsiteX4" fmla="*/ 399 w 76698"/>
                    <a:gd name="connsiteY4" fmla="*/ 193172 h 218016"/>
                    <a:gd name="connsiteX5" fmla="*/ 16886 w 76698"/>
                    <a:gd name="connsiteY5" fmla="*/ 217812 h 218016"/>
                    <a:gd name="connsiteX6" fmla="*/ 41527 w 76698"/>
                    <a:gd name="connsiteY6" fmla="*/ 201325 h 21801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6698" h="218016">
                      <a:moveTo>
                        <a:pt x="41527" y="201325"/>
                      </a:moveTo>
                      <a:lnTo>
                        <a:pt x="76675" y="25039"/>
                      </a:lnTo>
                      <a:cubicBezTo>
                        <a:pt x="78909" y="13746"/>
                        <a:pt x="71481" y="2634"/>
                        <a:pt x="60188" y="399"/>
                      </a:cubicBezTo>
                      <a:cubicBezTo>
                        <a:pt x="48894" y="-1835"/>
                        <a:pt x="37782" y="5533"/>
                        <a:pt x="35548" y="16886"/>
                      </a:cubicBezTo>
                      <a:lnTo>
                        <a:pt x="399" y="193172"/>
                      </a:lnTo>
                      <a:cubicBezTo>
                        <a:pt x="-1835" y="204465"/>
                        <a:pt x="5533" y="215578"/>
                        <a:pt x="16886" y="217812"/>
                      </a:cubicBezTo>
                      <a:cubicBezTo>
                        <a:pt x="28180" y="220047"/>
                        <a:pt x="39292" y="212618"/>
                        <a:pt x="41527" y="201325"/>
                      </a:cubicBezTo>
                    </a:path>
                  </a:pathLst>
                </a:custGeom>
                <a:solidFill>
                  <a:srgbClr val="FFFFFF"/>
                </a:solidFill>
                <a:ln w="59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defTabSz="914377">
                    <a:buClr>
                      <a:srgbClr val="000000"/>
                    </a:buClr>
                    <a:defRPr/>
                  </a:pPr>
                  <a:endParaRPr lang="en-US" sz="1867" kern="0">
                    <a:solidFill>
                      <a:srgbClr val="000000"/>
                    </a:solidFill>
                    <a:latin typeface="Arial"/>
                    <a:ea typeface="ＭＳ Ｐゴシック" charset="0"/>
                    <a:cs typeface="Arial"/>
                    <a:sym typeface="Arial"/>
                  </a:endParaRPr>
                </a:p>
              </p:txBody>
            </p:sp>
          </p:grpSp>
        </p:grpSp>
      </p:grpSp>
    </p:spTree>
    <p:extLst>
      <p:ext uri="{BB962C8B-B14F-4D97-AF65-F5344CB8AC3E}">
        <p14:creationId xmlns:p14="http://schemas.microsoft.com/office/powerpoint/2010/main" val="25034562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70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6D57CD81-2952-41C1-B0EB-A1271C33EC5D}"/>
              </a:ext>
            </a:extLst>
          </p:cNvPr>
          <p:cNvSpPr>
            <a:spLocks noGrp="1"/>
          </p:cNvSpPr>
          <p:nvPr>
            <p:ph type="title"/>
          </p:nvPr>
        </p:nvSpPr>
        <p:spPr>
          <a:ln>
            <a:noFill/>
          </a:ln>
        </p:spPr>
        <p:txBody>
          <a:bodyPr/>
          <a:lstStyle/>
          <a:p>
            <a:r>
              <a:rPr lang="en-US"/>
              <a:t>Resilient, adaptive, and transformative IT </a:t>
            </a:r>
            <a:br>
              <a:rPr lang="en-US"/>
            </a:br>
            <a:r>
              <a:rPr lang="en-GB" sz="2400">
                <a:solidFill>
                  <a:schemeClr val="accent4"/>
                </a:solidFill>
              </a:rPr>
              <a:t>A history of strong customer results</a:t>
            </a:r>
            <a:endParaRPr lang="en-US" sz="2400">
              <a:solidFill>
                <a:schemeClr val="accent4"/>
              </a:solidFill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C7D7DB23-A31F-904A-9EA9-9EFB69896DFA}"/>
              </a:ext>
            </a:extLst>
          </p:cNvPr>
          <p:cNvSpPr/>
          <p:nvPr/>
        </p:nvSpPr>
        <p:spPr>
          <a:xfrm>
            <a:off x="3" y="3277659"/>
            <a:ext cx="12191999" cy="2119103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0955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37F8989E-73FF-104C-A94D-14B4F50DDC2F}"/>
              </a:ext>
            </a:extLst>
          </p:cNvPr>
          <p:cNvSpPr/>
          <p:nvPr/>
        </p:nvSpPr>
        <p:spPr>
          <a:xfrm>
            <a:off x="3142552" y="2262425"/>
            <a:ext cx="1605407" cy="1605407"/>
          </a:xfrm>
          <a:prstGeom prst="ellipse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09539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sp>
        <p:nvSpPr>
          <p:cNvPr id="711" name="Google Shape;711;p129"/>
          <p:cNvSpPr txBox="1"/>
          <p:nvPr/>
        </p:nvSpPr>
        <p:spPr>
          <a:xfrm>
            <a:off x="3142552" y="3944363"/>
            <a:ext cx="1605407" cy="27461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ctr" defTabSz="609539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iscoSansTT ExtraLight" panose="020B0303020201020303" pitchFamily="34" charset="0"/>
                <a:ea typeface="Helvetica Neue Light"/>
                <a:cs typeface="CiscoSansTT ExtraLight" panose="020B0303020201020303" pitchFamily="34" charset="0"/>
                <a:sym typeface="Helvetica Neue Light"/>
              </a:rPr>
              <a:t>Engineering</a:t>
            </a: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iscoSansTT ExtraLight" panose="020B0303020201020303" pitchFamily="34" charset="0"/>
              <a:ea typeface="Helvetica Neue Light"/>
              <a:cs typeface="CiscoSansTT ExtraLight" panose="020B0303020201020303" pitchFamily="34" charset="0"/>
              <a:sym typeface="Helvetica Neue Light"/>
            </a:endParaRPr>
          </a:p>
        </p:txBody>
      </p:sp>
      <p:sp>
        <p:nvSpPr>
          <p:cNvPr id="67" name="TextBox 66">
            <a:extLst>
              <a:ext uri="{FF2B5EF4-FFF2-40B4-BE49-F238E27FC236}">
                <a16:creationId xmlns:a16="http://schemas.microsoft.com/office/drawing/2014/main" id="{A8A4A4D8-2668-7248-BB70-D5B480806994}"/>
              </a:ext>
            </a:extLst>
          </p:cNvPr>
          <p:cNvSpPr txBox="1"/>
          <p:nvPr/>
        </p:nvSpPr>
        <p:spPr>
          <a:xfrm>
            <a:off x="3060712" y="4322763"/>
            <a:ext cx="1769087" cy="985704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noAutofit/>
          </a:bodyPr>
          <a:lstStyle/>
          <a:p>
            <a:pPr marL="0" marR="0" lvl="0" indent="0" algn="ctr" defTabSz="609539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282828"/>
              </a:buClr>
              <a:buSzPts val="1200"/>
              <a:buFont typeface="Arial"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iscoSansTT" panose="020B0503020201020303" pitchFamily="34" charset="0"/>
                <a:ea typeface="ＭＳ Ｐゴシック" charset="0"/>
                <a:cs typeface="CiscoSansTT" panose="020B0503020201020303" pitchFamily="34" charset="0"/>
                <a:sym typeface="Arial"/>
              </a:rPr>
              <a:t>Design </a:t>
            </a:r>
          </a:p>
          <a:p>
            <a:pPr marL="0" marR="0" lvl="0" indent="0" algn="ctr" defTabSz="609539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282828"/>
              </a:buClr>
              <a:buSzPts val="1200"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iscoSansTT ExtraLight"/>
                <a:ea typeface="ＭＳ Ｐゴシック" charset="0"/>
                <a:cs typeface="Arial"/>
                <a:sym typeface="Arial"/>
              </a:rPr>
              <a:t>Design and deploy </a:t>
            </a:r>
            <a:b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iscoSansTT ExtraLight"/>
                <a:ea typeface="ＭＳ Ｐゴシック" charset="0"/>
                <a:cs typeface="Arial"/>
                <a:sym typeface="Arial"/>
              </a:rPr>
            </a:b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iscoSansTT ExtraLight"/>
                <a:ea typeface="ＭＳ Ｐゴシック" charset="0"/>
                <a:cs typeface="Arial"/>
                <a:sym typeface="Arial"/>
              </a:rPr>
              <a:t>for changing </a:t>
            </a:r>
            <a:b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iscoSansTT ExtraLight"/>
                <a:ea typeface="ＭＳ Ｐゴシック" charset="0"/>
                <a:cs typeface="Arial"/>
                <a:sym typeface="Arial"/>
              </a:rPr>
            </a:b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iscoSansTT ExtraLight"/>
                <a:ea typeface="ＭＳ Ｐゴシック" charset="0"/>
                <a:cs typeface="Arial"/>
                <a:sym typeface="Arial"/>
              </a:rPr>
              <a:t>business needs</a:t>
            </a:r>
          </a:p>
        </p:txBody>
      </p:sp>
      <p:sp>
        <p:nvSpPr>
          <p:cNvPr id="32" name="Google Shape;1433;p198">
            <a:extLst>
              <a:ext uri="{FF2B5EF4-FFF2-40B4-BE49-F238E27FC236}">
                <a16:creationId xmlns:a16="http://schemas.microsoft.com/office/drawing/2014/main" id="{0946154B-944F-49D6-997A-776AA41BA72F}"/>
              </a:ext>
            </a:extLst>
          </p:cNvPr>
          <p:cNvSpPr/>
          <p:nvPr/>
        </p:nvSpPr>
        <p:spPr>
          <a:xfrm>
            <a:off x="3270219" y="2390091"/>
            <a:ext cx="1350073" cy="1350075"/>
          </a:xfrm>
          <a:prstGeom prst="ellipse">
            <a:avLst/>
          </a:prstGeom>
          <a:noFill/>
          <a:ln w="76200" cap="flat" cmpd="sng">
            <a:solidFill>
              <a:srgbClr val="ECF2F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60933" rIns="121900" bIns="60933" anchor="t" anchorCtr="0">
            <a:noAutofit/>
          </a:bodyPr>
          <a:lstStyle/>
          <a:p>
            <a:pPr marL="0" marR="0" lvl="0" indent="0" algn="ctr" defTabSz="12190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Tx/>
              <a:buNone/>
              <a:tabLst/>
              <a:defRPr/>
            </a:pPr>
            <a:endParaRPr kumimoji="0" sz="2400" b="0" i="0" u="none" strike="noStrike" kern="0" cap="none" spc="0" normalizeH="0" baseline="0" noProof="0">
              <a:ln>
                <a:noFill/>
              </a:ln>
              <a:solidFill>
                <a:srgbClr val="282828"/>
              </a:solidFill>
              <a:effectLst/>
              <a:uLnTx/>
              <a:uFillTx/>
              <a:latin typeface="CiscoSansTT ExtraLight" panose="020B0303020201020303" pitchFamily="34" charset="0"/>
              <a:ea typeface="ＭＳ Ｐゴシック" charset="0"/>
              <a:cs typeface="CiscoSansTT ExtraLight" panose="020B0303020201020303" pitchFamily="34" charset="0"/>
              <a:sym typeface="Arial"/>
            </a:endParaRPr>
          </a:p>
        </p:txBody>
      </p:sp>
      <p:sp>
        <p:nvSpPr>
          <p:cNvPr id="33" name="Google Shape;1434;p198">
            <a:extLst>
              <a:ext uri="{FF2B5EF4-FFF2-40B4-BE49-F238E27FC236}">
                <a16:creationId xmlns:a16="http://schemas.microsoft.com/office/drawing/2014/main" id="{656D6115-A248-437F-863B-824D882363A8}"/>
              </a:ext>
            </a:extLst>
          </p:cNvPr>
          <p:cNvSpPr/>
          <p:nvPr/>
        </p:nvSpPr>
        <p:spPr>
          <a:xfrm>
            <a:off x="3292475" y="2391661"/>
            <a:ext cx="1305561" cy="1346935"/>
          </a:xfrm>
          <a:custGeom>
            <a:avLst/>
            <a:gdLst/>
            <a:ahLst/>
            <a:cxnLst/>
            <a:rect l="l" t="t" r="r" b="b"/>
            <a:pathLst>
              <a:path w="259" h="265" extrusionOk="0">
                <a:moveTo>
                  <a:pt x="126" y="0"/>
                </a:moveTo>
                <a:cubicBezTo>
                  <a:pt x="200" y="0"/>
                  <a:pt x="259" y="59"/>
                  <a:pt x="259" y="132"/>
                </a:cubicBezTo>
                <a:cubicBezTo>
                  <a:pt x="259" y="205"/>
                  <a:pt x="200" y="265"/>
                  <a:pt x="126" y="265"/>
                </a:cubicBezTo>
                <a:cubicBezTo>
                  <a:pt x="68" y="265"/>
                  <a:pt x="19" y="229"/>
                  <a:pt x="0" y="173"/>
                </a:cubicBezTo>
              </a:path>
            </a:pathLst>
          </a:custGeom>
          <a:noFill/>
          <a:ln w="76200" cap="rnd" cmpd="sng">
            <a:solidFill>
              <a:schemeClr val="accent2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121900" tIns="60933" rIns="121900" bIns="60933" anchor="t" anchorCtr="0">
            <a:noAutofit/>
          </a:bodyPr>
          <a:lstStyle/>
          <a:p>
            <a:pPr marL="0" marR="0" lvl="0" indent="0" algn="ctr" defTabSz="12190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Tx/>
              <a:buNone/>
              <a:tabLst/>
              <a:defRPr/>
            </a:pPr>
            <a:endParaRPr kumimoji="0" sz="2400" b="0" i="0" u="none" strike="noStrike" kern="0" cap="none" spc="0" normalizeH="0" baseline="0" noProof="0">
              <a:ln>
                <a:noFill/>
              </a:ln>
              <a:solidFill>
                <a:srgbClr val="282828"/>
              </a:solidFill>
              <a:effectLst/>
              <a:uLnTx/>
              <a:uFillTx/>
              <a:latin typeface="CiscoSansTT ExtraLight" panose="020B0303020201020303" pitchFamily="34" charset="0"/>
              <a:ea typeface="ＭＳ Ｐゴシック" charset="0"/>
              <a:cs typeface="CiscoSansTT ExtraLight" panose="020B0303020201020303" pitchFamily="34" charset="0"/>
              <a:sym typeface="Arial"/>
            </a:endParaRPr>
          </a:p>
        </p:txBody>
      </p:sp>
      <p:sp>
        <p:nvSpPr>
          <p:cNvPr id="34" name="Google Shape;1446;p198">
            <a:extLst>
              <a:ext uri="{FF2B5EF4-FFF2-40B4-BE49-F238E27FC236}">
                <a16:creationId xmlns:a16="http://schemas.microsoft.com/office/drawing/2014/main" id="{0223A413-22D1-42A3-804B-DC3A737D02C4}"/>
              </a:ext>
            </a:extLst>
          </p:cNvPr>
          <p:cNvSpPr txBox="1"/>
          <p:nvPr/>
        </p:nvSpPr>
        <p:spPr>
          <a:xfrm>
            <a:off x="3293299" y="5463697"/>
            <a:ext cx="1303913" cy="498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ctr" defTabSz="12190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142849"/>
                </a:solidFill>
                <a:effectLst/>
                <a:uLnTx/>
                <a:uFillTx/>
                <a:latin typeface="CiscoSansTT ExtraLight" panose="020B0303020201020303" pitchFamily="34" charset="0"/>
                <a:ea typeface="ＭＳ Ｐゴシック" charset="0"/>
                <a:cs typeface="CiscoSansTT ExtraLight" panose="020B0303020201020303" pitchFamily="34" charset="0"/>
                <a:sym typeface="Arial"/>
              </a:rPr>
              <a:t>Faster software updates</a:t>
            </a:r>
            <a:endParaRPr kumimoji="0" sz="1200" b="0" i="0" u="none" strike="noStrike" kern="0" cap="none" spc="0" normalizeH="0" baseline="0" noProof="0">
              <a:ln>
                <a:noFill/>
              </a:ln>
              <a:solidFill>
                <a:srgbClr val="142849"/>
              </a:solidFill>
              <a:effectLst/>
              <a:uLnTx/>
              <a:uFillTx/>
              <a:latin typeface="CiscoSansTT ExtraLight" panose="020B0303020201020303" pitchFamily="34" charset="0"/>
              <a:ea typeface="ＭＳ Ｐゴシック" charset="0"/>
              <a:cs typeface="CiscoSansTT ExtraLight" panose="020B0303020201020303" pitchFamily="34" charset="0"/>
              <a:sym typeface="Arial"/>
            </a:endParaRPr>
          </a:p>
        </p:txBody>
      </p:sp>
      <p:sp>
        <p:nvSpPr>
          <p:cNvPr id="35" name="Google Shape;1447;p198">
            <a:extLst>
              <a:ext uri="{FF2B5EF4-FFF2-40B4-BE49-F238E27FC236}">
                <a16:creationId xmlns:a16="http://schemas.microsoft.com/office/drawing/2014/main" id="{682836D1-DCB4-4F56-B907-FC0C953FD325}"/>
              </a:ext>
            </a:extLst>
          </p:cNvPr>
          <p:cNvSpPr txBox="1"/>
          <p:nvPr/>
        </p:nvSpPr>
        <p:spPr>
          <a:xfrm>
            <a:off x="3437925" y="2828794"/>
            <a:ext cx="1014660" cy="47266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defTabSz="12190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000"/>
              <a:buFontTx/>
              <a:buNone/>
              <a:tabLst/>
              <a:defRPr/>
            </a:pPr>
            <a:r>
              <a:rPr kumimoji="0" lang="en-US" sz="4000" b="0" i="0" u="none" strike="noStrike" kern="0" cap="none" spc="0" normalizeH="0" baseline="0" noProof="0">
                <a:ln>
                  <a:noFill/>
                </a:ln>
                <a:solidFill>
                  <a:srgbClr val="142849"/>
                </a:solidFill>
                <a:effectLst/>
                <a:uLnTx/>
                <a:uFillTx/>
                <a:latin typeface="CiscoSansTT ExtraLight" panose="020B0303020201020303" pitchFamily="34" charset="0"/>
                <a:ea typeface="ＭＳ Ｐゴシック" charset="0"/>
                <a:cs typeface="CiscoSansTT ExtraLight" panose="020B0303020201020303" pitchFamily="34" charset="0"/>
                <a:sym typeface="Arial"/>
              </a:rPr>
              <a:t>70</a:t>
            </a:r>
            <a:r>
              <a:rPr kumimoji="0" lang="en-US" sz="4000" b="0" i="0" u="none" strike="noStrike" kern="0" cap="none" spc="0" normalizeH="0" baseline="30000" noProof="0">
                <a:ln>
                  <a:noFill/>
                </a:ln>
                <a:solidFill>
                  <a:srgbClr val="142849"/>
                </a:solidFill>
                <a:effectLst/>
                <a:uLnTx/>
                <a:uFillTx/>
                <a:latin typeface="CiscoSansTT ExtraLight" panose="020B0303020201020303" pitchFamily="34" charset="0"/>
                <a:ea typeface="ＭＳ Ｐゴシック" charset="0"/>
                <a:cs typeface="CiscoSansTT ExtraLight" panose="020B0303020201020303" pitchFamily="34" charset="0"/>
                <a:sym typeface="Arial"/>
              </a:rPr>
              <a:t>%</a:t>
            </a:r>
            <a:endParaRPr kumimoji="0" sz="4000" b="0" i="0" u="none" strike="noStrike" kern="0" cap="none" spc="0" normalizeH="0" baseline="30000" noProof="0">
              <a:ln>
                <a:noFill/>
              </a:ln>
              <a:solidFill>
                <a:srgbClr val="142849"/>
              </a:solidFill>
              <a:effectLst/>
              <a:uLnTx/>
              <a:uFillTx/>
              <a:latin typeface="CiscoSansTT ExtraLight" panose="020B0303020201020303" pitchFamily="34" charset="0"/>
              <a:ea typeface="ＭＳ Ｐゴシック" charset="0"/>
              <a:cs typeface="CiscoSansTT ExtraLight" panose="020B0303020201020303" pitchFamily="34" charset="0"/>
              <a:sym typeface="Arial"/>
            </a:endParaRPr>
          </a:p>
        </p:txBody>
      </p:sp>
      <p:sp>
        <p:nvSpPr>
          <p:cNvPr id="56" name="Oval 55">
            <a:extLst>
              <a:ext uri="{FF2B5EF4-FFF2-40B4-BE49-F238E27FC236}">
                <a16:creationId xmlns:a16="http://schemas.microsoft.com/office/drawing/2014/main" id="{8F747B89-2BF5-EA42-8536-E9B9E8ED7F1D}"/>
              </a:ext>
            </a:extLst>
          </p:cNvPr>
          <p:cNvSpPr/>
          <p:nvPr/>
        </p:nvSpPr>
        <p:spPr>
          <a:xfrm>
            <a:off x="5300239" y="2262425"/>
            <a:ext cx="1605407" cy="1605407"/>
          </a:xfrm>
          <a:prstGeom prst="ellipse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09539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sp>
        <p:nvSpPr>
          <p:cNvPr id="712" name="Google Shape;712;p129"/>
          <p:cNvSpPr txBox="1"/>
          <p:nvPr/>
        </p:nvSpPr>
        <p:spPr>
          <a:xfrm>
            <a:off x="5662069" y="3944363"/>
            <a:ext cx="881747" cy="27461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ctr" defTabSz="609539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iscoSansTT ExtraLight" panose="020B0303020201020303" pitchFamily="34" charset="0"/>
                <a:ea typeface="Helvetica Neue Light"/>
                <a:cs typeface="CiscoSansTT ExtraLight" panose="020B0303020201020303" pitchFamily="34" charset="0"/>
                <a:sym typeface="Helvetica Neue Light"/>
              </a:rPr>
              <a:t>NetOps</a:t>
            </a: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iscoSansTT ExtraLight" panose="020B0303020201020303" pitchFamily="34" charset="0"/>
              <a:ea typeface="Helvetica Neue Light"/>
              <a:cs typeface="CiscoSansTT ExtraLight" panose="020B0303020201020303" pitchFamily="34" charset="0"/>
              <a:sym typeface="Helvetica Neue Light"/>
            </a:endParaRPr>
          </a:p>
        </p:txBody>
      </p:sp>
      <p:sp>
        <p:nvSpPr>
          <p:cNvPr id="68" name="TextBox 67">
            <a:extLst>
              <a:ext uri="{FF2B5EF4-FFF2-40B4-BE49-F238E27FC236}">
                <a16:creationId xmlns:a16="http://schemas.microsoft.com/office/drawing/2014/main" id="{64F1C6AE-DE64-364E-8CA7-26512F9BC9B7}"/>
              </a:ext>
            </a:extLst>
          </p:cNvPr>
          <p:cNvSpPr txBox="1"/>
          <p:nvPr/>
        </p:nvSpPr>
        <p:spPr>
          <a:xfrm>
            <a:off x="5264741" y="4322763"/>
            <a:ext cx="1676403" cy="985704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noAutofit/>
          </a:bodyPr>
          <a:lstStyle/>
          <a:p>
            <a:pPr marL="0" marR="0" lvl="0" indent="0" algn="ctr" defTabSz="609539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282828"/>
              </a:buClr>
              <a:buSzPts val="1200"/>
              <a:buFont typeface="Arial"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iscoSansTT" panose="020B0503020201020303" pitchFamily="34" charset="0"/>
                <a:ea typeface="ＭＳ Ｐゴシック" charset="0"/>
                <a:cs typeface="CiscoSansTT" panose="020B0503020201020303" pitchFamily="34" charset="0"/>
                <a:sym typeface="Arial"/>
              </a:rPr>
              <a:t>Performance</a:t>
            </a:r>
          </a:p>
          <a:p>
            <a:pPr marL="0" marR="0" lvl="0" indent="0" algn="ctr" defTabSz="609539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282828"/>
              </a:buClr>
              <a:buSzPts val="1200"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iscoSansTT ExtraLight"/>
                <a:ea typeface="ＭＳ Ｐゴシック" charset="0"/>
                <a:cs typeface="Arial"/>
                <a:sym typeface="Arial"/>
              </a:rPr>
              <a:t>Predict and resolve issues and increase performance </a:t>
            </a:r>
          </a:p>
        </p:txBody>
      </p:sp>
      <p:grpSp>
        <p:nvGrpSpPr>
          <p:cNvPr id="36" name="Google Shape;1435;p198">
            <a:extLst>
              <a:ext uri="{FF2B5EF4-FFF2-40B4-BE49-F238E27FC236}">
                <a16:creationId xmlns:a16="http://schemas.microsoft.com/office/drawing/2014/main" id="{CBFA99EA-ADBB-484A-AFFB-A4549EAA3651}"/>
              </a:ext>
            </a:extLst>
          </p:cNvPr>
          <p:cNvGrpSpPr/>
          <p:nvPr/>
        </p:nvGrpSpPr>
        <p:grpSpPr>
          <a:xfrm>
            <a:off x="5425070" y="2388936"/>
            <a:ext cx="1355740" cy="1352384"/>
            <a:chOff x="2967461" y="2134438"/>
            <a:chExt cx="727200" cy="725400"/>
          </a:xfrm>
        </p:grpSpPr>
        <p:sp>
          <p:nvSpPr>
            <p:cNvPr id="37" name="Google Shape;1436;p198">
              <a:extLst>
                <a:ext uri="{FF2B5EF4-FFF2-40B4-BE49-F238E27FC236}">
                  <a16:creationId xmlns:a16="http://schemas.microsoft.com/office/drawing/2014/main" id="{D79B47EA-03C3-4972-8649-623A26DD71BB}"/>
                </a:ext>
              </a:extLst>
            </p:cNvPr>
            <p:cNvSpPr/>
            <p:nvPr/>
          </p:nvSpPr>
          <p:spPr>
            <a:xfrm>
              <a:off x="2967461" y="2134438"/>
              <a:ext cx="727200" cy="725400"/>
            </a:xfrm>
            <a:prstGeom prst="ellipse">
              <a:avLst/>
            </a:prstGeom>
            <a:noFill/>
            <a:ln w="76200" cap="flat" cmpd="sng">
              <a:solidFill>
                <a:srgbClr val="ECF2F6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60933" rIns="121900" bIns="60933" anchor="t" anchorCtr="0">
              <a:noAutofit/>
            </a:bodyPr>
            <a:lstStyle/>
            <a:p>
              <a:pPr marL="0" marR="0" lvl="0" indent="0" algn="ctr" defTabSz="12190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  <a:tabLst/>
                <a:defRPr/>
              </a:pPr>
              <a:endParaRPr kumimoji="0" sz="2400" b="0" i="0" u="none" strike="noStrike" kern="0" cap="none" spc="0" normalizeH="0" baseline="0" noProof="0">
                <a:ln>
                  <a:noFill/>
                </a:ln>
                <a:solidFill>
                  <a:srgbClr val="282828"/>
                </a:solidFill>
                <a:effectLst/>
                <a:uLnTx/>
                <a:uFillTx/>
                <a:latin typeface="CiscoSansTT ExtraLight" panose="020B0303020201020303" pitchFamily="34" charset="0"/>
                <a:ea typeface="ＭＳ Ｐゴシック" charset="0"/>
                <a:cs typeface="CiscoSansTT ExtraLight" panose="020B0303020201020303" pitchFamily="34" charset="0"/>
                <a:sym typeface="Arial"/>
              </a:endParaRPr>
            </a:p>
          </p:txBody>
        </p:sp>
        <p:sp>
          <p:nvSpPr>
            <p:cNvPr id="38" name="Google Shape;1437;p198">
              <a:extLst>
                <a:ext uri="{FF2B5EF4-FFF2-40B4-BE49-F238E27FC236}">
                  <a16:creationId xmlns:a16="http://schemas.microsoft.com/office/drawing/2014/main" id="{2901F714-8AFF-4386-91B0-40D1A002A01A}"/>
                </a:ext>
              </a:extLst>
            </p:cNvPr>
            <p:cNvSpPr/>
            <p:nvPr/>
          </p:nvSpPr>
          <p:spPr>
            <a:xfrm>
              <a:off x="2967462" y="2134438"/>
              <a:ext cx="726025" cy="723900"/>
            </a:xfrm>
            <a:custGeom>
              <a:avLst/>
              <a:gdLst/>
              <a:ahLst/>
              <a:cxnLst/>
              <a:rect l="l" t="t" r="r" b="b"/>
              <a:pathLst>
                <a:path w="264" h="265" extrusionOk="0">
                  <a:moveTo>
                    <a:pt x="132" y="0"/>
                  </a:moveTo>
                  <a:cubicBezTo>
                    <a:pt x="205" y="0"/>
                    <a:pt x="264" y="60"/>
                    <a:pt x="264" y="133"/>
                  </a:cubicBezTo>
                  <a:cubicBezTo>
                    <a:pt x="264" y="206"/>
                    <a:pt x="205" y="265"/>
                    <a:pt x="132" y="265"/>
                  </a:cubicBezTo>
                  <a:cubicBezTo>
                    <a:pt x="62" y="265"/>
                    <a:pt x="5" y="212"/>
                    <a:pt x="0" y="142"/>
                  </a:cubicBezTo>
                </a:path>
              </a:pathLst>
            </a:custGeom>
            <a:noFill/>
            <a:ln w="76200" cap="rnd" cmpd="sng">
              <a:solidFill>
                <a:schemeClr val="accent2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121900" tIns="60933" rIns="121900" bIns="60933" anchor="t" anchorCtr="0">
              <a:noAutofit/>
            </a:bodyPr>
            <a:lstStyle/>
            <a:p>
              <a:pPr marL="0" marR="0" lvl="0" indent="0" algn="ctr" defTabSz="12190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Tx/>
                <a:buNone/>
                <a:tabLst/>
                <a:defRPr/>
              </a:pPr>
              <a:endParaRPr kumimoji="0" sz="2400" b="0" i="0" u="none" strike="noStrike" kern="0" cap="none" spc="0" normalizeH="0" baseline="0" noProof="0">
                <a:ln>
                  <a:noFill/>
                </a:ln>
                <a:solidFill>
                  <a:srgbClr val="282828"/>
                </a:solidFill>
                <a:effectLst/>
                <a:uLnTx/>
                <a:uFillTx/>
                <a:latin typeface="CiscoSansTT ExtraLight" panose="020B0303020201020303" pitchFamily="34" charset="0"/>
                <a:ea typeface="ＭＳ Ｐゴシック" charset="0"/>
                <a:cs typeface="CiscoSansTT ExtraLight" panose="020B0303020201020303" pitchFamily="34" charset="0"/>
                <a:sym typeface="Arial"/>
              </a:endParaRPr>
            </a:p>
          </p:txBody>
        </p:sp>
      </p:grpSp>
      <p:sp>
        <p:nvSpPr>
          <p:cNvPr id="39" name="Google Shape;1450;p198">
            <a:extLst>
              <a:ext uri="{FF2B5EF4-FFF2-40B4-BE49-F238E27FC236}">
                <a16:creationId xmlns:a16="http://schemas.microsoft.com/office/drawing/2014/main" id="{7ECA01A1-D312-4DE7-BC27-840510FBD274}"/>
              </a:ext>
            </a:extLst>
          </p:cNvPr>
          <p:cNvSpPr txBox="1"/>
          <p:nvPr/>
        </p:nvSpPr>
        <p:spPr>
          <a:xfrm>
            <a:off x="5664766" y="5463697"/>
            <a:ext cx="876352" cy="498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ctr" defTabSz="12190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14284A"/>
                </a:solidFill>
                <a:effectLst/>
                <a:uLnTx/>
                <a:uFillTx/>
                <a:latin typeface="CiscoSansTT ExtraLight" panose="020B0303020201020303" pitchFamily="34" charset="0"/>
                <a:ea typeface="ＭＳ Ｐゴシック" charset="0"/>
                <a:cs typeface="CiscoSansTT ExtraLight" panose="020B0303020201020303" pitchFamily="34" charset="0"/>
                <a:sym typeface="Arial"/>
              </a:rPr>
              <a:t>Less </a:t>
            </a:r>
            <a:b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14284A"/>
                </a:solidFill>
                <a:effectLst/>
                <a:uLnTx/>
                <a:uFillTx/>
                <a:latin typeface="CiscoSansTT ExtraLight" panose="020B0303020201020303" pitchFamily="34" charset="0"/>
                <a:ea typeface="ＭＳ Ｐゴシック" charset="0"/>
                <a:cs typeface="CiscoSansTT ExtraLight" panose="020B0303020201020303" pitchFamily="34" charset="0"/>
                <a:sym typeface="Arial"/>
              </a:rPr>
            </a:b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14284A"/>
                </a:solidFill>
                <a:effectLst/>
                <a:uLnTx/>
                <a:uFillTx/>
                <a:latin typeface="CiscoSansTT ExtraLight" panose="020B0303020201020303" pitchFamily="34" charset="0"/>
                <a:ea typeface="ＭＳ Ｐゴシック" charset="0"/>
                <a:cs typeface="CiscoSansTT ExtraLight" panose="020B0303020201020303" pitchFamily="34" charset="0"/>
                <a:sym typeface="Arial"/>
              </a:rPr>
              <a:t>downtime </a:t>
            </a:r>
            <a:endParaRPr kumimoji="0" sz="1200" b="0" i="0" u="none" strike="noStrike" kern="0" cap="none" spc="0" normalizeH="0" baseline="0" noProof="0">
              <a:ln>
                <a:noFill/>
              </a:ln>
              <a:solidFill>
                <a:srgbClr val="14284A"/>
              </a:solidFill>
              <a:effectLst/>
              <a:uLnTx/>
              <a:uFillTx/>
              <a:latin typeface="CiscoSansTT ExtraLight" panose="020B0303020201020303" pitchFamily="34" charset="0"/>
              <a:ea typeface="ＭＳ Ｐゴシック" charset="0"/>
              <a:cs typeface="CiscoSansTT ExtraLight" panose="020B0303020201020303" pitchFamily="34" charset="0"/>
              <a:sym typeface="Arial"/>
            </a:endParaRPr>
          </a:p>
        </p:txBody>
      </p:sp>
      <p:sp>
        <p:nvSpPr>
          <p:cNvPr id="40" name="Google Shape;1451;p198">
            <a:extLst>
              <a:ext uri="{FF2B5EF4-FFF2-40B4-BE49-F238E27FC236}">
                <a16:creationId xmlns:a16="http://schemas.microsoft.com/office/drawing/2014/main" id="{CD32C8C3-5E6B-4358-B9B9-DC078B8ACA06}"/>
              </a:ext>
            </a:extLst>
          </p:cNvPr>
          <p:cNvSpPr txBox="1"/>
          <p:nvPr/>
        </p:nvSpPr>
        <p:spPr>
          <a:xfrm>
            <a:off x="5608970" y="2828794"/>
            <a:ext cx="987944" cy="47266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defTabSz="12190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000"/>
              <a:buFontTx/>
              <a:buNone/>
              <a:tabLst/>
              <a:defRPr/>
            </a:pPr>
            <a:r>
              <a:rPr kumimoji="0" lang="en-US" sz="4000" b="0" i="0" u="none" strike="noStrike" kern="0" cap="none" spc="-133" normalizeH="0" baseline="0" noProof="0">
                <a:ln>
                  <a:noFill/>
                </a:ln>
                <a:solidFill>
                  <a:srgbClr val="14284A"/>
                </a:solidFill>
                <a:effectLst/>
                <a:uLnTx/>
                <a:uFillTx/>
                <a:latin typeface="CiscoSansTT ExtraLight" panose="020B0303020201020303" pitchFamily="34" charset="0"/>
                <a:ea typeface="ＭＳ Ｐゴシック" charset="0"/>
                <a:cs typeface="CiscoSansTT ExtraLight" panose="020B0303020201020303" pitchFamily="34" charset="0"/>
                <a:sym typeface="Arial"/>
              </a:rPr>
              <a:t>7</a:t>
            </a:r>
            <a:r>
              <a:rPr kumimoji="0" lang="en-US" sz="4000" b="0" i="0" u="none" strike="noStrike" kern="0" cap="none" spc="0" normalizeH="0" baseline="0" noProof="0">
                <a:ln>
                  <a:noFill/>
                </a:ln>
                <a:solidFill>
                  <a:srgbClr val="14284A"/>
                </a:solidFill>
                <a:effectLst/>
                <a:uLnTx/>
                <a:uFillTx/>
                <a:latin typeface="CiscoSansTT ExtraLight" panose="020B0303020201020303" pitchFamily="34" charset="0"/>
                <a:ea typeface="ＭＳ Ｐゴシック" charset="0"/>
                <a:cs typeface="CiscoSansTT ExtraLight" panose="020B0303020201020303" pitchFamily="34" charset="0"/>
                <a:sym typeface="Arial"/>
              </a:rPr>
              <a:t>4</a:t>
            </a:r>
            <a:r>
              <a:rPr kumimoji="0" lang="en-US" sz="4000" b="0" i="0" u="none" strike="noStrike" kern="0" cap="none" spc="0" normalizeH="0" baseline="30000" noProof="0">
                <a:ln>
                  <a:noFill/>
                </a:ln>
                <a:solidFill>
                  <a:srgbClr val="14284A"/>
                </a:solidFill>
                <a:effectLst/>
                <a:uLnTx/>
                <a:uFillTx/>
                <a:latin typeface="CiscoSansTT ExtraLight" panose="020B0303020201020303" pitchFamily="34" charset="0"/>
                <a:ea typeface="ＭＳ Ｐゴシック" charset="0"/>
                <a:cs typeface="CiscoSansTT ExtraLight" panose="020B0303020201020303" pitchFamily="34" charset="0"/>
                <a:sym typeface="Arial"/>
              </a:rPr>
              <a:t>%</a:t>
            </a:r>
            <a:endParaRPr kumimoji="0" sz="4000" b="0" i="0" u="none" strike="noStrike" kern="0" cap="none" spc="0" normalizeH="0" baseline="30000" noProof="0">
              <a:ln>
                <a:noFill/>
              </a:ln>
              <a:solidFill>
                <a:srgbClr val="14284A"/>
              </a:solidFill>
              <a:effectLst/>
              <a:uLnTx/>
              <a:uFillTx/>
              <a:latin typeface="CiscoSansTT ExtraLight" panose="020B0303020201020303" pitchFamily="34" charset="0"/>
              <a:ea typeface="ＭＳ Ｐゴシック" charset="0"/>
              <a:cs typeface="CiscoSansTT ExtraLight" panose="020B0303020201020303" pitchFamily="34" charset="0"/>
              <a:sym typeface="Arial"/>
            </a:endParaRPr>
          </a:p>
        </p:txBody>
      </p:sp>
      <p:sp>
        <p:nvSpPr>
          <p:cNvPr id="57" name="Oval 56">
            <a:extLst>
              <a:ext uri="{FF2B5EF4-FFF2-40B4-BE49-F238E27FC236}">
                <a16:creationId xmlns:a16="http://schemas.microsoft.com/office/drawing/2014/main" id="{AF2C3868-1953-7C4A-8A47-A28B60CB4E5A}"/>
              </a:ext>
            </a:extLst>
          </p:cNvPr>
          <p:cNvSpPr/>
          <p:nvPr/>
        </p:nvSpPr>
        <p:spPr>
          <a:xfrm>
            <a:off x="7447513" y="2262425"/>
            <a:ext cx="1605407" cy="1605407"/>
          </a:xfrm>
          <a:prstGeom prst="ellipse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09539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sp>
        <p:nvSpPr>
          <p:cNvPr id="714" name="Google Shape;714;p129"/>
          <p:cNvSpPr txBox="1"/>
          <p:nvPr/>
        </p:nvSpPr>
        <p:spPr>
          <a:xfrm>
            <a:off x="7665166" y="3944363"/>
            <a:ext cx="1170100" cy="24078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ctr" defTabSz="609539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iscoSansTT ExtraLight" panose="020B0303020201020303" pitchFamily="34" charset="0"/>
                <a:ea typeface="Helvetica Neue Light"/>
                <a:cs typeface="CiscoSansTT ExtraLight" panose="020B0303020201020303" pitchFamily="34" charset="0"/>
                <a:sym typeface="Helvetica Neue Light"/>
              </a:rPr>
              <a:t>SecOps</a:t>
            </a: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iscoSansTT ExtraLight" panose="020B0303020201020303" pitchFamily="34" charset="0"/>
              <a:ea typeface="Helvetica Neue Light"/>
              <a:cs typeface="CiscoSansTT ExtraLight" panose="020B0303020201020303" pitchFamily="34" charset="0"/>
              <a:sym typeface="Helvetica Neue Light"/>
            </a:endParaRPr>
          </a:p>
        </p:txBody>
      </p:sp>
      <p:sp>
        <p:nvSpPr>
          <p:cNvPr id="70" name="TextBox 69">
            <a:extLst>
              <a:ext uri="{FF2B5EF4-FFF2-40B4-BE49-F238E27FC236}">
                <a16:creationId xmlns:a16="http://schemas.microsoft.com/office/drawing/2014/main" id="{F26E6250-4BB1-274A-9C5D-386245E88417}"/>
              </a:ext>
            </a:extLst>
          </p:cNvPr>
          <p:cNvSpPr txBox="1"/>
          <p:nvPr/>
        </p:nvSpPr>
        <p:spPr>
          <a:xfrm>
            <a:off x="7434483" y="4322763"/>
            <a:ext cx="1631467" cy="985704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noAutofit/>
          </a:bodyPr>
          <a:lstStyle/>
          <a:p>
            <a:pPr marL="0" marR="0" lvl="0" indent="0" algn="ctr" defTabSz="609539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282828"/>
              </a:buClr>
              <a:buSzPts val="1200"/>
              <a:buFont typeface="Arial"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iscoSansTT" panose="020B0503020201020303" pitchFamily="34" charset="0"/>
                <a:ea typeface="ＭＳ Ｐゴシック" charset="0"/>
                <a:cs typeface="CiscoSansTT" panose="020B0503020201020303" pitchFamily="34" charset="0"/>
                <a:sym typeface="Arial"/>
              </a:rPr>
              <a:t>Security</a:t>
            </a:r>
          </a:p>
          <a:p>
            <a:pPr marL="0" marR="0" lvl="0" indent="0" algn="ctr" defTabSz="609539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282828"/>
              </a:buClr>
              <a:buSzPts val="1200"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iscoSansTT ExtraLight"/>
                <a:ea typeface="ＭＳ Ｐゴシック" charset="0"/>
                <a:cs typeface="Arial"/>
                <a:sym typeface="Arial"/>
              </a:rPr>
              <a:t>Improve security posture to proactively protect and defend</a:t>
            </a:r>
          </a:p>
        </p:txBody>
      </p:sp>
      <p:grpSp>
        <p:nvGrpSpPr>
          <p:cNvPr id="41" name="Google Shape;1429;p198">
            <a:extLst>
              <a:ext uri="{FF2B5EF4-FFF2-40B4-BE49-F238E27FC236}">
                <a16:creationId xmlns:a16="http://schemas.microsoft.com/office/drawing/2014/main" id="{49475DF4-842C-412D-A07A-86ACB1E7DBE2}"/>
              </a:ext>
            </a:extLst>
          </p:cNvPr>
          <p:cNvGrpSpPr/>
          <p:nvPr/>
        </p:nvGrpSpPr>
        <p:grpSpPr>
          <a:xfrm>
            <a:off x="7572347" y="2388936"/>
            <a:ext cx="1355739" cy="1352384"/>
            <a:chOff x="7102106" y="3950538"/>
            <a:chExt cx="727200" cy="725400"/>
          </a:xfrm>
        </p:grpSpPr>
        <p:sp>
          <p:nvSpPr>
            <p:cNvPr id="42" name="Google Shape;1430;p198">
              <a:extLst>
                <a:ext uri="{FF2B5EF4-FFF2-40B4-BE49-F238E27FC236}">
                  <a16:creationId xmlns:a16="http://schemas.microsoft.com/office/drawing/2014/main" id="{906A2633-480F-421E-9D55-AC0D97CA04A4}"/>
                </a:ext>
              </a:extLst>
            </p:cNvPr>
            <p:cNvSpPr/>
            <p:nvPr/>
          </p:nvSpPr>
          <p:spPr>
            <a:xfrm>
              <a:off x="7102106" y="3950538"/>
              <a:ext cx="727200" cy="725400"/>
            </a:xfrm>
            <a:prstGeom prst="ellipse">
              <a:avLst/>
            </a:prstGeom>
            <a:noFill/>
            <a:ln w="76200" cap="flat" cmpd="sng">
              <a:solidFill>
                <a:schemeClr val="accent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60933" rIns="121900" bIns="60933" anchor="t" anchorCtr="0">
              <a:noAutofit/>
            </a:bodyPr>
            <a:lstStyle/>
            <a:p>
              <a:pPr marL="0" marR="0" lvl="0" indent="0" algn="ctr" defTabSz="12190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Tx/>
                <a:buNone/>
                <a:tabLst/>
                <a:defRPr/>
              </a:pPr>
              <a:endParaRPr kumimoji="0" sz="2400" b="0" i="0" u="none" strike="noStrike" kern="0" cap="none" spc="0" normalizeH="0" baseline="0" noProof="0">
                <a:ln>
                  <a:noFill/>
                </a:ln>
                <a:solidFill>
                  <a:srgbClr val="282828"/>
                </a:solidFill>
                <a:effectLst/>
                <a:uLnTx/>
                <a:uFillTx/>
                <a:latin typeface="CiscoSansTT ExtraLight" panose="020B0303020201020303" pitchFamily="34" charset="0"/>
                <a:ea typeface="ＭＳ Ｐゴシック" charset="0"/>
                <a:cs typeface="CiscoSansTT ExtraLight" panose="020B0303020201020303" pitchFamily="34" charset="0"/>
                <a:sym typeface="Arial"/>
              </a:endParaRPr>
            </a:p>
          </p:txBody>
        </p:sp>
        <p:sp>
          <p:nvSpPr>
            <p:cNvPr id="43" name="Google Shape;1431;p198">
              <a:extLst>
                <a:ext uri="{FF2B5EF4-FFF2-40B4-BE49-F238E27FC236}">
                  <a16:creationId xmlns:a16="http://schemas.microsoft.com/office/drawing/2014/main" id="{B668AB02-0200-42A4-BA08-99E82D6CAC70}"/>
                </a:ext>
              </a:extLst>
            </p:cNvPr>
            <p:cNvSpPr/>
            <p:nvPr/>
          </p:nvSpPr>
          <p:spPr>
            <a:xfrm>
              <a:off x="7105281" y="3950538"/>
              <a:ext cx="723900" cy="723900"/>
            </a:xfrm>
            <a:custGeom>
              <a:avLst/>
              <a:gdLst/>
              <a:ahLst/>
              <a:cxnLst/>
              <a:rect l="l" t="t" r="r" b="b"/>
              <a:pathLst>
                <a:path w="265" h="265" extrusionOk="0">
                  <a:moveTo>
                    <a:pt x="132" y="0"/>
                  </a:moveTo>
                  <a:cubicBezTo>
                    <a:pt x="205" y="0"/>
                    <a:pt x="265" y="59"/>
                    <a:pt x="265" y="132"/>
                  </a:cubicBezTo>
                  <a:cubicBezTo>
                    <a:pt x="265" y="205"/>
                    <a:pt x="205" y="265"/>
                    <a:pt x="132" y="265"/>
                  </a:cubicBezTo>
                  <a:cubicBezTo>
                    <a:pt x="59" y="265"/>
                    <a:pt x="0" y="205"/>
                    <a:pt x="0" y="132"/>
                  </a:cubicBezTo>
                  <a:cubicBezTo>
                    <a:pt x="0" y="62"/>
                    <a:pt x="53" y="5"/>
                    <a:pt x="123" y="0"/>
                  </a:cubicBezTo>
                </a:path>
              </a:pathLst>
            </a:custGeom>
            <a:noFill/>
            <a:ln w="76200" cap="rnd" cmpd="sng">
              <a:solidFill>
                <a:schemeClr val="accent2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121900" tIns="60933" rIns="121900" bIns="60933" anchor="t" anchorCtr="0">
              <a:noAutofit/>
            </a:bodyPr>
            <a:lstStyle/>
            <a:p>
              <a:pPr marL="0" marR="0" lvl="0" indent="0" algn="ctr" defTabSz="12190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Tx/>
                <a:buNone/>
                <a:tabLst/>
                <a:defRPr/>
              </a:pPr>
              <a:endParaRPr kumimoji="0" sz="2400" b="0" i="0" u="none" strike="noStrike" kern="0" cap="none" spc="0" normalizeH="0" baseline="0" noProof="0">
                <a:ln>
                  <a:noFill/>
                </a:ln>
                <a:solidFill>
                  <a:srgbClr val="282828"/>
                </a:solidFill>
                <a:effectLst/>
                <a:uLnTx/>
                <a:uFillTx/>
                <a:latin typeface="CiscoSansTT ExtraLight" panose="020B0303020201020303" pitchFamily="34" charset="0"/>
                <a:ea typeface="ＭＳ Ｐゴシック" charset="0"/>
                <a:cs typeface="CiscoSansTT ExtraLight" panose="020B0303020201020303" pitchFamily="34" charset="0"/>
                <a:sym typeface="Arial"/>
              </a:endParaRPr>
            </a:p>
          </p:txBody>
        </p:sp>
      </p:grpSp>
      <p:sp>
        <p:nvSpPr>
          <p:cNvPr id="44" name="Google Shape;1454;p198">
            <a:extLst>
              <a:ext uri="{FF2B5EF4-FFF2-40B4-BE49-F238E27FC236}">
                <a16:creationId xmlns:a16="http://schemas.microsoft.com/office/drawing/2014/main" id="{28F43D56-FD99-4557-9D9E-720113A501FD}"/>
              </a:ext>
            </a:extLst>
          </p:cNvPr>
          <p:cNvSpPr txBox="1"/>
          <p:nvPr/>
        </p:nvSpPr>
        <p:spPr>
          <a:xfrm>
            <a:off x="7428091" y="5463697"/>
            <a:ext cx="1644251" cy="4695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ctr" defTabSz="12190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142849"/>
                </a:solidFill>
                <a:effectLst/>
                <a:uLnTx/>
                <a:uFillTx/>
                <a:latin typeface="CiscoSansTT ExtraLight" panose="020B0303020201020303" pitchFamily="34" charset="0"/>
                <a:ea typeface="ＭＳ Ｐゴシック" charset="0"/>
                <a:cs typeface="CiscoSansTT ExtraLight" panose="020B0303020201020303" pitchFamily="34" charset="0"/>
                <a:sym typeface="Arial"/>
              </a:rPr>
              <a:t>Reduced monetary cyber attack loss</a:t>
            </a:r>
            <a:endParaRPr kumimoji="0" sz="1200" b="0" i="0" u="none" strike="noStrike" kern="0" cap="none" spc="0" normalizeH="0" baseline="0" noProof="0">
              <a:ln>
                <a:noFill/>
              </a:ln>
              <a:solidFill>
                <a:srgbClr val="142849"/>
              </a:solidFill>
              <a:effectLst/>
              <a:uLnTx/>
              <a:uFillTx/>
              <a:latin typeface="CiscoSansTT ExtraLight" panose="020B0303020201020303" pitchFamily="34" charset="0"/>
              <a:ea typeface="ＭＳ Ｐゴシック" charset="0"/>
              <a:cs typeface="CiscoSansTT ExtraLight" panose="020B0303020201020303" pitchFamily="34" charset="0"/>
              <a:sym typeface="Arial"/>
            </a:endParaRPr>
          </a:p>
        </p:txBody>
      </p:sp>
      <p:sp>
        <p:nvSpPr>
          <p:cNvPr id="45" name="Google Shape;1455;p198">
            <a:extLst>
              <a:ext uri="{FF2B5EF4-FFF2-40B4-BE49-F238E27FC236}">
                <a16:creationId xmlns:a16="http://schemas.microsoft.com/office/drawing/2014/main" id="{E53EE02D-A999-4167-B7CC-337004FB50AF}"/>
              </a:ext>
            </a:extLst>
          </p:cNvPr>
          <p:cNvSpPr txBox="1"/>
          <p:nvPr/>
        </p:nvSpPr>
        <p:spPr>
          <a:xfrm>
            <a:off x="7766928" y="2828794"/>
            <a:ext cx="966576" cy="47266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defTabSz="12190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000"/>
              <a:buFontTx/>
              <a:buNone/>
              <a:tabLst/>
              <a:defRPr/>
            </a:pPr>
            <a:r>
              <a:rPr kumimoji="0" lang="en-US" sz="4000" b="0" i="0" u="none" strike="noStrike" kern="0" cap="none" spc="0" normalizeH="0" baseline="0" noProof="0">
                <a:ln>
                  <a:noFill/>
                </a:ln>
                <a:solidFill>
                  <a:srgbClr val="14284A"/>
                </a:solidFill>
                <a:effectLst/>
                <a:uLnTx/>
                <a:uFillTx/>
                <a:latin typeface="CiscoSansTT ExtraLight" panose="020B0303020201020303" pitchFamily="34" charset="0"/>
                <a:ea typeface="ＭＳ Ｐゴシック" charset="0"/>
                <a:cs typeface="CiscoSansTT ExtraLight" panose="020B0303020201020303" pitchFamily="34" charset="0"/>
                <a:sym typeface="Arial"/>
              </a:rPr>
              <a:t>99</a:t>
            </a:r>
            <a:r>
              <a:rPr kumimoji="0" lang="en-US" sz="4000" b="0" i="0" u="none" strike="noStrike" kern="0" cap="none" spc="0" normalizeH="0" baseline="30000" noProof="0">
                <a:ln>
                  <a:noFill/>
                </a:ln>
                <a:solidFill>
                  <a:srgbClr val="14284A"/>
                </a:solidFill>
                <a:effectLst/>
                <a:uLnTx/>
                <a:uFillTx/>
                <a:latin typeface="CiscoSansTT ExtraLight" panose="020B0303020201020303" pitchFamily="34" charset="0"/>
                <a:ea typeface="ＭＳ Ｐゴシック" charset="0"/>
                <a:cs typeface="CiscoSansTT ExtraLight" panose="020B0303020201020303" pitchFamily="34" charset="0"/>
                <a:sym typeface="Arial"/>
              </a:rPr>
              <a:t>%</a:t>
            </a:r>
            <a:endParaRPr kumimoji="0" sz="4000" b="0" i="0" u="none" strike="noStrike" kern="0" cap="none" spc="0" normalizeH="0" baseline="30000" noProof="0">
              <a:ln>
                <a:noFill/>
              </a:ln>
              <a:solidFill>
                <a:srgbClr val="14284A"/>
              </a:solidFill>
              <a:effectLst/>
              <a:uLnTx/>
              <a:uFillTx/>
              <a:latin typeface="CiscoSansTT ExtraLight" panose="020B0303020201020303" pitchFamily="34" charset="0"/>
              <a:ea typeface="ＭＳ Ｐゴシック" charset="0"/>
              <a:cs typeface="CiscoSansTT ExtraLight" panose="020B0303020201020303" pitchFamily="34" charset="0"/>
              <a:sym typeface="Arial"/>
            </a:endParaRPr>
          </a:p>
        </p:txBody>
      </p:sp>
      <p:sp>
        <p:nvSpPr>
          <p:cNvPr id="55" name="Oval 54">
            <a:extLst>
              <a:ext uri="{FF2B5EF4-FFF2-40B4-BE49-F238E27FC236}">
                <a16:creationId xmlns:a16="http://schemas.microsoft.com/office/drawing/2014/main" id="{375FA641-90D4-804C-BD35-5E496065030C}"/>
              </a:ext>
            </a:extLst>
          </p:cNvPr>
          <p:cNvSpPr/>
          <p:nvPr/>
        </p:nvSpPr>
        <p:spPr>
          <a:xfrm>
            <a:off x="991807" y="2262425"/>
            <a:ext cx="1605407" cy="1605407"/>
          </a:xfrm>
          <a:prstGeom prst="ellipse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09539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sp>
        <p:nvSpPr>
          <p:cNvPr id="710" name="Google Shape;710;p129"/>
          <p:cNvSpPr txBox="1"/>
          <p:nvPr/>
        </p:nvSpPr>
        <p:spPr>
          <a:xfrm>
            <a:off x="1002242" y="3944363"/>
            <a:ext cx="1584536" cy="378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ctr" defTabSz="609539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iscoSansTT ExtraLight" panose="020B0303020201020303" pitchFamily="34" charset="0"/>
                <a:ea typeface="Helvetica Neue Light"/>
                <a:cs typeface="CiscoSansTT ExtraLight" panose="020B0303020201020303" pitchFamily="34" charset="0"/>
                <a:sym typeface="Helvetica Neue Light"/>
              </a:rPr>
              <a:t>Architecture</a:t>
            </a: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iscoSansTT ExtraLight" panose="020B0303020201020303" pitchFamily="34" charset="0"/>
              <a:ea typeface="Helvetica Neue Light"/>
              <a:cs typeface="CiscoSansTT ExtraLight" panose="020B0303020201020303" pitchFamily="34" charset="0"/>
              <a:sym typeface="Helvetica Neue Light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C4C21C16-3531-874C-8206-33EFE1CDC6FD}"/>
              </a:ext>
            </a:extLst>
          </p:cNvPr>
          <p:cNvSpPr txBox="1"/>
          <p:nvPr/>
        </p:nvSpPr>
        <p:spPr>
          <a:xfrm>
            <a:off x="723321" y="4322763"/>
            <a:ext cx="2142378" cy="982805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noAutofit/>
          </a:bodyPr>
          <a:lstStyle/>
          <a:p>
            <a:pPr marL="0" marR="0" lvl="0" indent="0" algn="ctr" defTabSz="609539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282828"/>
              </a:buClr>
              <a:buSzPts val="1200"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iscoSansTT" panose="020B0503020201020303" pitchFamily="34" charset="0"/>
                <a:ea typeface="ＭＳ Ｐゴシック" charset="0"/>
                <a:cs typeface="CiscoSansTT" panose="020B0503020201020303" pitchFamily="34" charset="0"/>
                <a:sym typeface="Arial"/>
              </a:rPr>
              <a:t>Strategy</a:t>
            </a:r>
          </a:p>
          <a:p>
            <a:pPr marL="0" marR="0" lvl="0" indent="0" algn="ctr" defTabSz="609539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282828"/>
              </a:buClr>
              <a:buSzPts val="1200"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iscoSansTT ExtraLight"/>
                <a:ea typeface="ＭＳ Ｐゴシック" charset="0"/>
                <a:cs typeface="Arial"/>
                <a:sym typeface="Arial"/>
              </a:rPr>
              <a:t>De-risk, speed, and seamlessly execute next-generation strategy</a:t>
            </a:r>
          </a:p>
        </p:txBody>
      </p:sp>
      <p:sp>
        <p:nvSpPr>
          <p:cNvPr id="29" name="Google Shape;1443;p198">
            <a:extLst>
              <a:ext uri="{FF2B5EF4-FFF2-40B4-BE49-F238E27FC236}">
                <a16:creationId xmlns:a16="http://schemas.microsoft.com/office/drawing/2014/main" id="{268EFEF7-ED50-0544-A75B-66054B8B3999}"/>
              </a:ext>
            </a:extLst>
          </p:cNvPr>
          <p:cNvSpPr txBox="1"/>
          <p:nvPr/>
        </p:nvSpPr>
        <p:spPr>
          <a:xfrm>
            <a:off x="1282952" y="2828841"/>
            <a:ext cx="1023116" cy="4725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defTabSz="12190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000"/>
              <a:buFontTx/>
              <a:buNone/>
              <a:tabLst/>
              <a:defRPr/>
            </a:pPr>
            <a:r>
              <a:rPr kumimoji="0" lang="en-US" sz="4000" b="0" i="0" u="none" strike="noStrike" kern="0" cap="none" spc="0" normalizeH="0" baseline="0" noProof="0">
                <a:ln>
                  <a:noFill/>
                </a:ln>
                <a:solidFill>
                  <a:srgbClr val="142849"/>
                </a:solidFill>
                <a:effectLst/>
                <a:uLnTx/>
                <a:uFillTx/>
                <a:latin typeface="CiscoSansTT ExtraLight" panose="020B0303020201020303" pitchFamily="34" charset="0"/>
                <a:ea typeface="ＭＳ Ｐゴシック" charset="0"/>
                <a:cs typeface="CiscoSansTT ExtraLight" panose="020B0303020201020303" pitchFamily="34" charset="0"/>
                <a:sym typeface="Arial"/>
              </a:rPr>
              <a:t>50</a:t>
            </a:r>
            <a:r>
              <a:rPr kumimoji="0" lang="en-US" sz="4000" b="0" i="0" u="none" strike="noStrike" kern="0" cap="none" spc="0" normalizeH="0" baseline="30000" noProof="0">
                <a:ln>
                  <a:noFill/>
                </a:ln>
                <a:solidFill>
                  <a:srgbClr val="142849"/>
                </a:solidFill>
                <a:effectLst/>
                <a:uLnTx/>
                <a:uFillTx/>
                <a:latin typeface="CiscoSansTT ExtraLight" panose="020B0303020201020303" pitchFamily="34" charset="0"/>
                <a:ea typeface="ＭＳ Ｐゴシック" charset="0"/>
                <a:cs typeface="CiscoSansTT ExtraLight" panose="020B0303020201020303" pitchFamily="34" charset="0"/>
                <a:sym typeface="Arial"/>
              </a:rPr>
              <a:t>%</a:t>
            </a:r>
            <a:endParaRPr kumimoji="0" sz="4000" b="0" i="0" u="none" strike="noStrike" kern="0" cap="none" spc="0" normalizeH="0" baseline="30000" noProof="0">
              <a:ln>
                <a:noFill/>
              </a:ln>
              <a:solidFill>
                <a:srgbClr val="142849"/>
              </a:solidFill>
              <a:effectLst/>
              <a:uLnTx/>
              <a:uFillTx/>
              <a:latin typeface="CiscoSansTT ExtraLight" panose="020B0303020201020303" pitchFamily="34" charset="0"/>
              <a:ea typeface="ＭＳ Ｐゴシック" charset="0"/>
              <a:cs typeface="CiscoSansTT ExtraLight" panose="020B0303020201020303" pitchFamily="34" charset="0"/>
              <a:sym typeface="Arial"/>
            </a:endParaRPr>
          </a:p>
        </p:txBody>
      </p:sp>
      <p:sp>
        <p:nvSpPr>
          <p:cNvPr id="30" name="Google Shape;1439;p198">
            <a:extLst>
              <a:ext uri="{FF2B5EF4-FFF2-40B4-BE49-F238E27FC236}">
                <a16:creationId xmlns:a16="http://schemas.microsoft.com/office/drawing/2014/main" id="{0A36C69D-7C85-8C44-88FD-1B9A44DCAC54}"/>
              </a:ext>
            </a:extLst>
          </p:cNvPr>
          <p:cNvSpPr txBox="1"/>
          <p:nvPr/>
        </p:nvSpPr>
        <p:spPr>
          <a:xfrm>
            <a:off x="1094113" y="5463697"/>
            <a:ext cx="1400795" cy="498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ctr" defTabSz="121905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142849"/>
                </a:solidFill>
                <a:effectLst/>
                <a:uLnTx/>
                <a:uFillTx/>
                <a:latin typeface="CiscoSansTT ExtraLight" panose="020B0303020201020303" pitchFamily="34" charset="0"/>
                <a:ea typeface="ＭＳ Ｐゴシック" charset="0"/>
                <a:cs typeface="CiscoSansTT ExtraLight" panose="020B0303020201020303" pitchFamily="34" charset="0"/>
                <a:sym typeface="Arial"/>
              </a:rPr>
              <a:t>More successful transformations </a:t>
            </a:r>
            <a:endParaRPr kumimoji="0" sz="1200" b="0" i="0" u="none" strike="noStrike" kern="0" cap="none" spc="0" normalizeH="0" baseline="0" noProof="0">
              <a:ln>
                <a:noFill/>
              </a:ln>
              <a:solidFill>
                <a:srgbClr val="142849"/>
              </a:solidFill>
              <a:effectLst/>
              <a:uLnTx/>
              <a:uFillTx/>
              <a:latin typeface="CiscoSansTT ExtraLight" panose="020B0303020201020303" pitchFamily="34" charset="0"/>
              <a:ea typeface="ＭＳ Ｐゴシック" charset="0"/>
              <a:cs typeface="CiscoSansTT ExtraLight" panose="020B0303020201020303" pitchFamily="34" charset="0"/>
              <a:sym typeface="Arial"/>
            </a:endParaRP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2274FC8F-5438-BD4B-BDD9-080DC4F13762}"/>
              </a:ext>
            </a:extLst>
          </p:cNvPr>
          <p:cNvGrpSpPr/>
          <p:nvPr/>
        </p:nvGrpSpPr>
        <p:grpSpPr>
          <a:xfrm>
            <a:off x="1118506" y="2388570"/>
            <a:ext cx="1352008" cy="1353117"/>
            <a:chOff x="789483" y="2938931"/>
            <a:chExt cx="1014006" cy="1014838"/>
          </a:xfrm>
        </p:grpSpPr>
        <p:sp>
          <p:nvSpPr>
            <p:cNvPr id="54" name="Google Shape;1433;p198">
              <a:extLst>
                <a:ext uri="{FF2B5EF4-FFF2-40B4-BE49-F238E27FC236}">
                  <a16:creationId xmlns:a16="http://schemas.microsoft.com/office/drawing/2014/main" id="{55369681-8F63-B04D-9808-83CF4E418E74}"/>
                </a:ext>
              </a:extLst>
            </p:cNvPr>
            <p:cNvSpPr/>
            <p:nvPr/>
          </p:nvSpPr>
          <p:spPr>
            <a:xfrm>
              <a:off x="789483" y="2941214"/>
              <a:ext cx="1012555" cy="1012555"/>
            </a:xfrm>
            <a:prstGeom prst="ellipse">
              <a:avLst/>
            </a:prstGeom>
            <a:noFill/>
            <a:ln w="76200" cap="flat" cmpd="sng">
              <a:solidFill>
                <a:srgbClr val="ECF2F6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60933" rIns="121900" bIns="60933" anchor="t" anchorCtr="0">
              <a:noAutofit/>
            </a:bodyPr>
            <a:lstStyle/>
            <a:p>
              <a:pPr marL="0" marR="0" lvl="0" indent="0" algn="l" defTabSz="12190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Tx/>
                <a:buNone/>
                <a:tabLst/>
                <a:defRPr/>
              </a:pPr>
              <a:endParaRPr kumimoji="0" sz="2400" b="0" i="0" u="none" strike="noStrike" kern="0" cap="none" spc="0" normalizeH="0" baseline="0" noProof="0">
                <a:ln>
                  <a:noFill/>
                </a:ln>
                <a:solidFill>
                  <a:srgbClr val="282828"/>
                </a:solidFill>
                <a:effectLst/>
                <a:uLnTx/>
                <a:uFillTx/>
                <a:latin typeface="CiscoSansTT ExtraLight" panose="020B0303020201020303" pitchFamily="34" charset="0"/>
                <a:ea typeface="ＭＳ Ｐゴシック" charset="0"/>
                <a:cs typeface="CiscoSansTT ExtraLight" panose="020B0303020201020303" pitchFamily="34" charset="0"/>
                <a:sym typeface="Arial"/>
              </a:endParaRPr>
            </a:p>
          </p:txBody>
        </p:sp>
        <p:sp>
          <p:nvSpPr>
            <p:cNvPr id="28" name="Google Shape;1442;p198">
              <a:extLst>
                <a:ext uri="{FF2B5EF4-FFF2-40B4-BE49-F238E27FC236}">
                  <a16:creationId xmlns:a16="http://schemas.microsoft.com/office/drawing/2014/main" id="{8D918939-D0D7-AE45-ACD9-8E788A3FD133}"/>
                </a:ext>
              </a:extLst>
            </p:cNvPr>
            <p:cNvSpPr/>
            <p:nvPr/>
          </p:nvSpPr>
          <p:spPr>
            <a:xfrm>
              <a:off x="1299639" y="2938931"/>
              <a:ext cx="503850" cy="1014189"/>
            </a:xfrm>
            <a:custGeom>
              <a:avLst/>
              <a:gdLst/>
              <a:ahLst/>
              <a:cxnLst/>
              <a:rect l="l" t="t" r="r" b="b"/>
              <a:pathLst>
                <a:path w="132" h="265" extrusionOk="0">
                  <a:moveTo>
                    <a:pt x="0" y="0"/>
                  </a:moveTo>
                  <a:cubicBezTo>
                    <a:pt x="73" y="0"/>
                    <a:pt x="132" y="60"/>
                    <a:pt x="132" y="133"/>
                  </a:cubicBezTo>
                  <a:cubicBezTo>
                    <a:pt x="132" y="206"/>
                    <a:pt x="73" y="265"/>
                    <a:pt x="0" y="265"/>
                  </a:cubicBezTo>
                  <a:cubicBezTo>
                    <a:pt x="0" y="265"/>
                    <a:pt x="0" y="265"/>
                    <a:pt x="0" y="265"/>
                  </a:cubicBezTo>
                </a:path>
              </a:pathLst>
            </a:custGeom>
            <a:noFill/>
            <a:ln w="76200" cap="rnd" cmpd="sng">
              <a:solidFill>
                <a:schemeClr val="accent2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121900" tIns="60933" rIns="121900" bIns="60933" anchor="t" anchorCtr="0">
              <a:noAutofit/>
            </a:bodyPr>
            <a:lstStyle/>
            <a:p>
              <a:pPr marL="0" marR="0" lvl="0" indent="0" algn="l" defTabSz="12190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Tx/>
                <a:buNone/>
                <a:tabLst/>
                <a:defRPr/>
              </a:pPr>
              <a:endParaRPr kumimoji="0" sz="2400" b="0" i="0" u="none" strike="noStrike" kern="0" cap="none" spc="0" normalizeH="0" baseline="0" noProof="0">
                <a:ln>
                  <a:noFill/>
                </a:ln>
                <a:solidFill>
                  <a:srgbClr val="282828"/>
                </a:solidFill>
                <a:effectLst/>
                <a:uLnTx/>
                <a:uFillTx/>
                <a:latin typeface="CiscoSansTT ExtraLight" panose="020B0303020201020303" pitchFamily="34" charset="0"/>
                <a:ea typeface="ＭＳ Ｐゴシック" charset="0"/>
                <a:cs typeface="CiscoSansTT ExtraLight" panose="020B0303020201020303" pitchFamily="34" charset="0"/>
                <a:sym typeface="Arial"/>
              </a:endParaRPr>
            </a:p>
          </p:txBody>
        </p:sp>
      </p:grpSp>
      <p:sp>
        <p:nvSpPr>
          <p:cNvPr id="46" name="TextBox 45">
            <a:extLst>
              <a:ext uri="{FF2B5EF4-FFF2-40B4-BE49-F238E27FC236}">
                <a16:creationId xmlns:a16="http://schemas.microsoft.com/office/drawing/2014/main" id="{E43FBD75-65B4-4D83-B6F1-2ED61F67EA82}"/>
              </a:ext>
            </a:extLst>
          </p:cNvPr>
          <p:cNvSpPr txBox="1"/>
          <p:nvPr/>
        </p:nvSpPr>
        <p:spPr>
          <a:xfrm>
            <a:off x="9514816" y="4322763"/>
            <a:ext cx="1765348" cy="75405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609539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282828"/>
              </a:buClr>
              <a:buSzPts val="1200"/>
              <a:buFont typeface="Arial"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iscoSansTT" panose="020B0503020201020303" pitchFamily="34" charset="0"/>
                <a:ea typeface="ＭＳ Ｐゴシック" charset="0"/>
                <a:cs typeface="CiscoSansTT" panose="020B0503020201020303" pitchFamily="34" charset="0"/>
                <a:sym typeface="Arial"/>
              </a:rPr>
              <a:t>Apps and Services</a:t>
            </a:r>
          </a:p>
          <a:p>
            <a:pPr marL="0" marR="0" lvl="0" indent="0" algn="ctr" defTabSz="609585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82828"/>
              </a:buClr>
              <a:buSzPts val="1200"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iscoSansTT ExtraLight"/>
                <a:ea typeface="ＭＳ Ｐゴシック" charset="0"/>
                <a:cs typeface="Arial"/>
                <a:sym typeface="Arial"/>
              </a:rPr>
              <a:t>Deploy and automated testing for apps and services</a:t>
            </a:r>
          </a:p>
        </p:txBody>
      </p:sp>
      <p:sp>
        <p:nvSpPr>
          <p:cNvPr id="50" name="Google Shape;1458;p198">
            <a:extLst>
              <a:ext uri="{FF2B5EF4-FFF2-40B4-BE49-F238E27FC236}">
                <a16:creationId xmlns:a16="http://schemas.microsoft.com/office/drawing/2014/main" id="{F31C5DC2-B81B-4539-BEF0-4AE020BD47DF}"/>
              </a:ext>
            </a:extLst>
          </p:cNvPr>
          <p:cNvSpPr txBox="1"/>
          <p:nvPr/>
        </p:nvSpPr>
        <p:spPr>
          <a:xfrm>
            <a:off x="9463090" y="5463697"/>
            <a:ext cx="1868800" cy="498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ctr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142849"/>
                </a:solidFill>
                <a:effectLst/>
                <a:uLnTx/>
                <a:uFillTx/>
                <a:latin typeface="CiscoSansTT ExtraLight" panose="020B0303020201020303" pitchFamily="34" charset="0"/>
                <a:ea typeface="ＭＳ Ｐゴシック" charset="0"/>
                <a:cs typeface="CiscoSansTT ExtraLight" panose="020B0303020201020303" pitchFamily="34" charset="0"/>
                <a:sym typeface="Arial"/>
              </a:rPr>
              <a:t>Faster</a:t>
            </a:r>
            <a:endParaRPr kumimoji="0" sz="1200" b="0" i="0" u="none" strike="noStrike" kern="0" cap="none" spc="0" normalizeH="0" baseline="0" noProof="0">
              <a:ln>
                <a:noFill/>
              </a:ln>
              <a:solidFill>
                <a:srgbClr val="142849"/>
              </a:solidFill>
              <a:effectLst/>
              <a:uLnTx/>
              <a:uFillTx/>
              <a:latin typeface="CiscoSansTT ExtraLight" panose="020B0303020201020303" pitchFamily="34" charset="0"/>
              <a:ea typeface="ＭＳ Ｐゴシック" charset="0"/>
              <a:cs typeface="CiscoSansTT ExtraLight" panose="020B0303020201020303" pitchFamily="34" charset="0"/>
              <a:sym typeface="Arial"/>
            </a:endParaRPr>
          </a:p>
          <a:p>
            <a:pPr marL="0" marR="0" lvl="0" indent="0" algn="ctr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142849"/>
                </a:solidFill>
                <a:effectLst/>
                <a:uLnTx/>
                <a:uFillTx/>
                <a:latin typeface="CiscoSansTT ExtraLight" panose="020B0303020201020303" pitchFamily="34" charset="0"/>
                <a:ea typeface="ＭＳ Ｐゴシック" charset="0"/>
                <a:cs typeface="CiscoSansTT ExtraLight" panose="020B0303020201020303" pitchFamily="34" charset="0"/>
                <a:sym typeface="Arial"/>
              </a:rPr>
              <a:t>time to market</a:t>
            </a:r>
            <a:endParaRPr kumimoji="0" sz="1200" b="0" i="0" u="none" strike="noStrike" kern="0" cap="none" spc="0" normalizeH="0" baseline="0" noProof="0">
              <a:ln>
                <a:noFill/>
              </a:ln>
              <a:solidFill>
                <a:srgbClr val="142849"/>
              </a:solidFill>
              <a:effectLst/>
              <a:uLnTx/>
              <a:uFillTx/>
              <a:latin typeface="CiscoSansTT ExtraLight" panose="020B0303020201020303" pitchFamily="34" charset="0"/>
              <a:ea typeface="ＭＳ Ｐゴシック" charset="0"/>
              <a:cs typeface="CiscoSansTT ExtraLight" panose="020B0303020201020303" pitchFamily="34" charset="0"/>
              <a:sym typeface="Arial"/>
            </a:endParaRPr>
          </a:p>
        </p:txBody>
      </p:sp>
      <p:sp>
        <p:nvSpPr>
          <p:cNvPr id="62" name="Oval 61">
            <a:extLst>
              <a:ext uri="{FF2B5EF4-FFF2-40B4-BE49-F238E27FC236}">
                <a16:creationId xmlns:a16="http://schemas.microsoft.com/office/drawing/2014/main" id="{045DE8CA-5ED8-4042-A094-09A7F2E91B9C}"/>
              </a:ext>
            </a:extLst>
          </p:cNvPr>
          <p:cNvSpPr/>
          <p:nvPr/>
        </p:nvSpPr>
        <p:spPr>
          <a:xfrm>
            <a:off x="9594787" y="2262425"/>
            <a:ext cx="1605407" cy="1605407"/>
          </a:xfrm>
          <a:prstGeom prst="ellipse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09539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grpSp>
        <p:nvGrpSpPr>
          <p:cNvPr id="47" name="Google Shape;1426;p198">
            <a:extLst>
              <a:ext uri="{FF2B5EF4-FFF2-40B4-BE49-F238E27FC236}">
                <a16:creationId xmlns:a16="http://schemas.microsoft.com/office/drawing/2014/main" id="{D3ACECC1-B7CE-46B0-9022-2366745F8A4C}"/>
              </a:ext>
            </a:extLst>
          </p:cNvPr>
          <p:cNvGrpSpPr/>
          <p:nvPr/>
        </p:nvGrpSpPr>
        <p:grpSpPr>
          <a:xfrm>
            <a:off x="9678377" y="2344231"/>
            <a:ext cx="1438227" cy="1441795"/>
            <a:chOff x="4623223" y="1224801"/>
            <a:chExt cx="725400" cy="727200"/>
          </a:xfrm>
        </p:grpSpPr>
        <p:sp>
          <p:nvSpPr>
            <p:cNvPr id="48" name="Google Shape;1427;p198">
              <a:extLst>
                <a:ext uri="{FF2B5EF4-FFF2-40B4-BE49-F238E27FC236}">
                  <a16:creationId xmlns:a16="http://schemas.microsoft.com/office/drawing/2014/main" id="{CF9AC08B-1E3E-4D7A-90D9-2469E716BBBB}"/>
                </a:ext>
              </a:extLst>
            </p:cNvPr>
            <p:cNvSpPr/>
            <p:nvPr/>
          </p:nvSpPr>
          <p:spPr>
            <a:xfrm>
              <a:off x="4623223" y="1224801"/>
              <a:ext cx="725400" cy="727200"/>
            </a:xfrm>
            <a:prstGeom prst="ellipse">
              <a:avLst/>
            </a:prstGeom>
            <a:noFill/>
            <a:ln w="76200" cap="flat" cmpd="sng">
              <a:solidFill>
                <a:srgbClr val="ECF2F6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60933" rIns="121900" bIns="60933" anchor="t" anchorCtr="0">
              <a:noAutofit/>
            </a:bodyPr>
            <a:lstStyle/>
            <a:p>
              <a:pPr marL="0" marR="0" lvl="0" indent="0" algn="ctr" defTabSz="12190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  <a:tabLst/>
                <a:defRPr/>
              </a:pPr>
              <a:endParaRPr kumimoji="0" sz="2400" b="0" i="0" u="none" strike="noStrike" kern="0" cap="none" spc="0" normalizeH="0" baseline="0" noProof="0">
                <a:ln>
                  <a:noFill/>
                </a:ln>
                <a:solidFill>
                  <a:srgbClr val="282828"/>
                </a:solidFill>
                <a:effectLst/>
                <a:uLnTx/>
                <a:uFillTx/>
                <a:latin typeface="CiscoSansTT ExtraLight" panose="020B0303020201020303" pitchFamily="34" charset="0"/>
                <a:ea typeface="ＭＳ Ｐゴシック" charset="0"/>
                <a:cs typeface="CiscoSansTT ExtraLight" panose="020B0303020201020303" pitchFamily="34" charset="0"/>
                <a:sym typeface="Arial"/>
              </a:endParaRPr>
            </a:p>
          </p:txBody>
        </p:sp>
        <p:sp>
          <p:nvSpPr>
            <p:cNvPr id="49" name="Google Shape;1428;p198">
              <a:extLst>
                <a:ext uri="{FF2B5EF4-FFF2-40B4-BE49-F238E27FC236}">
                  <a16:creationId xmlns:a16="http://schemas.microsoft.com/office/drawing/2014/main" id="{AE2E1395-8883-402C-9E32-76C9F9346E92}"/>
                </a:ext>
              </a:extLst>
            </p:cNvPr>
            <p:cNvSpPr/>
            <p:nvPr/>
          </p:nvSpPr>
          <p:spPr>
            <a:xfrm>
              <a:off x="4680373" y="1224801"/>
              <a:ext cx="665163" cy="723900"/>
            </a:xfrm>
            <a:custGeom>
              <a:avLst/>
              <a:gdLst/>
              <a:ahLst/>
              <a:cxnLst/>
              <a:rect l="l" t="t" r="r" b="b"/>
              <a:pathLst>
                <a:path w="244" h="265" extrusionOk="0">
                  <a:moveTo>
                    <a:pt x="111" y="0"/>
                  </a:moveTo>
                  <a:cubicBezTo>
                    <a:pt x="184" y="0"/>
                    <a:pt x="244" y="59"/>
                    <a:pt x="244" y="132"/>
                  </a:cubicBezTo>
                  <a:cubicBezTo>
                    <a:pt x="244" y="205"/>
                    <a:pt x="184" y="265"/>
                    <a:pt x="111" y="265"/>
                  </a:cubicBezTo>
                  <a:cubicBezTo>
                    <a:pt x="65" y="265"/>
                    <a:pt x="26" y="244"/>
                    <a:pt x="0" y="204"/>
                  </a:cubicBezTo>
                </a:path>
              </a:pathLst>
            </a:custGeom>
            <a:noFill/>
            <a:ln w="76200" cap="rnd" cmpd="sng">
              <a:solidFill>
                <a:schemeClr val="accent2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121900" tIns="60933" rIns="121900" bIns="60933" anchor="t" anchorCtr="0">
              <a:noAutofit/>
            </a:bodyPr>
            <a:lstStyle/>
            <a:p>
              <a:pPr marL="0" marR="0" lvl="0" indent="0" algn="ctr" defTabSz="121905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  <a:tabLst/>
                <a:defRPr/>
              </a:pPr>
              <a:endParaRPr kumimoji="0" sz="2400" b="0" i="0" u="none" strike="noStrike" kern="0" cap="none" spc="0" normalizeH="0" baseline="0" noProof="0">
                <a:ln>
                  <a:noFill/>
                </a:ln>
                <a:solidFill>
                  <a:srgbClr val="282828"/>
                </a:solidFill>
                <a:effectLst/>
                <a:uLnTx/>
                <a:uFillTx/>
                <a:latin typeface="CiscoSansTT ExtraLight" panose="020B0303020201020303" pitchFamily="34" charset="0"/>
                <a:ea typeface="ＭＳ Ｐゴシック" charset="0"/>
                <a:cs typeface="CiscoSansTT ExtraLight" panose="020B0303020201020303" pitchFamily="34" charset="0"/>
                <a:sym typeface="Arial"/>
              </a:endParaRPr>
            </a:p>
          </p:txBody>
        </p:sp>
      </p:grpSp>
      <p:sp>
        <p:nvSpPr>
          <p:cNvPr id="52" name="Google Shape;1459;p198">
            <a:extLst>
              <a:ext uri="{FF2B5EF4-FFF2-40B4-BE49-F238E27FC236}">
                <a16:creationId xmlns:a16="http://schemas.microsoft.com/office/drawing/2014/main" id="{BEE359AD-453D-4246-9957-C45A5D9B94F0}"/>
              </a:ext>
            </a:extLst>
          </p:cNvPr>
          <p:cNvSpPr txBox="1"/>
          <p:nvPr/>
        </p:nvSpPr>
        <p:spPr>
          <a:xfrm>
            <a:off x="9695890" y="2730128"/>
            <a:ext cx="1403200" cy="67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60933" rIns="0" bIns="60933" anchor="ctr" anchorCtr="0">
            <a:noAutofit/>
          </a:bodyPr>
          <a:lstStyle/>
          <a:p>
            <a:pPr marL="0" marR="0" lvl="0" indent="0" algn="ctr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000"/>
              <a:buFontTx/>
              <a:buNone/>
              <a:tabLst/>
              <a:defRPr/>
            </a:pPr>
            <a:r>
              <a:rPr kumimoji="0" lang="en-US" sz="4000" b="0" i="0" u="none" strike="noStrike" kern="0" cap="none" spc="0" normalizeH="0" baseline="0" noProof="0">
                <a:ln>
                  <a:noFill/>
                </a:ln>
                <a:solidFill>
                  <a:srgbClr val="142849"/>
                </a:solidFill>
                <a:effectLst/>
                <a:uLnTx/>
                <a:uFillTx/>
                <a:latin typeface="CiscoSansTT ExtraLight" panose="020B0303020201020303" pitchFamily="34" charset="0"/>
                <a:ea typeface="ＭＳ Ｐゴシック" charset="0"/>
                <a:cs typeface="CiscoSansTT ExtraLight" panose="020B0303020201020303" pitchFamily="34" charset="0"/>
                <a:sym typeface="Arial"/>
              </a:rPr>
              <a:t>66</a:t>
            </a:r>
            <a:r>
              <a:rPr kumimoji="0" lang="en-US" sz="4000" b="0" i="0" u="none" strike="noStrike" kern="0" cap="none" spc="0" normalizeH="0" baseline="30000" noProof="0">
                <a:ln>
                  <a:noFill/>
                </a:ln>
                <a:solidFill>
                  <a:srgbClr val="14284A"/>
                </a:solidFill>
                <a:effectLst/>
                <a:uLnTx/>
                <a:uFillTx/>
                <a:latin typeface="CiscoSansTT ExtraLight" panose="020B0303020201020303" pitchFamily="34" charset="0"/>
                <a:ea typeface="ＭＳ Ｐゴシック" charset="0"/>
                <a:cs typeface="CiscoSansTT ExtraLight" panose="020B0303020201020303" pitchFamily="34" charset="0"/>
                <a:sym typeface="Arial"/>
              </a:rPr>
              <a:t>%</a:t>
            </a:r>
            <a:endParaRPr kumimoji="0" sz="4000" b="0" i="0" u="none" strike="noStrike" kern="0" cap="none" spc="0" normalizeH="0" baseline="30000" noProof="0">
              <a:ln>
                <a:noFill/>
              </a:ln>
              <a:solidFill>
                <a:srgbClr val="14284A"/>
              </a:solidFill>
              <a:effectLst/>
              <a:uLnTx/>
              <a:uFillTx/>
              <a:latin typeface="CiscoSansTT ExtraLight" panose="020B0303020201020303" pitchFamily="34" charset="0"/>
              <a:ea typeface="ＭＳ Ｐゴシック" charset="0"/>
              <a:cs typeface="CiscoSansTT ExtraLight" panose="020B0303020201020303" pitchFamily="34" charset="0"/>
              <a:sym typeface="Arial"/>
            </a:endParaRPr>
          </a:p>
        </p:txBody>
      </p:sp>
      <p:sp>
        <p:nvSpPr>
          <p:cNvPr id="63" name="Google Shape;714;p129">
            <a:extLst>
              <a:ext uri="{FF2B5EF4-FFF2-40B4-BE49-F238E27FC236}">
                <a16:creationId xmlns:a16="http://schemas.microsoft.com/office/drawing/2014/main" id="{4470DA33-D90E-4A10-9D83-AE2D9F095EEC}"/>
              </a:ext>
            </a:extLst>
          </p:cNvPr>
          <p:cNvSpPr txBox="1"/>
          <p:nvPr/>
        </p:nvSpPr>
        <p:spPr>
          <a:xfrm>
            <a:off x="9812440" y="3944363"/>
            <a:ext cx="1170100" cy="24078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ctr" defTabSz="609539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iscoSansTT ExtraLight" panose="020B0303020201020303" pitchFamily="34" charset="0"/>
                <a:ea typeface="Helvetica Neue Light"/>
                <a:cs typeface="CiscoSansTT ExtraLight" panose="020B0303020201020303" pitchFamily="34" charset="0"/>
                <a:sym typeface="Helvetica Neue Light"/>
              </a:rPr>
              <a:t>SecOps</a:t>
            </a: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iscoSansTT ExtraLight" panose="020B0303020201020303" pitchFamily="34" charset="0"/>
              <a:ea typeface="Helvetica Neue Light"/>
              <a:cs typeface="CiscoSansTT ExtraLight" panose="020B0303020201020303" pitchFamily="34" charset="0"/>
              <a:sym typeface="Helvetica Neue Light"/>
            </a:endParaRPr>
          </a:p>
        </p:txBody>
      </p:sp>
    </p:spTree>
    <p:extLst>
      <p:ext uri="{BB962C8B-B14F-4D97-AF65-F5344CB8AC3E}">
        <p14:creationId xmlns:p14="http://schemas.microsoft.com/office/powerpoint/2010/main" val="49949100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D274D"/>
        </a:solidFill>
        <a:effectLst/>
      </p:bgPr>
    </p:bg>
    <p:spTree>
      <p:nvGrpSpPr>
        <p:cNvPr id="1" name="Shape 88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82" name="Google Shape;882;p189"/>
          <p:cNvSpPr/>
          <p:nvPr/>
        </p:nvSpPr>
        <p:spPr>
          <a:xfrm>
            <a:off x="-499767" y="-660533"/>
            <a:ext cx="1736800" cy="173680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endParaRPr kumimoji="0" sz="1867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/>
              <a:sym typeface="Arial"/>
            </a:endParaRPr>
          </a:p>
        </p:txBody>
      </p:sp>
      <p:sp>
        <p:nvSpPr>
          <p:cNvPr id="883" name="Google Shape;883;p189"/>
          <p:cNvSpPr/>
          <p:nvPr/>
        </p:nvSpPr>
        <p:spPr>
          <a:xfrm>
            <a:off x="527533" y="6265433"/>
            <a:ext cx="4818400" cy="361200"/>
          </a:xfrm>
          <a:prstGeom prst="rect">
            <a:avLst/>
          </a:prstGeom>
          <a:solidFill>
            <a:srgbClr val="0D274D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endParaRPr kumimoji="0" sz="1867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/>
              <a:sym typeface="Arial"/>
            </a:endParaRPr>
          </a:p>
        </p:txBody>
      </p:sp>
      <p:pic>
        <p:nvPicPr>
          <p:cNvPr id="14" name="Google Shape;1215;p212">
            <a:extLst>
              <a:ext uri="{FF2B5EF4-FFF2-40B4-BE49-F238E27FC236}">
                <a16:creationId xmlns:a16="http://schemas.microsoft.com/office/drawing/2014/main" id="{B7CBBEA7-61A7-844B-AF01-A5585A18D673}"/>
              </a:ext>
            </a:extLst>
          </p:cNvPr>
          <p:cNvPicPr preferRelativeResize="0"/>
          <p:nvPr/>
        </p:nvPicPr>
        <p:blipFill rotWithShape="1">
          <a:blip r:embed="rId3"/>
          <a:srcRect/>
          <a:stretch/>
        </p:blipFill>
        <p:spPr>
          <a:xfrm rot="10800000">
            <a:off x="9715500" y="0"/>
            <a:ext cx="1727200" cy="6086474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tx1"/>
          </a:solidFill>
          <a:ln>
            <a:noFill/>
          </a:ln>
        </p:spPr>
      </p:pic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59CEB81-167C-4FBA-95CB-E7CA264BD09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19667" y="2070101"/>
            <a:ext cx="4923896" cy="1943937"/>
          </a:xfrm>
        </p:spPr>
        <p:txBody>
          <a:bodyPr/>
          <a:lstStyle/>
          <a:p>
            <a:r>
              <a:rPr lang="en-GB"/>
              <a:t>Introducing Business Critical Services tiers</a:t>
            </a:r>
          </a:p>
          <a:p>
            <a:endParaRPr lang="en-US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05CAABBB-B660-3447-BED9-AC981287D44E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67461" y="4593470"/>
            <a:ext cx="890920" cy="890920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3EA586E9-4FD5-E946-A2BE-A5CBD032AC8D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67461" y="342802"/>
            <a:ext cx="890920" cy="890920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7577583F-DF7F-DC49-B712-3A0E173A7E51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67461" y="1745784"/>
            <a:ext cx="890920" cy="890920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966829C7-2C11-EF44-B04E-3C5B8A8DAFDE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0167461" y="3259714"/>
            <a:ext cx="890920" cy="8909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02253900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8" name="Picture 27" descr="Two people standing in a room&#10;&#10;Description automatically generated">
            <a:extLst>
              <a:ext uri="{FF2B5EF4-FFF2-40B4-BE49-F238E27FC236}">
                <a16:creationId xmlns:a16="http://schemas.microsoft.com/office/drawing/2014/main" id="{DE548539-EBA9-4409-BE7D-627A25F856C0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582614"/>
            <a:ext cx="4403153" cy="1936750"/>
          </a:xfrm>
          <a:custGeom>
            <a:avLst/>
            <a:gdLst>
              <a:gd name="connsiteX0" fmla="*/ 0 w 4403153"/>
              <a:gd name="connsiteY0" fmla="*/ 0 h 1936750"/>
              <a:gd name="connsiteX1" fmla="*/ 3434778 w 4403153"/>
              <a:gd name="connsiteY1" fmla="*/ 0 h 1936750"/>
              <a:gd name="connsiteX2" fmla="*/ 4403153 w 4403153"/>
              <a:gd name="connsiteY2" fmla="*/ 968375 h 1936750"/>
              <a:gd name="connsiteX3" fmla="*/ 3434778 w 4403153"/>
              <a:gd name="connsiteY3" fmla="*/ 1936750 h 1936750"/>
              <a:gd name="connsiteX4" fmla="*/ 0 w 4403153"/>
              <a:gd name="connsiteY4" fmla="*/ 1936750 h 19367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403153" h="1936750">
                <a:moveTo>
                  <a:pt x="0" y="0"/>
                </a:moveTo>
                <a:lnTo>
                  <a:pt x="3434778" y="0"/>
                </a:lnTo>
                <a:cubicBezTo>
                  <a:pt x="3969597" y="0"/>
                  <a:pt x="4403153" y="433556"/>
                  <a:pt x="4403153" y="968375"/>
                </a:cubicBezTo>
                <a:cubicBezTo>
                  <a:pt x="4403153" y="1503194"/>
                  <a:pt x="3969597" y="1936750"/>
                  <a:pt x="3434778" y="1936750"/>
                </a:cubicBezTo>
                <a:lnTo>
                  <a:pt x="0" y="1936750"/>
                </a:lnTo>
                <a:close/>
              </a:path>
            </a:pathLst>
          </a:custGeom>
        </p:spPr>
      </p:pic>
      <p:pic>
        <p:nvPicPr>
          <p:cNvPr id="9" name="Google Shape;3763;p588">
            <a:extLst>
              <a:ext uri="{FF2B5EF4-FFF2-40B4-BE49-F238E27FC236}">
                <a16:creationId xmlns:a16="http://schemas.microsoft.com/office/drawing/2014/main" id="{E7A07134-FBB7-45F0-9C92-A63D01FE64BC}"/>
              </a:ext>
            </a:extLst>
          </p:cNvPr>
          <p:cNvPicPr preferRelativeResize="0"/>
          <p:nvPr/>
        </p:nvPicPr>
        <p:blipFill rotWithShape="1">
          <a:blip r:embed="rId4" cstate="print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984291"/>
            <a:ext cx="488199" cy="976397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11" name="Group 10">
            <a:extLst>
              <a:ext uri="{FF2B5EF4-FFF2-40B4-BE49-F238E27FC236}">
                <a16:creationId xmlns:a16="http://schemas.microsoft.com/office/drawing/2014/main" id="{38D48ED4-84CA-4571-84A7-FD1BE05AA270}"/>
              </a:ext>
            </a:extLst>
          </p:cNvPr>
          <p:cNvGrpSpPr/>
          <p:nvPr/>
        </p:nvGrpSpPr>
        <p:grpSpPr>
          <a:xfrm>
            <a:off x="4854453" y="1058608"/>
            <a:ext cx="152146" cy="984760"/>
            <a:chOff x="2301753" y="2617111"/>
            <a:chExt cx="152146" cy="984760"/>
          </a:xfrm>
          <a:solidFill>
            <a:schemeClr val="accent2"/>
          </a:solidFill>
        </p:grpSpPr>
        <p:sp>
          <p:nvSpPr>
            <p:cNvPr id="13" name="Rectangle: Rounded Corners 12">
              <a:extLst>
                <a:ext uri="{FF2B5EF4-FFF2-40B4-BE49-F238E27FC236}">
                  <a16:creationId xmlns:a16="http://schemas.microsoft.com/office/drawing/2014/main" id="{8C96258B-438C-4EC3-9977-49E660042DD2}"/>
                </a:ext>
              </a:extLst>
            </p:cNvPr>
            <p:cNvSpPr/>
            <p:nvPr/>
          </p:nvSpPr>
          <p:spPr>
            <a:xfrm rot="2923883">
              <a:off x="2065230" y="2853634"/>
              <a:ext cx="625191" cy="152146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en-AU" sz="1100" b="0" i="0" u="none" strike="noStrike" kern="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iscoSansTT ExtraLight"/>
                <a:ea typeface="+mn-ea"/>
                <a:cs typeface="+mn-cs"/>
                <a:sym typeface="Arial"/>
              </a:endParaRPr>
            </a:p>
          </p:txBody>
        </p:sp>
        <p:sp>
          <p:nvSpPr>
            <p:cNvPr id="14" name="Rectangle: Rounded Corners 13">
              <a:extLst>
                <a:ext uri="{FF2B5EF4-FFF2-40B4-BE49-F238E27FC236}">
                  <a16:creationId xmlns:a16="http://schemas.microsoft.com/office/drawing/2014/main" id="{C7A94C2F-6807-4FF7-959D-F835CE3B94BF}"/>
                </a:ext>
              </a:extLst>
            </p:cNvPr>
            <p:cNvSpPr/>
            <p:nvPr/>
          </p:nvSpPr>
          <p:spPr>
            <a:xfrm rot="18676117" flipH="1">
              <a:off x="2065230" y="3213203"/>
              <a:ext cx="625191" cy="152146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en-AU" sz="1100" b="0" i="0" u="none" strike="noStrike" kern="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iscoSansTT ExtraLight"/>
                <a:ea typeface="+mn-ea"/>
                <a:cs typeface="+mn-cs"/>
                <a:sym typeface="Arial"/>
              </a:endParaRPr>
            </a:p>
          </p:txBody>
        </p:sp>
      </p:grpSp>
      <p:grpSp>
        <p:nvGrpSpPr>
          <p:cNvPr id="16" name="Group 15">
            <a:extLst>
              <a:ext uri="{FF2B5EF4-FFF2-40B4-BE49-F238E27FC236}">
                <a16:creationId xmlns:a16="http://schemas.microsoft.com/office/drawing/2014/main" id="{A3A1E7AB-EDE0-4850-B93D-6565AF235F79}"/>
              </a:ext>
            </a:extLst>
          </p:cNvPr>
          <p:cNvGrpSpPr/>
          <p:nvPr/>
        </p:nvGrpSpPr>
        <p:grpSpPr>
          <a:xfrm>
            <a:off x="3491323" y="3416300"/>
            <a:ext cx="5209353" cy="1473735"/>
            <a:chOff x="5200651" y="1612900"/>
            <a:chExt cx="5297460" cy="1473735"/>
          </a:xfrm>
        </p:grpSpPr>
        <p:sp>
          <p:nvSpPr>
            <p:cNvPr id="24" name="Rounded Rectangle 30">
              <a:extLst>
                <a:ext uri="{FF2B5EF4-FFF2-40B4-BE49-F238E27FC236}">
                  <a16:creationId xmlns:a16="http://schemas.microsoft.com/office/drawing/2014/main" id="{692711C8-569C-47DC-BE0A-6244C27942C3}"/>
                </a:ext>
              </a:extLst>
            </p:cNvPr>
            <p:cNvSpPr/>
            <p:nvPr/>
          </p:nvSpPr>
          <p:spPr>
            <a:xfrm>
              <a:off x="5200651" y="1612900"/>
              <a:ext cx="5297460" cy="697976"/>
            </a:xfrm>
            <a:prstGeom prst="roundRect">
              <a:avLst>
                <a:gd name="adj" fmla="val 50000"/>
              </a:avLst>
            </a:prstGeom>
            <a:solidFill>
              <a:schemeClr val="accent1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en-US" sz="1867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iscoSansTT ExtraLight"/>
                <a:ea typeface="+mn-ea"/>
                <a:cs typeface="+mn-cs"/>
                <a:sym typeface="Arial"/>
              </a:endParaRPr>
            </a:p>
          </p:txBody>
        </p:sp>
        <p:sp>
          <p:nvSpPr>
            <p:cNvPr id="25" name="Rectangle 24">
              <a:extLst>
                <a:ext uri="{FF2B5EF4-FFF2-40B4-BE49-F238E27FC236}">
                  <a16:creationId xmlns:a16="http://schemas.microsoft.com/office/drawing/2014/main" id="{25F0677A-661F-4677-95A6-8BECD3BD419C}"/>
                </a:ext>
              </a:extLst>
            </p:cNvPr>
            <p:cNvSpPr/>
            <p:nvPr/>
          </p:nvSpPr>
          <p:spPr>
            <a:xfrm>
              <a:off x="6537163" y="1700278"/>
              <a:ext cx="2624436" cy="523220"/>
            </a:xfrm>
            <a:prstGeom prst="rect">
              <a:avLst/>
            </a:prstGeom>
          </p:spPr>
          <p:txBody>
            <a:bodyPr wrap="none" anchor="ctr">
              <a:spAutoFit/>
            </a:bodyPr>
            <a:lstStyle/>
            <a:p>
              <a:pPr marL="0" marR="0" lvl="0" indent="0" algn="ct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r>
                <a:rPr kumimoji="0" lang="en-US" sz="2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iscoSansTT ExtraLight" panose="020B0303020201020303" pitchFamily="34" charset="0"/>
                  <a:ea typeface="+mn-ea"/>
                  <a:cs typeface="CiscoSansTT ExtraLight" panose="020B0303020201020303" pitchFamily="34" charset="0"/>
                  <a:sym typeface="Arial"/>
                </a:rPr>
                <a:t>Essentials Tier</a:t>
              </a:r>
            </a:p>
          </p:txBody>
        </p:sp>
        <p:sp>
          <p:nvSpPr>
            <p:cNvPr id="26" name="Rectangle 25">
              <a:extLst>
                <a:ext uri="{FF2B5EF4-FFF2-40B4-BE49-F238E27FC236}">
                  <a16:creationId xmlns:a16="http://schemas.microsoft.com/office/drawing/2014/main" id="{F2949156-A027-4F8C-890D-3EE5B44BAF5F}"/>
                </a:ext>
              </a:extLst>
            </p:cNvPr>
            <p:cNvSpPr/>
            <p:nvPr/>
          </p:nvSpPr>
          <p:spPr>
            <a:xfrm>
              <a:off x="6054316" y="2414976"/>
              <a:ext cx="3590128" cy="671659"/>
            </a:xfrm>
            <a:prstGeom prst="rect">
              <a:avLst/>
            </a:prstGeom>
          </p:spPr>
          <p:txBody>
            <a:bodyPr wrap="square" anchor="t">
              <a:spAutoFit/>
            </a:bodyPr>
            <a:lstStyle/>
            <a:p>
              <a:pPr marL="0" marR="0" lvl="0" indent="0" algn="ctr" defTabSz="914377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r>
                <a:rPr kumimoji="0" lang="en-GB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iscoSansTT ExtraLight" panose="020B0303020201020303" pitchFamily="34" charset="0"/>
                  <a:ea typeface="+mn-ea"/>
                  <a:cs typeface="CiscoSansTT ExtraLight" panose="020B0303020201020303" pitchFamily="34" charset="0"/>
                  <a:sym typeface="Arial"/>
                </a:rPr>
                <a:t>Optimize performance </a:t>
              </a:r>
              <a:br>
                <a:rPr kumimoji="0" lang="en-GB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iscoSansTT ExtraLight" panose="020B0303020201020303" pitchFamily="34" charset="0"/>
                  <a:ea typeface="+mn-ea"/>
                  <a:cs typeface="CiscoSansTT ExtraLight" panose="020B0303020201020303" pitchFamily="34" charset="0"/>
                  <a:sym typeface="Arial"/>
                </a:rPr>
              </a:br>
              <a:r>
                <a:rPr kumimoji="0" lang="en-GB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iscoSansTT ExtraLight" panose="020B0303020201020303" pitchFamily="34" charset="0"/>
                  <a:ea typeface="+mn-ea"/>
                  <a:cs typeface="CiscoSansTT ExtraLight" panose="020B0303020201020303" pitchFamily="34" charset="0"/>
                  <a:sym typeface="Arial"/>
                </a:rPr>
                <a:t>and de-risk IT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679776881"/>
      </p:ext>
    </p:extLst>
  </p:cSld>
  <p:clrMapOvr>
    <a:masterClrMapping/>
  </p:clrMapOvr>
  <p:transition>
    <p:fade/>
  </p:transition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70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ounded Rectangle 11">
            <a:extLst>
              <a:ext uri="{FF2B5EF4-FFF2-40B4-BE49-F238E27FC236}">
                <a16:creationId xmlns:a16="http://schemas.microsoft.com/office/drawing/2014/main" id="{6A52BF6A-FE4E-F74E-9FFD-83B70239EEFF}"/>
              </a:ext>
            </a:extLst>
          </p:cNvPr>
          <p:cNvSpPr/>
          <p:nvPr/>
        </p:nvSpPr>
        <p:spPr>
          <a:xfrm>
            <a:off x="685064" y="2152059"/>
            <a:ext cx="10787800" cy="805463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095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sp>
        <p:nvSpPr>
          <p:cNvPr id="30" name="Google Shape;1439;p198">
            <a:extLst>
              <a:ext uri="{FF2B5EF4-FFF2-40B4-BE49-F238E27FC236}">
                <a16:creationId xmlns:a16="http://schemas.microsoft.com/office/drawing/2014/main" id="{0A36C69D-7C85-8C44-88FD-1B9A44DCAC54}"/>
              </a:ext>
            </a:extLst>
          </p:cNvPr>
          <p:cNvSpPr txBox="1"/>
          <p:nvPr/>
        </p:nvSpPr>
        <p:spPr>
          <a:xfrm>
            <a:off x="6658196" y="3290447"/>
            <a:ext cx="1551287" cy="498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ctr" defTabSz="12191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14284A"/>
                </a:solidFill>
                <a:effectLst/>
                <a:uLnTx/>
                <a:uFillTx/>
                <a:latin typeface="CiscoSansTT ExtraLight" panose="020B0303020201020303" pitchFamily="34" charset="0"/>
                <a:ea typeface="ＭＳ Ｐゴシック" charset="0"/>
                <a:cs typeface="CiscoSansTT ExtraLight" panose="020B0303020201020303" pitchFamily="34" charset="0"/>
                <a:sym typeface="Arial"/>
              </a:rPr>
              <a:t>Expert Review Workshops</a:t>
            </a:r>
          </a:p>
        </p:txBody>
      </p:sp>
      <p:sp>
        <p:nvSpPr>
          <p:cNvPr id="65" name="TextBox 64">
            <a:extLst>
              <a:ext uri="{FF2B5EF4-FFF2-40B4-BE49-F238E27FC236}">
                <a16:creationId xmlns:a16="http://schemas.microsoft.com/office/drawing/2014/main" id="{5BCC6C0A-404C-B34E-BE86-CB7879CA2B8D}"/>
              </a:ext>
            </a:extLst>
          </p:cNvPr>
          <p:cNvSpPr txBox="1"/>
          <p:nvPr/>
        </p:nvSpPr>
        <p:spPr>
          <a:xfrm>
            <a:off x="6445583" y="4290860"/>
            <a:ext cx="1976512" cy="90965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171450" marR="0" lvl="0" indent="-171450" algn="l" defTabSz="609570" rtl="0" eaLnBrk="1" fontAlgn="base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00BCEB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14284A"/>
                </a:solidFill>
                <a:effectLst/>
                <a:uLnTx/>
                <a:uFillTx/>
                <a:latin typeface="CiscoSansTT ExtraLight"/>
                <a:ea typeface="ＭＳ Ｐゴシック" charset="0"/>
                <a:cs typeface="Arial"/>
                <a:sym typeface="Arial"/>
              </a:rPr>
              <a:t>Configuration </a:t>
            </a:r>
          </a:p>
          <a:p>
            <a:pPr marL="171450" marR="0" lvl="0" indent="-171450" algn="l" defTabSz="609570" rtl="0" eaLnBrk="1" fontAlgn="base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00BCEB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14284A"/>
                </a:solidFill>
                <a:effectLst/>
                <a:uLnTx/>
                <a:uFillTx/>
                <a:latin typeface="CiscoSansTT ExtraLight"/>
                <a:ea typeface="ＭＳ Ｐゴシック" charset="0"/>
                <a:cs typeface="Arial"/>
                <a:sym typeface="Arial"/>
              </a:rPr>
              <a:t>Implementation</a:t>
            </a:r>
          </a:p>
          <a:p>
            <a:pPr marL="171450" marR="0" lvl="0" indent="-171450" algn="l" defTabSz="609570" rtl="0" eaLnBrk="1" fontAlgn="base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00BCEB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14284A"/>
                </a:solidFill>
                <a:effectLst/>
                <a:uLnTx/>
                <a:uFillTx/>
                <a:latin typeface="CiscoSansTT ExtraLight"/>
                <a:ea typeface="ＭＳ Ｐゴシック" charset="0"/>
                <a:cs typeface="Arial"/>
                <a:sym typeface="Arial"/>
              </a:rPr>
              <a:t>Testing</a:t>
            </a:r>
          </a:p>
          <a:p>
            <a:pPr marL="171450" marR="0" lvl="0" indent="-171450" algn="l" defTabSz="609570" rtl="0" eaLnBrk="1" fontAlgn="base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00BCEB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14284A"/>
              </a:solidFill>
              <a:effectLst/>
              <a:uLnTx/>
              <a:uFillTx/>
              <a:latin typeface="CiscoSansTT ExtraLight"/>
              <a:ea typeface="ＭＳ Ｐゴシック" charset="0"/>
              <a:cs typeface="Arial"/>
              <a:sym typeface="Arial"/>
            </a:endParaRPr>
          </a:p>
          <a:p>
            <a:pPr marL="0" marR="0" lvl="0" indent="0" algn="l" defTabSz="609570" rtl="0" eaLnBrk="1" fontAlgn="base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282828"/>
              </a:buClr>
              <a:buSzPts val="1200"/>
              <a:buFont typeface="Arial"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284A"/>
              </a:solidFill>
              <a:effectLst/>
              <a:uLnTx/>
              <a:uFillTx/>
              <a:latin typeface="CiscoSansTT ExtraLight"/>
              <a:ea typeface="ＭＳ Ｐゴシック" charset="0"/>
              <a:cs typeface="Arial"/>
              <a:sym typeface="Arial"/>
            </a:endParaRPr>
          </a:p>
        </p:txBody>
      </p:sp>
      <p:sp>
        <p:nvSpPr>
          <p:cNvPr id="71" name="Google Shape;1439;p198">
            <a:extLst>
              <a:ext uri="{FF2B5EF4-FFF2-40B4-BE49-F238E27FC236}">
                <a16:creationId xmlns:a16="http://schemas.microsoft.com/office/drawing/2014/main" id="{AEBF23AF-2F5F-0143-A3DE-B9CA5D3EC2DF}"/>
              </a:ext>
            </a:extLst>
          </p:cNvPr>
          <p:cNvSpPr txBox="1"/>
          <p:nvPr/>
        </p:nvSpPr>
        <p:spPr>
          <a:xfrm>
            <a:off x="3842451" y="3290447"/>
            <a:ext cx="1735687" cy="498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ctr" defTabSz="12191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14284A"/>
                </a:solidFill>
                <a:effectLst/>
                <a:uLnTx/>
                <a:uFillTx/>
                <a:latin typeface="CiscoSansTT ExtraLight" panose="020B0303020201020303" pitchFamily="34" charset="0"/>
                <a:ea typeface="ＭＳ Ｐゴシック" charset="0"/>
                <a:cs typeface="CiscoSansTT ExtraLight" panose="020B0303020201020303" pitchFamily="34" charset="0"/>
                <a:sym typeface="Arial"/>
              </a:rPr>
              <a:t>Change Window Support</a:t>
            </a:r>
          </a:p>
        </p:txBody>
      </p:sp>
      <p:sp>
        <p:nvSpPr>
          <p:cNvPr id="76" name="Google Shape;1439;p198">
            <a:extLst>
              <a:ext uri="{FF2B5EF4-FFF2-40B4-BE49-F238E27FC236}">
                <a16:creationId xmlns:a16="http://schemas.microsoft.com/office/drawing/2014/main" id="{5B96C7A6-750C-2644-86BF-12A11C4ED413}"/>
              </a:ext>
            </a:extLst>
          </p:cNvPr>
          <p:cNvSpPr txBox="1"/>
          <p:nvPr/>
        </p:nvSpPr>
        <p:spPr>
          <a:xfrm>
            <a:off x="1203421" y="3290447"/>
            <a:ext cx="1735687" cy="498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ctr" defTabSz="12191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14284A"/>
                </a:solidFill>
                <a:effectLst/>
                <a:uLnTx/>
                <a:uFillTx/>
                <a:latin typeface="CiscoSansTT ExtraLight" panose="020B0303020201020303" pitchFamily="34" charset="0"/>
                <a:ea typeface="ＭＳ Ｐゴシック" charset="0"/>
                <a:cs typeface="CiscoSansTT ExtraLight" panose="020B0303020201020303" pitchFamily="34" charset="0"/>
                <a:sym typeface="Arial"/>
              </a:rPr>
              <a:t>Operational </a:t>
            </a:r>
            <a:b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14284A"/>
                </a:solidFill>
                <a:effectLst/>
                <a:uLnTx/>
                <a:uFillTx/>
                <a:latin typeface="CiscoSansTT ExtraLight" panose="020B0303020201020303" pitchFamily="34" charset="0"/>
                <a:ea typeface="ＭＳ Ｐゴシック" charset="0"/>
                <a:cs typeface="CiscoSansTT ExtraLight" panose="020B0303020201020303" pitchFamily="34" charset="0"/>
                <a:sym typeface="Arial"/>
              </a:rPr>
            </a:b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14284A"/>
                </a:solidFill>
                <a:effectLst/>
                <a:uLnTx/>
                <a:uFillTx/>
                <a:latin typeface="CiscoSansTT ExtraLight" panose="020B0303020201020303" pitchFamily="34" charset="0"/>
                <a:ea typeface="ＭＳ Ｐゴシック" charset="0"/>
                <a:cs typeface="CiscoSansTT ExtraLight" panose="020B0303020201020303" pitchFamily="34" charset="0"/>
                <a:sym typeface="Arial"/>
              </a:rPr>
              <a:t>Insights Review</a:t>
            </a:r>
          </a:p>
        </p:txBody>
      </p:sp>
      <p:sp>
        <p:nvSpPr>
          <p:cNvPr id="81" name="Google Shape;1439;p198">
            <a:extLst>
              <a:ext uri="{FF2B5EF4-FFF2-40B4-BE49-F238E27FC236}">
                <a16:creationId xmlns:a16="http://schemas.microsoft.com/office/drawing/2014/main" id="{9A58D8EC-3C57-7947-9200-2A5FE6E9182D}"/>
              </a:ext>
            </a:extLst>
          </p:cNvPr>
          <p:cNvSpPr txBox="1"/>
          <p:nvPr/>
        </p:nvSpPr>
        <p:spPr>
          <a:xfrm>
            <a:off x="9269144" y="3290447"/>
            <a:ext cx="1605407" cy="498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ctr" defTabSz="12191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14284A"/>
                </a:solidFill>
                <a:effectLst/>
                <a:uLnTx/>
                <a:uFillTx/>
                <a:latin typeface="CiscoSansTT ExtraLight" panose="020B0303020201020303" pitchFamily="34" charset="0"/>
                <a:ea typeface="ＭＳ Ｐゴシック" charset="0"/>
                <a:cs typeface="CiscoSansTT ExtraLight" panose="020B0303020201020303" pitchFamily="34" charset="0"/>
                <a:sym typeface="Arial"/>
              </a:rPr>
              <a:t>Ask the </a:t>
            </a:r>
          </a:p>
          <a:p>
            <a:pPr marL="0" marR="0" lvl="0" indent="0" algn="ctr" defTabSz="12191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14284A"/>
                </a:solidFill>
                <a:effectLst/>
                <a:uLnTx/>
                <a:uFillTx/>
                <a:latin typeface="CiscoSansTT ExtraLight" panose="020B0303020201020303" pitchFamily="34" charset="0"/>
                <a:ea typeface="ＭＳ Ｐゴシック" charset="0"/>
                <a:cs typeface="CiscoSansTT ExtraLight" panose="020B0303020201020303" pitchFamily="34" charset="0"/>
                <a:sym typeface="Arial"/>
              </a:rPr>
              <a:t>Experts</a:t>
            </a:r>
          </a:p>
        </p:txBody>
      </p:sp>
      <p:sp>
        <p:nvSpPr>
          <p:cNvPr id="87" name="TextBox 86">
            <a:extLst>
              <a:ext uri="{FF2B5EF4-FFF2-40B4-BE49-F238E27FC236}">
                <a16:creationId xmlns:a16="http://schemas.microsoft.com/office/drawing/2014/main" id="{81D2E74F-664A-C04C-A689-CD3B03EBA671}"/>
              </a:ext>
            </a:extLst>
          </p:cNvPr>
          <p:cNvSpPr txBox="1"/>
          <p:nvPr/>
        </p:nvSpPr>
        <p:spPr>
          <a:xfrm>
            <a:off x="734165" y="4290860"/>
            <a:ext cx="3226659" cy="198452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171450" marR="0" lvl="0" indent="-171450" algn="l" defTabSz="609570" rtl="0" eaLnBrk="1" fontAlgn="base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00BCEB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14284A"/>
                </a:solidFill>
                <a:effectLst/>
                <a:uLnTx/>
                <a:uFillTx/>
                <a:latin typeface="CiscoSansTT ExtraLight"/>
                <a:ea typeface="ＭＳ Ｐゴシック" charset="0"/>
                <a:cs typeface="Arial"/>
                <a:sym typeface="Arial"/>
              </a:rPr>
              <a:t>Better Software Management </a:t>
            </a:r>
          </a:p>
          <a:p>
            <a:pPr marL="171450" marR="0" lvl="0" indent="-171450" algn="l" defTabSz="609570" rtl="0" eaLnBrk="1" fontAlgn="base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00BCEB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14284A"/>
                </a:solidFill>
                <a:effectLst/>
                <a:uLnTx/>
                <a:uFillTx/>
                <a:latin typeface="CiscoSansTT ExtraLight"/>
                <a:ea typeface="ＭＳ Ｐゴシック" charset="0"/>
                <a:cs typeface="Arial"/>
                <a:sym typeface="Arial"/>
              </a:rPr>
              <a:t>Software Analysis and Release Standards </a:t>
            </a:r>
          </a:p>
          <a:p>
            <a:pPr marL="171450" marR="0" lvl="0" indent="-171450" algn="l" defTabSz="609570" rtl="0" eaLnBrk="1" fontAlgn="base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00BCEB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14284A"/>
                </a:solidFill>
                <a:effectLst/>
                <a:uLnTx/>
                <a:uFillTx/>
                <a:latin typeface="CiscoSansTT ExtraLight"/>
                <a:ea typeface="ＭＳ Ｐゴシック" charset="0"/>
                <a:cs typeface="Arial"/>
                <a:sym typeface="Arial"/>
              </a:rPr>
              <a:t>Configuration Best Practices</a:t>
            </a:r>
          </a:p>
          <a:p>
            <a:pPr marL="171450" marR="0" lvl="0" indent="-171450" algn="l" defTabSz="609570" rtl="0" eaLnBrk="1" fontAlgn="base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00BCEB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14284A"/>
                </a:solidFill>
                <a:effectLst/>
                <a:uLnTx/>
                <a:uFillTx/>
                <a:latin typeface="CiscoSansTT ExtraLight"/>
                <a:ea typeface="ＭＳ Ｐゴシック" charset="0"/>
                <a:cs typeface="Arial"/>
                <a:sym typeface="Arial"/>
              </a:rPr>
              <a:t>Field Notices</a:t>
            </a:r>
          </a:p>
          <a:p>
            <a:pPr marL="171450" marR="0" lvl="0" indent="-171450" algn="l" defTabSz="609570" rtl="0" eaLnBrk="1" fontAlgn="base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00BCEB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14284A"/>
                </a:solidFill>
                <a:effectLst/>
                <a:uLnTx/>
                <a:uFillTx/>
                <a:latin typeface="CiscoSansTT ExtraLight"/>
                <a:ea typeface="ＭＳ Ｐゴシック" charset="0"/>
                <a:cs typeface="Arial"/>
                <a:sym typeface="Arial"/>
              </a:rPr>
              <a:t>Hardware Lifecycle Milestones</a:t>
            </a:r>
          </a:p>
          <a:p>
            <a:pPr marL="171450" marR="0" lvl="0" indent="-171450" algn="l" defTabSz="609570" rtl="0" eaLnBrk="1" fontAlgn="base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00BCEB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14284A"/>
                </a:solidFill>
                <a:effectLst/>
                <a:uLnTx/>
                <a:uFillTx/>
                <a:latin typeface="CiscoSansTT ExtraLight"/>
                <a:ea typeface="ＭＳ Ｐゴシック" charset="0"/>
                <a:cs typeface="Arial"/>
                <a:sym typeface="Arial"/>
              </a:rPr>
              <a:t>Product Security Advisory Customer Impact</a:t>
            </a:r>
          </a:p>
          <a:p>
            <a:pPr marL="171450" marR="0" lvl="0" indent="-171450" algn="l" defTabSz="609570" rtl="0" eaLnBrk="1" fontAlgn="base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00BCEB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14284A"/>
                </a:solidFill>
                <a:effectLst/>
                <a:uLnTx/>
                <a:uFillTx/>
                <a:latin typeface="CiscoSansTT ExtraLight"/>
                <a:ea typeface="ＭＳ Ｐゴシック" charset="0"/>
                <a:cs typeface="Arial"/>
                <a:sym typeface="Arial"/>
              </a:rPr>
              <a:t>Syslog Analysis</a:t>
            </a:r>
          </a:p>
          <a:p>
            <a:pPr marL="171450" marR="0" lvl="0" indent="-171450" algn="l" defTabSz="609570" rtl="0" eaLnBrk="1" fontAlgn="base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00BCEB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14284A"/>
                </a:solidFill>
                <a:effectLst/>
                <a:uLnTx/>
                <a:uFillTx/>
                <a:latin typeface="CiscoSansTT ExtraLight"/>
                <a:ea typeface="ＭＳ Ｐゴシック" charset="0"/>
                <a:cs typeface="Arial"/>
                <a:sym typeface="Arial"/>
              </a:rPr>
              <a:t>Risk Mitigation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D9A5EC0A-D5F6-AF46-9CCC-A11F83062811}"/>
              </a:ext>
            </a:extLst>
          </p:cNvPr>
          <p:cNvGrpSpPr/>
          <p:nvPr/>
        </p:nvGrpSpPr>
        <p:grpSpPr>
          <a:xfrm>
            <a:off x="6784048" y="1905000"/>
            <a:ext cx="1299582" cy="1299580"/>
            <a:chOff x="677066" y="2123306"/>
            <a:chExt cx="1605407" cy="1605407"/>
          </a:xfrm>
        </p:grpSpPr>
        <p:grpSp>
          <p:nvGrpSpPr>
            <p:cNvPr id="16" name="Group 15">
              <a:extLst>
                <a:ext uri="{FF2B5EF4-FFF2-40B4-BE49-F238E27FC236}">
                  <a16:creationId xmlns:a16="http://schemas.microsoft.com/office/drawing/2014/main" id="{3E1124ED-F23A-6142-8A24-20F7A51F94EF}"/>
                </a:ext>
              </a:extLst>
            </p:cNvPr>
            <p:cNvGrpSpPr/>
            <p:nvPr/>
          </p:nvGrpSpPr>
          <p:grpSpPr>
            <a:xfrm>
              <a:off x="677066" y="2123306"/>
              <a:ext cx="1605407" cy="1605407"/>
              <a:chOff x="690330" y="2146303"/>
              <a:chExt cx="1605406" cy="1605407"/>
            </a:xfrm>
          </p:grpSpPr>
          <p:sp>
            <p:nvSpPr>
              <p:cNvPr id="55" name="Oval 54">
                <a:extLst>
                  <a:ext uri="{FF2B5EF4-FFF2-40B4-BE49-F238E27FC236}">
                    <a16:creationId xmlns:a16="http://schemas.microsoft.com/office/drawing/2014/main" id="{375FA641-90D4-804C-BD35-5E496065030C}"/>
                  </a:ext>
                </a:extLst>
              </p:cNvPr>
              <p:cNvSpPr/>
              <p:nvPr/>
            </p:nvSpPr>
            <p:spPr>
              <a:xfrm>
                <a:off x="690330" y="2146303"/>
                <a:ext cx="1605406" cy="1605407"/>
              </a:xfrm>
              <a:prstGeom prst="ellipse">
                <a:avLst/>
              </a:prstGeom>
              <a:solidFill>
                <a:schemeClr val="tx2"/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60957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  <a:sym typeface="Arial"/>
                </a:endParaRPr>
              </a:p>
            </p:txBody>
          </p:sp>
          <p:grpSp>
            <p:nvGrpSpPr>
              <p:cNvPr id="6" name="Group 5">
                <a:extLst>
                  <a:ext uri="{FF2B5EF4-FFF2-40B4-BE49-F238E27FC236}">
                    <a16:creationId xmlns:a16="http://schemas.microsoft.com/office/drawing/2014/main" id="{2274FC8F-5438-BD4B-BDD9-080DC4F13762}"/>
                  </a:ext>
                </a:extLst>
              </p:cNvPr>
              <p:cNvGrpSpPr/>
              <p:nvPr/>
            </p:nvGrpSpPr>
            <p:grpSpPr>
              <a:xfrm>
                <a:off x="817029" y="2266768"/>
                <a:ext cx="1352008" cy="1353117"/>
                <a:chOff x="789483" y="2938931"/>
                <a:chExt cx="1014006" cy="1014838"/>
              </a:xfrm>
            </p:grpSpPr>
            <p:sp>
              <p:nvSpPr>
                <p:cNvPr id="54" name="Google Shape;1433;p198">
                  <a:extLst>
                    <a:ext uri="{FF2B5EF4-FFF2-40B4-BE49-F238E27FC236}">
                      <a16:creationId xmlns:a16="http://schemas.microsoft.com/office/drawing/2014/main" id="{55369681-8F63-B04D-9808-83CF4E418E74}"/>
                    </a:ext>
                  </a:extLst>
                </p:cNvPr>
                <p:cNvSpPr/>
                <p:nvPr/>
              </p:nvSpPr>
              <p:spPr>
                <a:xfrm>
                  <a:off x="789483" y="2941214"/>
                  <a:ext cx="1012555" cy="1012555"/>
                </a:xfrm>
                <a:prstGeom prst="ellipse">
                  <a:avLst/>
                </a:prstGeom>
                <a:noFill/>
                <a:ln w="50800" cap="flat" cmpd="sng">
                  <a:solidFill>
                    <a:srgbClr val="F5F6F9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121900" tIns="60933" rIns="121900" bIns="60933" anchor="t" anchorCtr="0">
                  <a:noAutofit/>
                </a:bodyPr>
                <a:lstStyle/>
                <a:p>
                  <a:pPr marL="0" marR="0" lvl="0" indent="0" algn="l" defTabSz="121911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800"/>
                    <a:buFontTx/>
                    <a:buNone/>
                    <a:tabLst/>
                    <a:defRPr/>
                  </a:pPr>
                  <a:endParaRPr kumimoji="0" sz="2400" b="0" i="0" u="none" strike="noStrike" kern="0" cap="none" spc="0" normalizeH="0" baseline="0" noProof="0">
                    <a:ln>
                      <a:noFill/>
                    </a:ln>
                    <a:solidFill>
                      <a:srgbClr val="282828"/>
                    </a:solidFill>
                    <a:effectLst/>
                    <a:uLnTx/>
                    <a:uFillTx/>
                    <a:latin typeface="CiscoSansTT ExtraLight" panose="020B0303020201020303" pitchFamily="34" charset="0"/>
                    <a:ea typeface="ＭＳ Ｐゴシック" charset="0"/>
                    <a:cs typeface="CiscoSansTT ExtraLight" panose="020B0303020201020303" pitchFamily="34" charset="0"/>
                    <a:sym typeface="Arial"/>
                  </a:endParaRPr>
                </a:p>
              </p:txBody>
            </p:sp>
            <p:sp>
              <p:nvSpPr>
                <p:cNvPr id="28" name="Google Shape;1442;p198">
                  <a:extLst>
                    <a:ext uri="{FF2B5EF4-FFF2-40B4-BE49-F238E27FC236}">
                      <a16:creationId xmlns:a16="http://schemas.microsoft.com/office/drawing/2014/main" id="{8D918939-D0D7-AE45-ACD9-8E788A3FD133}"/>
                    </a:ext>
                  </a:extLst>
                </p:cNvPr>
                <p:cNvSpPr/>
                <p:nvPr/>
              </p:nvSpPr>
              <p:spPr>
                <a:xfrm>
                  <a:off x="1299639" y="2938931"/>
                  <a:ext cx="503850" cy="101418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32" h="265" extrusionOk="0">
                      <a:moveTo>
                        <a:pt x="0" y="0"/>
                      </a:moveTo>
                      <a:cubicBezTo>
                        <a:pt x="73" y="0"/>
                        <a:pt x="132" y="60"/>
                        <a:pt x="132" y="133"/>
                      </a:cubicBezTo>
                      <a:cubicBezTo>
                        <a:pt x="132" y="206"/>
                        <a:pt x="73" y="265"/>
                        <a:pt x="0" y="265"/>
                      </a:cubicBezTo>
                      <a:cubicBezTo>
                        <a:pt x="0" y="265"/>
                        <a:pt x="0" y="265"/>
                        <a:pt x="0" y="265"/>
                      </a:cubicBezTo>
                    </a:path>
                  </a:pathLst>
                </a:custGeom>
                <a:noFill/>
                <a:ln w="50800" cap="rnd" cmpd="sng">
                  <a:solidFill>
                    <a:srgbClr val="F5F6F9"/>
                  </a:solidFill>
                  <a:prstDash val="solid"/>
                  <a:miter lim="800000"/>
                  <a:headEnd type="none" w="sm" len="sm"/>
                  <a:tailEnd type="none" w="sm" len="sm"/>
                </a:ln>
              </p:spPr>
              <p:txBody>
                <a:bodyPr spcFirstLastPara="1" wrap="square" lIns="121900" tIns="60933" rIns="121900" bIns="60933" anchor="t" anchorCtr="0">
                  <a:noAutofit/>
                </a:bodyPr>
                <a:lstStyle/>
                <a:p>
                  <a:pPr marL="0" marR="0" lvl="0" indent="0" algn="l" defTabSz="121911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800"/>
                    <a:buFontTx/>
                    <a:buNone/>
                    <a:tabLst/>
                    <a:defRPr/>
                  </a:pPr>
                  <a:endParaRPr kumimoji="0" sz="2400" b="0" i="0" u="none" strike="noStrike" kern="0" cap="none" spc="0" normalizeH="0" baseline="0" noProof="0">
                    <a:ln>
                      <a:noFill/>
                    </a:ln>
                    <a:solidFill>
                      <a:srgbClr val="282828"/>
                    </a:solidFill>
                    <a:effectLst/>
                    <a:uLnTx/>
                    <a:uFillTx/>
                    <a:latin typeface="CiscoSansTT ExtraLight" panose="020B0303020201020303" pitchFamily="34" charset="0"/>
                    <a:ea typeface="ＭＳ Ｐゴシック" charset="0"/>
                    <a:cs typeface="CiscoSansTT ExtraLight" panose="020B0303020201020303" pitchFamily="34" charset="0"/>
                    <a:sym typeface="Arial"/>
                  </a:endParaRPr>
                </a:p>
              </p:txBody>
            </p:sp>
          </p:grpSp>
        </p:grpSp>
        <p:pic>
          <p:nvPicPr>
            <p:cNvPr id="39" name="Picture 38">
              <a:extLst>
                <a:ext uri="{FF2B5EF4-FFF2-40B4-BE49-F238E27FC236}">
                  <a16:creationId xmlns:a16="http://schemas.microsoft.com/office/drawing/2014/main" id="{9A67DAA7-16C2-B443-BFEA-0C8F425991BA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51645" y="2409217"/>
              <a:ext cx="1069848" cy="1069848"/>
            </a:xfrm>
            <a:prstGeom prst="rect">
              <a:avLst/>
            </a:prstGeom>
          </p:spPr>
        </p:pic>
      </p:grpSp>
      <p:sp>
        <p:nvSpPr>
          <p:cNvPr id="2" name="TextBox 1">
            <a:extLst>
              <a:ext uri="{FF2B5EF4-FFF2-40B4-BE49-F238E27FC236}">
                <a16:creationId xmlns:a16="http://schemas.microsoft.com/office/drawing/2014/main" id="{9FBC736D-B19A-9048-B9E1-10586B687A2C}"/>
              </a:ext>
            </a:extLst>
          </p:cNvPr>
          <p:cNvSpPr txBox="1"/>
          <p:nvPr/>
        </p:nvSpPr>
        <p:spPr>
          <a:xfrm>
            <a:off x="2034540" y="68580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srgbClr val="2F446B"/>
              </a:solidFill>
              <a:effectLst/>
              <a:uLnTx/>
              <a:uFillTx/>
              <a:latin typeface="CiscoSansTT ExtraLight"/>
              <a:ea typeface="+mn-ea"/>
              <a:cs typeface="Arial"/>
              <a:sym typeface="Arial"/>
            </a:endParaRPr>
          </a:p>
        </p:txBody>
      </p:sp>
      <p:sp>
        <p:nvSpPr>
          <p:cNvPr id="41" name="Google Shape;1439;p198">
            <a:extLst>
              <a:ext uri="{FF2B5EF4-FFF2-40B4-BE49-F238E27FC236}">
                <a16:creationId xmlns:a16="http://schemas.microsoft.com/office/drawing/2014/main" id="{E8BC18EC-2C02-2447-99AF-F1111DDCA88C}"/>
              </a:ext>
            </a:extLst>
          </p:cNvPr>
          <p:cNvSpPr txBox="1"/>
          <p:nvPr/>
        </p:nvSpPr>
        <p:spPr>
          <a:xfrm>
            <a:off x="1295621" y="3768725"/>
            <a:ext cx="1551287" cy="1820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ctr" defTabSz="12191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Tx/>
              <a:buNone/>
              <a:tabLst/>
              <a:defRPr/>
            </a:pPr>
            <a:r>
              <a:rPr kumimoji="0" lang="en-US" sz="1000" b="0" i="0" u="none" strike="noStrike" kern="0" cap="none" spc="0" normalizeH="0" baseline="0" noProof="0">
                <a:ln>
                  <a:noFill/>
                </a:ln>
                <a:solidFill>
                  <a:srgbClr val="14284A"/>
                </a:solidFill>
                <a:effectLst/>
                <a:uLnTx/>
                <a:uFillTx/>
                <a:latin typeface="CiscoSansTT ExtraLight" panose="020B0303020201020303" pitchFamily="34" charset="0"/>
                <a:ea typeface="ＭＳ Ｐゴシック" charset="0"/>
                <a:cs typeface="CiscoSansTT ExtraLight" panose="020B0303020201020303" pitchFamily="34" charset="0"/>
                <a:sym typeface="Arial"/>
              </a:rPr>
              <a:t>1 per month</a:t>
            </a:r>
          </a:p>
        </p:txBody>
      </p:sp>
      <p:sp>
        <p:nvSpPr>
          <p:cNvPr id="42" name="Google Shape;1439;p198">
            <a:extLst>
              <a:ext uri="{FF2B5EF4-FFF2-40B4-BE49-F238E27FC236}">
                <a16:creationId xmlns:a16="http://schemas.microsoft.com/office/drawing/2014/main" id="{8E24BBFE-EAD2-F543-B011-A6F5DE4101ED}"/>
              </a:ext>
            </a:extLst>
          </p:cNvPr>
          <p:cNvSpPr txBox="1"/>
          <p:nvPr/>
        </p:nvSpPr>
        <p:spPr>
          <a:xfrm>
            <a:off x="3934651" y="3768725"/>
            <a:ext cx="1551287" cy="19247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ctr" defTabSz="12191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Tx/>
              <a:buNone/>
              <a:tabLst/>
              <a:defRPr/>
            </a:pPr>
            <a:r>
              <a:rPr kumimoji="0" lang="en-US" sz="1000" b="0" i="0" u="none" strike="noStrike" kern="0" cap="none" spc="0" normalizeH="0" baseline="0" noProof="0">
                <a:ln>
                  <a:noFill/>
                </a:ln>
                <a:solidFill>
                  <a:srgbClr val="14284A"/>
                </a:solidFill>
                <a:effectLst/>
                <a:uLnTx/>
                <a:uFillTx/>
                <a:latin typeface="CiscoSansTT ExtraLight" panose="020B0303020201020303" pitchFamily="34" charset="0"/>
                <a:ea typeface="ＭＳ Ｐゴシック" charset="0"/>
                <a:cs typeface="CiscoSansTT ExtraLight" panose="020B0303020201020303" pitchFamily="34" charset="0"/>
                <a:sym typeface="Arial"/>
              </a:rPr>
              <a:t>4 per year</a:t>
            </a:r>
          </a:p>
        </p:txBody>
      </p:sp>
      <p:sp>
        <p:nvSpPr>
          <p:cNvPr id="43" name="Google Shape;1439;p198">
            <a:extLst>
              <a:ext uri="{FF2B5EF4-FFF2-40B4-BE49-F238E27FC236}">
                <a16:creationId xmlns:a16="http://schemas.microsoft.com/office/drawing/2014/main" id="{7C75371C-A898-0C47-85AB-5CCC0ED34444}"/>
              </a:ext>
            </a:extLst>
          </p:cNvPr>
          <p:cNvSpPr txBox="1"/>
          <p:nvPr/>
        </p:nvSpPr>
        <p:spPr>
          <a:xfrm>
            <a:off x="6658196" y="3768725"/>
            <a:ext cx="1551287" cy="22410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ctr" defTabSz="12191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Tx/>
              <a:buNone/>
              <a:tabLst/>
              <a:defRPr/>
            </a:pPr>
            <a:r>
              <a:rPr kumimoji="0" lang="en-US" sz="1000" b="0" i="0" u="none" strike="noStrike" kern="0" cap="none" spc="0" normalizeH="0" baseline="0" noProof="0">
                <a:ln>
                  <a:noFill/>
                </a:ln>
                <a:solidFill>
                  <a:srgbClr val="14284A"/>
                </a:solidFill>
                <a:effectLst/>
                <a:uLnTx/>
                <a:uFillTx/>
                <a:latin typeface="CiscoSansTT ExtraLight" panose="020B0303020201020303" pitchFamily="34" charset="0"/>
                <a:ea typeface="ＭＳ Ｐゴシック" charset="0"/>
                <a:cs typeface="CiscoSansTT ExtraLight" panose="020B0303020201020303" pitchFamily="34" charset="0"/>
                <a:sym typeface="Arial"/>
              </a:rPr>
              <a:t>2 per year</a:t>
            </a:r>
          </a:p>
        </p:txBody>
      </p:sp>
      <p:sp>
        <p:nvSpPr>
          <p:cNvPr id="45" name="Google Shape;1439;p198">
            <a:extLst>
              <a:ext uri="{FF2B5EF4-FFF2-40B4-BE49-F238E27FC236}">
                <a16:creationId xmlns:a16="http://schemas.microsoft.com/office/drawing/2014/main" id="{C955FBB0-371E-D746-9EE8-93C2F5B7E903}"/>
              </a:ext>
            </a:extLst>
          </p:cNvPr>
          <p:cNvSpPr txBox="1"/>
          <p:nvPr/>
        </p:nvSpPr>
        <p:spPr>
          <a:xfrm>
            <a:off x="9296204" y="3768725"/>
            <a:ext cx="1551287" cy="20912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ctr" defTabSz="12191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Tx/>
              <a:buNone/>
              <a:tabLst/>
              <a:defRPr/>
            </a:pPr>
            <a:r>
              <a:rPr kumimoji="0" lang="en-US" sz="1000" b="0" i="0" u="none" strike="noStrike" kern="0" cap="none" spc="0" normalizeH="0" baseline="0" noProof="0">
                <a:ln>
                  <a:noFill/>
                </a:ln>
                <a:solidFill>
                  <a:srgbClr val="14284A"/>
                </a:solidFill>
                <a:effectLst/>
                <a:uLnTx/>
                <a:uFillTx/>
                <a:latin typeface="CiscoSansTT ExtraLight" panose="020B0303020201020303" pitchFamily="34" charset="0"/>
                <a:ea typeface="ＭＳ Ｐゴシック" charset="0"/>
                <a:cs typeface="CiscoSansTT ExtraLight" panose="020B0303020201020303" pitchFamily="34" charset="0"/>
                <a:sym typeface="Arial"/>
              </a:rPr>
              <a:t>Unlimited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EF03A69E-28E2-3A40-906E-BBCF5B38D686}"/>
              </a:ext>
            </a:extLst>
          </p:cNvPr>
          <p:cNvGrpSpPr/>
          <p:nvPr/>
        </p:nvGrpSpPr>
        <p:grpSpPr>
          <a:xfrm>
            <a:off x="4060503" y="1905000"/>
            <a:ext cx="1299582" cy="1299580"/>
            <a:chOff x="3421190" y="2115279"/>
            <a:chExt cx="1605407" cy="1605407"/>
          </a:xfrm>
        </p:grpSpPr>
        <p:grpSp>
          <p:nvGrpSpPr>
            <p:cNvPr id="5" name="Group 4">
              <a:extLst>
                <a:ext uri="{FF2B5EF4-FFF2-40B4-BE49-F238E27FC236}">
                  <a16:creationId xmlns:a16="http://schemas.microsoft.com/office/drawing/2014/main" id="{80593597-7CBC-9940-9E36-3F59C0BE6E95}"/>
                </a:ext>
              </a:extLst>
            </p:cNvPr>
            <p:cNvGrpSpPr/>
            <p:nvPr/>
          </p:nvGrpSpPr>
          <p:grpSpPr>
            <a:xfrm>
              <a:off x="3421190" y="2115279"/>
              <a:ext cx="1605407" cy="1605407"/>
              <a:chOff x="3762947" y="2146303"/>
              <a:chExt cx="1605406" cy="1605407"/>
            </a:xfrm>
          </p:grpSpPr>
          <p:sp>
            <p:nvSpPr>
              <p:cNvPr id="66" name="Oval 65">
                <a:extLst>
                  <a:ext uri="{FF2B5EF4-FFF2-40B4-BE49-F238E27FC236}">
                    <a16:creationId xmlns:a16="http://schemas.microsoft.com/office/drawing/2014/main" id="{E3714688-E43D-1C45-A10C-8280BF456A32}"/>
                  </a:ext>
                </a:extLst>
              </p:cNvPr>
              <p:cNvSpPr/>
              <p:nvPr/>
            </p:nvSpPr>
            <p:spPr>
              <a:xfrm>
                <a:off x="3762947" y="2146303"/>
                <a:ext cx="1605406" cy="1605407"/>
              </a:xfrm>
              <a:prstGeom prst="ellipse">
                <a:avLst/>
              </a:prstGeom>
              <a:solidFill>
                <a:schemeClr val="tx2"/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60957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  <a:sym typeface="Arial"/>
                </a:endParaRPr>
              </a:p>
            </p:txBody>
          </p:sp>
          <p:grpSp>
            <p:nvGrpSpPr>
              <p:cNvPr id="72" name="Group 71">
                <a:extLst>
                  <a:ext uri="{FF2B5EF4-FFF2-40B4-BE49-F238E27FC236}">
                    <a16:creationId xmlns:a16="http://schemas.microsoft.com/office/drawing/2014/main" id="{29FE7A44-8DD2-BA43-B1C6-514F349AFEC1}"/>
                  </a:ext>
                </a:extLst>
              </p:cNvPr>
              <p:cNvGrpSpPr/>
              <p:nvPr/>
            </p:nvGrpSpPr>
            <p:grpSpPr>
              <a:xfrm>
                <a:off x="3889646" y="2266768"/>
                <a:ext cx="1352008" cy="1353117"/>
                <a:chOff x="789483" y="2938931"/>
                <a:chExt cx="1014006" cy="1014838"/>
              </a:xfrm>
            </p:grpSpPr>
            <p:sp>
              <p:nvSpPr>
                <p:cNvPr id="73" name="Google Shape;1433;p198">
                  <a:extLst>
                    <a:ext uri="{FF2B5EF4-FFF2-40B4-BE49-F238E27FC236}">
                      <a16:creationId xmlns:a16="http://schemas.microsoft.com/office/drawing/2014/main" id="{16A472BA-2361-5A40-9D20-0364CC217A47}"/>
                    </a:ext>
                  </a:extLst>
                </p:cNvPr>
                <p:cNvSpPr/>
                <p:nvPr/>
              </p:nvSpPr>
              <p:spPr>
                <a:xfrm>
                  <a:off x="789483" y="2941214"/>
                  <a:ext cx="1012555" cy="1012555"/>
                </a:xfrm>
                <a:prstGeom prst="ellipse">
                  <a:avLst/>
                </a:prstGeom>
                <a:noFill/>
                <a:ln w="50800" cap="flat" cmpd="sng">
                  <a:solidFill>
                    <a:srgbClr val="F5F6F9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121900" tIns="60933" rIns="121900" bIns="60933" anchor="t" anchorCtr="0">
                  <a:noAutofit/>
                </a:bodyPr>
                <a:lstStyle/>
                <a:p>
                  <a:pPr marL="0" marR="0" lvl="0" indent="0" algn="l" defTabSz="121911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800"/>
                    <a:buFontTx/>
                    <a:buNone/>
                    <a:tabLst/>
                    <a:defRPr/>
                  </a:pPr>
                  <a:endParaRPr kumimoji="0" sz="2400" b="0" i="0" u="none" strike="noStrike" kern="0" cap="none" spc="0" normalizeH="0" baseline="0" noProof="0">
                    <a:ln>
                      <a:noFill/>
                    </a:ln>
                    <a:solidFill>
                      <a:srgbClr val="282828"/>
                    </a:solidFill>
                    <a:effectLst/>
                    <a:uLnTx/>
                    <a:uFillTx/>
                    <a:latin typeface="CiscoSansTT ExtraLight" panose="020B0303020201020303" pitchFamily="34" charset="0"/>
                    <a:ea typeface="ＭＳ Ｐゴシック" charset="0"/>
                    <a:cs typeface="CiscoSansTT ExtraLight" panose="020B0303020201020303" pitchFamily="34" charset="0"/>
                    <a:sym typeface="Arial"/>
                  </a:endParaRPr>
                </a:p>
              </p:txBody>
            </p:sp>
            <p:sp>
              <p:nvSpPr>
                <p:cNvPr id="74" name="Google Shape;1442;p198">
                  <a:extLst>
                    <a:ext uri="{FF2B5EF4-FFF2-40B4-BE49-F238E27FC236}">
                      <a16:creationId xmlns:a16="http://schemas.microsoft.com/office/drawing/2014/main" id="{1C647D9A-8C72-0C4C-94FF-A8138DAA7D60}"/>
                    </a:ext>
                  </a:extLst>
                </p:cNvPr>
                <p:cNvSpPr/>
                <p:nvPr/>
              </p:nvSpPr>
              <p:spPr>
                <a:xfrm>
                  <a:off x="1299639" y="2938931"/>
                  <a:ext cx="503850" cy="101418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32" h="265" extrusionOk="0">
                      <a:moveTo>
                        <a:pt x="0" y="0"/>
                      </a:moveTo>
                      <a:cubicBezTo>
                        <a:pt x="73" y="0"/>
                        <a:pt x="132" y="60"/>
                        <a:pt x="132" y="133"/>
                      </a:cubicBezTo>
                      <a:cubicBezTo>
                        <a:pt x="132" y="206"/>
                        <a:pt x="73" y="265"/>
                        <a:pt x="0" y="265"/>
                      </a:cubicBezTo>
                      <a:cubicBezTo>
                        <a:pt x="0" y="265"/>
                        <a:pt x="0" y="265"/>
                        <a:pt x="0" y="265"/>
                      </a:cubicBezTo>
                    </a:path>
                  </a:pathLst>
                </a:custGeom>
                <a:noFill/>
                <a:ln w="50800" cap="rnd" cmpd="sng">
                  <a:solidFill>
                    <a:srgbClr val="F5F6F9"/>
                  </a:solidFill>
                  <a:prstDash val="solid"/>
                  <a:miter lim="800000"/>
                  <a:headEnd type="none" w="sm" len="sm"/>
                  <a:tailEnd type="none" w="sm" len="sm"/>
                </a:ln>
              </p:spPr>
              <p:txBody>
                <a:bodyPr spcFirstLastPara="1" wrap="square" lIns="121900" tIns="60933" rIns="121900" bIns="60933" anchor="t" anchorCtr="0">
                  <a:noAutofit/>
                </a:bodyPr>
                <a:lstStyle/>
                <a:p>
                  <a:pPr marL="0" marR="0" lvl="0" indent="0" algn="l" defTabSz="121911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800"/>
                    <a:buFontTx/>
                    <a:buNone/>
                    <a:tabLst/>
                    <a:defRPr/>
                  </a:pPr>
                  <a:endParaRPr kumimoji="0" sz="2400" b="0" i="0" u="none" strike="noStrike" kern="0" cap="none" spc="0" normalizeH="0" baseline="0" noProof="0">
                    <a:ln>
                      <a:noFill/>
                    </a:ln>
                    <a:solidFill>
                      <a:srgbClr val="282828"/>
                    </a:solidFill>
                    <a:effectLst/>
                    <a:uLnTx/>
                    <a:uFillTx/>
                    <a:latin typeface="CiscoSansTT ExtraLight" panose="020B0303020201020303" pitchFamily="34" charset="0"/>
                    <a:ea typeface="ＭＳ Ｐゴシック" charset="0"/>
                    <a:cs typeface="CiscoSansTT ExtraLight" panose="020B0303020201020303" pitchFamily="34" charset="0"/>
                    <a:sym typeface="Arial"/>
                  </a:endParaRPr>
                </a:p>
              </p:txBody>
            </p:sp>
          </p:grpSp>
        </p:grpSp>
        <p:pic>
          <p:nvPicPr>
            <p:cNvPr id="47" name="Picture 46">
              <a:extLst>
                <a:ext uri="{FF2B5EF4-FFF2-40B4-BE49-F238E27FC236}">
                  <a16:creationId xmlns:a16="http://schemas.microsoft.com/office/drawing/2014/main" id="{C0E5C76F-B57B-674D-86FA-1A58A3FA9C08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685685" y="2391086"/>
              <a:ext cx="1069848" cy="1069848"/>
            </a:xfrm>
            <a:prstGeom prst="rect">
              <a:avLst/>
            </a:prstGeom>
          </p:spPr>
        </p:pic>
      </p:grpSp>
      <p:grpSp>
        <p:nvGrpSpPr>
          <p:cNvPr id="7" name="Group 6">
            <a:extLst>
              <a:ext uri="{FF2B5EF4-FFF2-40B4-BE49-F238E27FC236}">
                <a16:creationId xmlns:a16="http://schemas.microsoft.com/office/drawing/2014/main" id="{9283ECA0-454B-F349-8F1F-1E2DCD834FF8}"/>
              </a:ext>
            </a:extLst>
          </p:cNvPr>
          <p:cNvGrpSpPr/>
          <p:nvPr/>
        </p:nvGrpSpPr>
        <p:grpSpPr>
          <a:xfrm>
            <a:off x="1421473" y="1904999"/>
            <a:ext cx="1299582" cy="1299582"/>
            <a:chOff x="6450332" y="2082948"/>
            <a:chExt cx="1605407" cy="1605407"/>
          </a:xfrm>
        </p:grpSpPr>
        <p:grpSp>
          <p:nvGrpSpPr>
            <p:cNvPr id="9" name="Group 8">
              <a:extLst>
                <a:ext uri="{FF2B5EF4-FFF2-40B4-BE49-F238E27FC236}">
                  <a16:creationId xmlns:a16="http://schemas.microsoft.com/office/drawing/2014/main" id="{DEC0415E-8B17-0B4E-90F5-0E436E75CA86}"/>
                </a:ext>
              </a:extLst>
            </p:cNvPr>
            <p:cNvGrpSpPr/>
            <p:nvPr/>
          </p:nvGrpSpPr>
          <p:grpSpPr>
            <a:xfrm>
              <a:off x="6450332" y="2082948"/>
              <a:ext cx="1605407" cy="1605407"/>
              <a:chOff x="7040176" y="2146303"/>
              <a:chExt cx="1605406" cy="1605407"/>
            </a:xfrm>
          </p:grpSpPr>
          <p:sp>
            <p:nvSpPr>
              <p:cNvPr id="75" name="Oval 74">
                <a:extLst>
                  <a:ext uri="{FF2B5EF4-FFF2-40B4-BE49-F238E27FC236}">
                    <a16:creationId xmlns:a16="http://schemas.microsoft.com/office/drawing/2014/main" id="{6F064A48-9115-4C42-A4B0-7349ED819ACA}"/>
                  </a:ext>
                </a:extLst>
              </p:cNvPr>
              <p:cNvSpPr/>
              <p:nvPr/>
            </p:nvSpPr>
            <p:spPr>
              <a:xfrm>
                <a:off x="7040176" y="2146303"/>
                <a:ext cx="1605406" cy="1605407"/>
              </a:xfrm>
              <a:prstGeom prst="ellipse">
                <a:avLst/>
              </a:prstGeom>
              <a:solidFill>
                <a:schemeClr val="tx2"/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60957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  <a:sym typeface="Arial"/>
                </a:endParaRPr>
              </a:p>
            </p:txBody>
          </p:sp>
          <p:grpSp>
            <p:nvGrpSpPr>
              <p:cNvPr id="77" name="Group 76">
                <a:extLst>
                  <a:ext uri="{FF2B5EF4-FFF2-40B4-BE49-F238E27FC236}">
                    <a16:creationId xmlns:a16="http://schemas.microsoft.com/office/drawing/2014/main" id="{38E6ECB3-46A2-DF45-83FE-7EA7E53678F1}"/>
                  </a:ext>
                </a:extLst>
              </p:cNvPr>
              <p:cNvGrpSpPr/>
              <p:nvPr/>
            </p:nvGrpSpPr>
            <p:grpSpPr>
              <a:xfrm>
                <a:off x="7166875" y="2266768"/>
                <a:ext cx="1352008" cy="1353117"/>
                <a:chOff x="789483" y="2938931"/>
                <a:chExt cx="1014006" cy="1014838"/>
              </a:xfrm>
            </p:grpSpPr>
            <p:sp>
              <p:nvSpPr>
                <p:cNvPr id="78" name="Google Shape;1433;p198">
                  <a:extLst>
                    <a:ext uri="{FF2B5EF4-FFF2-40B4-BE49-F238E27FC236}">
                      <a16:creationId xmlns:a16="http://schemas.microsoft.com/office/drawing/2014/main" id="{CA2B23CA-C3DB-5D4F-814E-6B8C29E7B808}"/>
                    </a:ext>
                  </a:extLst>
                </p:cNvPr>
                <p:cNvSpPr/>
                <p:nvPr/>
              </p:nvSpPr>
              <p:spPr>
                <a:xfrm>
                  <a:off x="789483" y="2941214"/>
                  <a:ext cx="1012555" cy="1012555"/>
                </a:xfrm>
                <a:prstGeom prst="ellipse">
                  <a:avLst/>
                </a:prstGeom>
                <a:noFill/>
                <a:ln w="50800" cap="flat" cmpd="sng">
                  <a:solidFill>
                    <a:srgbClr val="F5F6F9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121900" tIns="60933" rIns="121900" bIns="60933" anchor="t" anchorCtr="0">
                  <a:noAutofit/>
                </a:bodyPr>
                <a:lstStyle/>
                <a:p>
                  <a:pPr marL="0" marR="0" lvl="0" indent="0" algn="l" defTabSz="121911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800"/>
                    <a:buFontTx/>
                    <a:buNone/>
                    <a:tabLst/>
                    <a:defRPr/>
                  </a:pPr>
                  <a:endParaRPr kumimoji="0" sz="2400" b="0" i="0" u="none" strike="noStrike" kern="0" cap="none" spc="0" normalizeH="0" baseline="0" noProof="0">
                    <a:ln>
                      <a:noFill/>
                    </a:ln>
                    <a:solidFill>
                      <a:srgbClr val="282828"/>
                    </a:solidFill>
                    <a:effectLst/>
                    <a:uLnTx/>
                    <a:uFillTx/>
                    <a:latin typeface="CiscoSansTT ExtraLight" panose="020B0303020201020303" pitchFamily="34" charset="0"/>
                    <a:ea typeface="ＭＳ Ｐゴシック" charset="0"/>
                    <a:cs typeface="CiscoSansTT ExtraLight" panose="020B0303020201020303" pitchFamily="34" charset="0"/>
                    <a:sym typeface="Arial"/>
                  </a:endParaRPr>
                </a:p>
              </p:txBody>
            </p:sp>
            <p:sp>
              <p:nvSpPr>
                <p:cNvPr id="79" name="Google Shape;1442;p198">
                  <a:extLst>
                    <a:ext uri="{FF2B5EF4-FFF2-40B4-BE49-F238E27FC236}">
                      <a16:creationId xmlns:a16="http://schemas.microsoft.com/office/drawing/2014/main" id="{5E18F166-3C3A-B34C-9B79-DB7C44DAD409}"/>
                    </a:ext>
                  </a:extLst>
                </p:cNvPr>
                <p:cNvSpPr/>
                <p:nvPr/>
              </p:nvSpPr>
              <p:spPr>
                <a:xfrm>
                  <a:off x="1299639" y="2938931"/>
                  <a:ext cx="503850" cy="101418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32" h="265" extrusionOk="0">
                      <a:moveTo>
                        <a:pt x="0" y="0"/>
                      </a:moveTo>
                      <a:cubicBezTo>
                        <a:pt x="73" y="0"/>
                        <a:pt x="132" y="60"/>
                        <a:pt x="132" y="133"/>
                      </a:cubicBezTo>
                      <a:cubicBezTo>
                        <a:pt x="132" y="206"/>
                        <a:pt x="73" y="265"/>
                        <a:pt x="0" y="265"/>
                      </a:cubicBezTo>
                      <a:cubicBezTo>
                        <a:pt x="0" y="265"/>
                        <a:pt x="0" y="265"/>
                        <a:pt x="0" y="265"/>
                      </a:cubicBezTo>
                    </a:path>
                  </a:pathLst>
                </a:custGeom>
                <a:noFill/>
                <a:ln w="50800" cap="rnd" cmpd="sng">
                  <a:solidFill>
                    <a:srgbClr val="F5F6F9"/>
                  </a:solidFill>
                  <a:prstDash val="solid"/>
                  <a:miter lim="800000"/>
                  <a:headEnd type="none" w="sm" len="sm"/>
                  <a:tailEnd type="none" w="sm" len="sm"/>
                </a:ln>
              </p:spPr>
              <p:txBody>
                <a:bodyPr spcFirstLastPara="1" wrap="square" lIns="121900" tIns="60933" rIns="121900" bIns="60933" anchor="t" anchorCtr="0">
                  <a:noAutofit/>
                </a:bodyPr>
                <a:lstStyle/>
                <a:p>
                  <a:pPr marL="0" marR="0" lvl="0" indent="0" algn="l" defTabSz="121911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800"/>
                    <a:buFontTx/>
                    <a:buNone/>
                    <a:tabLst/>
                    <a:defRPr/>
                  </a:pPr>
                  <a:endParaRPr kumimoji="0" sz="2400" b="0" i="0" u="none" strike="noStrike" kern="0" cap="none" spc="0" normalizeH="0" baseline="0" noProof="0">
                    <a:ln>
                      <a:noFill/>
                    </a:ln>
                    <a:solidFill>
                      <a:srgbClr val="282828"/>
                    </a:solidFill>
                    <a:effectLst/>
                    <a:uLnTx/>
                    <a:uFillTx/>
                    <a:latin typeface="CiscoSansTT ExtraLight" panose="020B0303020201020303" pitchFamily="34" charset="0"/>
                    <a:ea typeface="ＭＳ Ｐゴシック" charset="0"/>
                    <a:cs typeface="CiscoSansTT ExtraLight" panose="020B0303020201020303" pitchFamily="34" charset="0"/>
                    <a:sym typeface="Arial"/>
                  </a:endParaRPr>
                </a:p>
              </p:txBody>
            </p:sp>
          </p:grpSp>
        </p:grpSp>
        <p:pic>
          <p:nvPicPr>
            <p:cNvPr id="50" name="Picture 49">
              <a:extLst>
                <a:ext uri="{FF2B5EF4-FFF2-40B4-BE49-F238E27FC236}">
                  <a16:creationId xmlns:a16="http://schemas.microsoft.com/office/drawing/2014/main" id="{9A808460-146E-0C45-8F29-51A8A5858FCC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6720411" y="2376623"/>
              <a:ext cx="1069848" cy="1069848"/>
            </a:xfrm>
            <a:prstGeom prst="rect">
              <a:avLst/>
            </a:prstGeom>
          </p:spPr>
        </p:pic>
      </p:grpSp>
      <p:sp>
        <p:nvSpPr>
          <p:cNvPr id="13" name="Title 12">
            <a:extLst>
              <a:ext uri="{FF2B5EF4-FFF2-40B4-BE49-F238E27FC236}">
                <a16:creationId xmlns:a16="http://schemas.microsoft.com/office/drawing/2014/main" id="{BFEE6AE6-9A75-44B9-8D8F-8B82285DBFD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Essentials: Deliverables</a:t>
            </a:r>
            <a:br>
              <a:rPr lang="en-US"/>
            </a:br>
            <a:r>
              <a:rPr lang="en-GB" sz="2400">
                <a:solidFill>
                  <a:schemeClr val="accent1"/>
                </a:solidFill>
              </a:rPr>
              <a:t>Value for key IT roles</a:t>
            </a:r>
            <a:endParaRPr lang="en-US" sz="2400">
              <a:solidFill>
                <a:schemeClr val="accent1"/>
              </a:solidFill>
            </a:endParaRP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75778EA5-D11A-473F-A2E8-C6C803146681}"/>
              </a:ext>
            </a:extLst>
          </p:cNvPr>
          <p:cNvGrpSpPr/>
          <p:nvPr/>
        </p:nvGrpSpPr>
        <p:grpSpPr>
          <a:xfrm>
            <a:off x="9422056" y="1905000"/>
            <a:ext cx="1299582" cy="1299580"/>
            <a:chOff x="9631643" y="1905000"/>
            <a:chExt cx="1299582" cy="1299580"/>
          </a:xfrm>
        </p:grpSpPr>
        <p:grpSp>
          <p:nvGrpSpPr>
            <p:cNvPr id="10" name="Group 9">
              <a:extLst>
                <a:ext uri="{FF2B5EF4-FFF2-40B4-BE49-F238E27FC236}">
                  <a16:creationId xmlns:a16="http://schemas.microsoft.com/office/drawing/2014/main" id="{37707261-740D-8044-85FE-EE7E157EB017}"/>
                </a:ext>
              </a:extLst>
            </p:cNvPr>
            <p:cNvGrpSpPr/>
            <p:nvPr/>
          </p:nvGrpSpPr>
          <p:grpSpPr>
            <a:xfrm>
              <a:off x="9631643" y="1905000"/>
              <a:ext cx="1299582" cy="1299580"/>
              <a:chOff x="8668557" y="2146303"/>
              <a:chExt cx="1605406" cy="1605407"/>
            </a:xfrm>
          </p:grpSpPr>
          <p:sp>
            <p:nvSpPr>
              <p:cNvPr id="80" name="Oval 79">
                <a:extLst>
                  <a:ext uri="{FF2B5EF4-FFF2-40B4-BE49-F238E27FC236}">
                    <a16:creationId xmlns:a16="http://schemas.microsoft.com/office/drawing/2014/main" id="{675A3EA7-2BCD-474A-ACFC-0C7D7BA857CF}"/>
                  </a:ext>
                </a:extLst>
              </p:cNvPr>
              <p:cNvSpPr/>
              <p:nvPr/>
            </p:nvSpPr>
            <p:spPr>
              <a:xfrm>
                <a:off x="8668557" y="2146303"/>
                <a:ext cx="1605406" cy="1605407"/>
              </a:xfrm>
              <a:prstGeom prst="ellipse">
                <a:avLst/>
              </a:prstGeom>
              <a:solidFill>
                <a:schemeClr val="tx2"/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60957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  <a:sym typeface="Arial"/>
                </a:endParaRPr>
              </a:p>
            </p:txBody>
          </p:sp>
          <p:grpSp>
            <p:nvGrpSpPr>
              <p:cNvPr id="82" name="Group 81">
                <a:extLst>
                  <a:ext uri="{FF2B5EF4-FFF2-40B4-BE49-F238E27FC236}">
                    <a16:creationId xmlns:a16="http://schemas.microsoft.com/office/drawing/2014/main" id="{3096ECAF-2335-474A-B73F-E4B65969E3CD}"/>
                  </a:ext>
                </a:extLst>
              </p:cNvPr>
              <p:cNvGrpSpPr/>
              <p:nvPr/>
            </p:nvGrpSpPr>
            <p:grpSpPr>
              <a:xfrm>
                <a:off x="8795256" y="2266768"/>
                <a:ext cx="1352008" cy="1353117"/>
                <a:chOff x="789483" y="2938931"/>
                <a:chExt cx="1014006" cy="1014838"/>
              </a:xfrm>
            </p:grpSpPr>
            <p:sp>
              <p:nvSpPr>
                <p:cNvPr id="83" name="Google Shape;1433;p198">
                  <a:extLst>
                    <a:ext uri="{FF2B5EF4-FFF2-40B4-BE49-F238E27FC236}">
                      <a16:creationId xmlns:a16="http://schemas.microsoft.com/office/drawing/2014/main" id="{0DC45C52-DEED-E349-9239-298EE71E61AE}"/>
                    </a:ext>
                  </a:extLst>
                </p:cNvPr>
                <p:cNvSpPr/>
                <p:nvPr/>
              </p:nvSpPr>
              <p:spPr>
                <a:xfrm>
                  <a:off x="789483" y="2941214"/>
                  <a:ext cx="1012555" cy="1012555"/>
                </a:xfrm>
                <a:prstGeom prst="ellipse">
                  <a:avLst/>
                </a:prstGeom>
                <a:noFill/>
                <a:ln w="50800" cap="flat" cmpd="sng">
                  <a:solidFill>
                    <a:srgbClr val="F5F6F9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121900" tIns="60933" rIns="121900" bIns="60933" anchor="t" anchorCtr="0">
                  <a:noAutofit/>
                </a:bodyPr>
                <a:lstStyle/>
                <a:p>
                  <a:pPr marL="0" marR="0" lvl="0" indent="0" algn="l" defTabSz="121911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800"/>
                    <a:buFontTx/>
                    <a:buNone/>
                    <a:tabLst/>
                    <a:defRPr/>
                  </a:pPr>
                  <a:endParaRPr kumimoji="0" sz="2400" b="0" i="0" u="none" strike="noStrike" kern="0" cap="none" spc="0" normalizeH="0" baseline="0" noProof="0">
                    <a:ln>
                      <a:noFill/>
                    </a:ln>
                    <a:solidFill>
                      <a:srgbClr val="282828"/>
                    </a:solidFill>
                    <a:effectLst/>
                    <a:uLnTx/>
                    <a:uFillTx/>
                    <a:latin typeface="CiscoSansTT ExtraLight" panose="020B0303020201020303" pitchFamily="34" charset="0"/>
                    <a:ea typeface="ＭＳ Ｐゴシック" charset="0"/>
                    <a:cs typeface="CiscoSansTT ExtraLight" panose="020B0303020201020303" pitchFamily="34" charset="0"/>
                    <a:sym typeface="Arial"/>
                  </a:endParaRPr>
                </a:p>
              </p:txBody>
            </p:sp>
            <p:sp>
              <p:nvSpPr>
                <p:cNvPr id="84" name="Google Shape;1442;p198">
                  <a:extLst>
                    <a:ext uri="{FF2B5EF4-FFF2-40B4-BE49-F238E27FC236}">
                      <a16:creationId xmlns:a16="http://schemas.microsoft.com/office/drawing/2014/main" id="{F7F22F5A-8FDF-0C4D-A2B0-685178494CA1}"/>
                    </a:ext>
                  </a:extLst>
                </p:cNvPr>
                <p:cNvSpPr/>
                <p:nvPr/>
              </p:nvSpPr>
              <p:spPr>
                <a:xfrm>
                  <a:off x="1299639" y="2938931"/>
                  <a:ext cx="503850" cy="1014189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32" h="265" extrusionOk="0">
                      <a:moveTo>
                        <a:pt x="0" y="0"/>
                      </a:moveTo>
                      <a:cubicBezTo>
                        <a:pt x="73" y="0"/>
                        <a:pt x="132" y="60"/>
                        <a:pt x="132" y="133"/>
                      </a:cubicBezTo>
                      <a:cubicBezTo>
                        <a:pt x="132" y="206"/>
                        <a:pt x="73" y="265"/>
                        <a:pt x="0" y="265"/>
                      </a:cubicBezTo>
                      <a:cubicBezTo>
                        <a:pt x="0" y="265"/>
                        <a:pt x="0" y="265"/>
                        <a:pt x="0" y="265"/>
                      </a:cubicBezTo>
                    </a:path>
                  </a:pathLst>
                </a:custGeom>
                <a:noFill/>
                <a:ln w="50800" cap="rnd" cmpd="sng">
                  <a:solidFill>
                    <a:srgbClr val="F5F6F9"/>
                  </a:solidFill>
                  <a:prstDash val="solid"/>
                  <a:miter lim="800000"/>
                  <a:headEnd type="none" w="sm" len="sm"/>
                  <a:tailEnd type="none" w="sm" len="sm"/>
                </a:ln>
              </p:spPr>
              <p:txBody>
                <a:bodyPr spcFirstLastPara="1" wrap="square" lIns="121900" tIns="60933" rIns="121900" bIns="60933" anchor="t" anchorCtr="0">
                  <a:noAutofit/>
                </a:bodyPr>
                <a:lstStyle/>
                <a:p>
                  <a:pPr marL="0" marR="0" lvl="0" indent="0" algn="l" defTabSz="121911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Pts val="1800"/>
                    <a:buFontTx/>
                    <a:buNone/>
                    <a:tabLst/>
                    <a:defRPr/>
                  </a:pPr>
                  <a:endParaRPr kumimoji="0" sz="2400" b="0" i="0" u="none" strike="noStrike" kern="0" cap="none" spc="0" normalizeH="0" baseline="0" noProof="0">
                    <a:ln>
                      <a:noFill/>
                    </a:ln>
                    <a:solidFill>
                      <a:srgbClr val="282828"/>
                    </a:solidFill>
                    <a:effectLst/>
                    <a:uLnTx/>
                    <a:uFillTx/>
                    <a:latin typeface="CiscoSansTT ExtraLight" panose="020B0303020201020303" pitchFamily="34" charset="0"/>
                    <a:ea typeface="ＭＳ Ｐゴシック" charset="0"/>
                    <a:cs typeface="CiscoSansTT ExtraLight" panose="020B0303020201020303" pitchFamily="34" charset="0"/>
                    <a:sym typeface="Arial"/>
                  </a:endParaRPr>
                </a:p>
              </p:txBody>
            </p:sp>
          </p:grpSp>
        </p:grpSp>
        <p:pic>
          <p:nvPicPr>
            <p:cNvPr id="46" name="Graphic 45">
              <a:extLst>
                <a:ext uri="{FF2B5EF4-FFF2-40B4-BE49-F238E27FC236}">
                  <a16:creationId xmlns:a16="http://schemas.microsoft.com/office/drawing/2014/main" id="{C92E1595-A5D8-4407-BEB4-BA67647DE690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9847622" y="2120990"/>
              <a:ext cx="867624" cy="867600"/>
            </a:xfrm>
            <a:prstGeom prst="rect">
              <a:avLst/>
            </a:prstGeom>
          </p:spPr>
        </p:pic>
      </p:grpSp>
      <p:sp>
        <p:nvSpPr>
          <p:cNvPr id="51" name="Triangle 79">
            <a:extLst>
              <a:ext uri="{FF2B5EF4-FFF2-40B4-BE49-F238E27FC236}">
                <a16:creationId xmlns:a16="http://schemas.microsoft.com/office/drawing/2014/main" id="{918E920D-63C0-416A-AE99-D80939427666}"/>
              </a:ext>
            </a:extLst>
          </p:cNvPr>
          <p:cNvSpPr/>
          <p:nvPr/>
        </p:nvSpPr>
        <p:spPr>
          <a:xfrm rot="10800000">
            <a:off x="1909936" y="4060554"/>
            <a:ext cx="322656" cy="163514"/>
          </a:xfrm>
          <a:prstGeom prst="triangl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endParaRPr kumimoji="0" lang="en-US" sz="1467" b="0" i="0" u="none" strike="noStrike" kern="1200" cap="none" spc="0" normalizeH="0" baseline="0" noProof="0">
              <a:ln>
                <a:noFill/>
              </a:ln>
              <a:solidFill>
                <a:srgbClr val="14284A"/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cxnSp>
        <p:nvCxnSpPr>
          <p:cNvPr id="52" name="Straight Connector 51">
            <a:extLst>
              <a:ext uri="{FF2B5EF4-FFF2-40B4-BE49-F238E27FC236}">
                <a16:creationId xmlns:a16="http://schemas.microsoft.com/office/drawing/2014/main" id="{9B3A2462-F0D4-464B-99A4-5B34430F5508}"/>
              </a:ext>
            </a:extLst>
          </p:cNvPr>
          <p:cNvCxnSpPr>
            <a:cxnSpLocks/>
          </p:cNvCxnSpPr>
          <p:nvPr/>
        </p:nvCxnSpPr>
        <p:spPr>
          <a:xfrm>
            <a:off x="826320" y="4058967"/>
            <a:ext cx="2520000" cy="0"/>
          </a:xfrm>
          <a:prstGeom prst="line">
            <a:avLst/>
          </a:prstGeom>
          <a:ln w="12700" cap="rnd">
            <a:solidFill>
              <a:schemeClr val="bg2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0" name="Triangle 79">
            <a:extLst>
              <a:ext uri="{FF2B5EF4-FFF2-40B4-BE49-F238E27FC236}">
                <a16:creationId xmlns:a16="http://schemas.microsoft.com/office/drawing/2014/main" id="{B4AE3724-5832-4319-BFD4-091DFD6F8D46}"/>
              </a:ext>
            </a:extLst>
          </p:cNvPr>
          <p:cNvSpPr/>
          <p:nvPr/>
        </p:nvSpPr>
        <p:spPr>
          <a:xfrm rot="10800000">
            <a:off x="7272512" y="4060554"/>
            <a:ext cx="322656" cy="163514"/>
          </a:xfrm>
          <a:prstGeom prst="triangl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endParaRPr kumimoji="0" lang="en-US" sz="1467" b="0" i="0" u="none" strike="noStrike" kern="1200" cap="none" spc="0" normalizeH="0" baseline="0" noProof="0">
              <a:ln>
                <a:noFill/>
              </a:ln>
              <a:solidFill>
                <a:srgbClr val="14284A"/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cxnSp>
        <p:nvCxnSpPr>
          <p:cNvPr id="61" name="Straight Connector 60">
            <a:extLst>
              <a:ext uri="{FF2B5EF4-FFF2-40B4-BE49-F238E27FC236}">
                <a16:creationId xmlns:a16="http://schemas.microsoft.com/office/drawing/2014/main" id="{79325399-CC43-4A25-8F4D-284E4CFB6875}"/>
              </a:ext>
            </a:extLst>
          </p:cNvPr>
          <p:cNvCxnSpPr>
            <a:cxnSpLocks/>
          </p:cNvCxnSpPr>
          <p:nvPr/>
        </p:nvCxnSpPr>
        <p:spPr>
          <a:xfrm>
            <a:off x="6188895" y="4058967"/>
            <a:ext cx="2520000" cy="0"/>
          </a:xfrm>
          <a:prstGeom prst="line">
            <a:avLst/>
          </a:prstGeom>
          <a:ln w="12700" cap="rnd">
            <a:solidFill>
              <a:schemeClr val="bg2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45258110"/>
      </p:ext>
    </p:extLst>
  </p:cSld>
  <p:clrMapOvr>
    <a:masterClrMapping/>
  </p:clrMapOvr>
  <p:transition>
    <p:fade/>
  </p:transition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0" name="Group 19">
            <a:extLst>
              <a:ext uri="{FF2B5EF4-FFF2-40B4-BE49-F238E27FC236}">
                <a16:creationId xmlns:a16="http://schemas.microsoft.com/office/drawing/2014/main" id="{8AD483FA-27C1-40F4-A051-2EEEA6C49D53}"/>
              </a:ext>
            </a:extLst>
          </p:cNvPr>
          <p:cNvGrpSpPr/>
          <p:nvPr/>
        </p:nvGrpSpPr>
        <p:grpSpPr>
          <a:xfrm>
            <a:off x="4298953" y="-21"/>
            <a:ext cx="7893049" cy="6858021"/>
            <a:chOff x="4298953" y="-21"/>
            <a:chExt cx="7893049" cy="6858021"/>
          </a:xfrm>
        </p:grpSpPr>
        <p:pic>
          <p:nvPicPr>
            <p:cNvPr id="37" name="Picture 36" descr="Two people looking at a computer&#10;&#10;Description automatically generated">
              <a:extLst>
                <a:ext uri="{FF2B5EF4-FFF2-40B4-BE49-F238E27FC236}">
                  <a16:creationId xmlns:a16="http://schemas.microsoft.com/office/drawing/2014/main" id="{5FE6A8C3-3728-4C40-8274-28D69E6FC851}"/>
                </a:ext>
              </a:extLst>
            </p:cNvPr>
            <p:cNvPicPr>
              <a:picLocks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24284" t="1" r="11037" b="353"/>
            <a:stretch/>
          </p:blipFill>
          <p:spPr>
            <a:xfrm>
              <a:off x="8243386" y="-21"/>
              <a:ext cx="1976400" cy="2286000"/>
            </a:xfrm>
            <a:prstGeom prst="rect">
              <a:avLst/>
            </a:prstGeom>
          </p:spPr>
        </p:pic>
        <p:pic>
          <p:nvPicPr>
            <p:cNvPr id="36" name="Picture 35" descr="A person standing in front of a window&#10;&#10;Description automatically generated">
              <a:extLst>
                <a:ext uri="{FF2B5EF4-FFF2-40B4-BE49-F238E27FC236}">
                  <a16:creationId xmlns:a16="http://schemas.microsoft.com/office/drawing/2014/main" id="{FCC7B89D-E3A3-4524-A632-C4ABE36EF850}"/>
                </a:ext>
              </a:extLst>
            </p:cNvPr>
            <p:cNvPicPr>
              <a:picLocks/>
            </p:cNvPicPr>
            <p:nvPr/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25025" r="10204"/>
            <a:stretch/>
          </p:blipFill>
          <p:spPr>
            <a:xfrm>
              <a:off x="6271169" y="-21"/>
              <a:ext cx="1976400" cy="2286000"/>
            </a:xfrm>
            <a:prstGeom prst="rect">
              <a:avLst/>
            </a:prstGeom>
          </p:spPr>
        </p:pic>
        <p:pic>
          <p:nvPicPr>
            <p:cNvPr id="35" name="Picture 34" descr="A room filled with furniture and a large window&#10;&#10;Description automatically generated">
              <a:extLst>
                <a:ext uri="{FF2B5EF4-FFF2-40B4-BE49-F238E27FC236}">
                  <a16:creationId xmlns:a16="http://schemas.microsoft.com/office/drawing/2014/main" id="{8B3113DB-955C-4E23-A371-80A499F8ACBB}"/>
                </a:ext>
              </a:extLst>
            </p:cNvPr>
            <p:cNvPicPr>
              <a:picLocks/>
            </p:cNvPicPr>
            <p:nvPr/>
          </p:nvPicPr>
          <p:blipFill rotWithShape="1">
            <a:blip r:embed="rId5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11279" t="1" r="24042" b="353"/>
            <a:stretch/>
          </p:blipFill>
          <p:spPr>
            <a:xfrm>
              <a:off x="4298953" y="-21"/>
              <a:ext cx="1976400" cy="2286000"/>
            </a:xfrm>
            <a:prstGeom prst="rect">
              <a:avLst/>
            </a:prstGeom>
          </p:spPr>
        </p:pic>
        <p:pic>
          <p:nvPicPr>
            <p:cNvPr id="39" name="Picture 38">
              <a:extLst>
                <a:ext uri="{FF2B5EF4-FFF2-40B4-BE49-F238E27FC236}">
                  <a16:creationId xmlns:a16="http://schemas.microsoft.com/office/drawing/2014/main" id="{828D499F-E12B-4B72-8192-CC3ABEAF2B73}"/>
                </a:ext>
              </a:extLst>
            </p:cNvPr>
            <p:cNvPicPr>
              <a:picLocks/>
            </p:cNvPicPr>
            <p:nvPr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8880" t="1" r="26441" b="353"/>
            <a:stretch/>
          </p:blipFill>
          <p:spPr>
            <a:xfrm>
              <a:off x="4298953" y="2285989"/>
              <a:ext cx="1976400" cy="2286000"/>
            </a:xfrm>
            <a:prstGeom prst="rect">
              <a:avLst/>
            </a:prstGeom>
          </p:spPr>
        </p:pic>
        <p:pic>
          <p:nvPicPr>
            <p:cNvPr id="40" name="Picture 39" descr="A person standing in front of a store&#10;&#10;Description automatically generated">
              <a:extLst>
                <a:ext uri="{FF2B5EF4-FFF2-40B4-BE49-F238E27FC236}">
                  <a16:creationId xmlns:a16="http://schemas.microsoft.com/office/drawing/2014/main" id="{984DD153-37C3-40F6-8571-AE9BCEE91BAA}"/>
                </a:ext>
              </a:extLst>
            </p:cNvPr>
            <p:cNvPicPr>
              <a:picLocks/>
            </p:cNvPicPr>
            <p:nvPr/>
          </p:nvPicPr>
          <p:blipFill rotWithShape="1">
            <a:blip r:embed="rId7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20582" r="14739" b="353"/>
            <a:stretch/>
          </p:blipFill>
          <p:spPr>
            <a:xfrm>
              <a:off x="6271169" y="2285989"/>
              <a:ext cx="1976400" cy="2286000"/>
            </a:xfrm>
            <a:prstGeom prst="rect">
              <a:avLst/>
            </a:prstGeom>
          </p:spPr>
        </p:pic>
        <p:pic>
          <p:nvPicPr>
            <p:cNvPr id="41" name="Picture 40" descr="A person looking at the camera&#10;&#10;Description automatically generated">
              <a:extLst>
                <a:ext uri="{FF2B5EF4-FFF2-40B4-BE49-F238E27FC236}">
                  <a16:creationId xmlns:a16="http://schemas.microsoft.com/office/drawing/2014/main" id="{FABB4791-65D1-44FB-9968-0845F27AE95E}"/>
                </a:ext>
              </a:extLst>
            </p:cNvPr>
            <p:cNvPicPr>
              <a:picLocks/>
            </p:cNvPicPr>
            <p:nvPr/>
          </p:nvPicPr>
          <p:blipFill rotWithShape="1">
            <a:blip r:embed="rId8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r="38158" b="4698"/>
            <a:stretch/>
          </p:blipFill>
          <p:spPr>
            <a:xfrm>
              <a:off x="8243386" y="2285989"/>
              <a:ext cx="1976400" cy="2286000"/>
            </a:xfrm>
            <a:prstGeom prst="rect">
              <a:avLst/>
            </a:prstGeom>
          </p:spPr>
        </p:pic>
        <p:pic>
          <p:nvPicPr>
            <p:cNvPr id="43" name="Picture 42" descr="A group of people looking at a computer&#10;&#10;Description automatically generated">
              <a:extLst>
                <a:ext uri="{FF2B5EF4-FFF2-40B4-BE49-F238E27FC236}">
                  <a16:creationId xmlns:a16="http://schemas.microsoft.com/office/drawing/2014/main" id="{2BE9B5D5-4AF7-467F-9B8D-1A568BB34568}"/>
                </a:ext>
              </a:extLst>
            </p:cNvPr>
            <p:cNvPicPr>
              <a:picLocks/>
            </p:cNvPicPr>
            <p:nvPr/>
          </p:nvPicPr>
          <p:blipFill rotWithShape="1">
            <a:blip r:embed="rId9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34702" r="389" b="-8"/>
            <a:stretch/>
          </p:blipFill>
          <p:spPr>
            <a:xfrm>
              <a:off x="4298953" y="4572000"/>
              <a:ext cx="1976400" cy="2286000"/>
            </a:xfrm>
            <a:prstGeom prst="rect">
              <a:avLst/>
            </a:prstGeom>
          </p:spPr>
        </p:pic>
        <p:pic>
          <p:nvPicPr>
            <p:cNvPr id="44" name="Picture 43" descr="A person in glasses looking at the camera&#10;&#10;Description automatically generated">
              <a:extLst>
                <a:ext uri="{FF2B5EF4-FFF2-40B4-BE49-F238E27FC236}">
                  <a16:creationId xmlns:a16="http://schemas.microsoft.com/office/drawing/2014/main" id="{08979F24-133C-499B-B9FD-E1ECE4CD0708}"/>
                </a:ext>
              </a:extLst>
            </p:cNvPr>
            <p:cNvPicPr>
              <a:picLocks/>
            </p:cNvPicPr>
            <p:nvPr/>
          </p:nvPicPr>
          <p:blipFill rotWithShape="1">
            <a:blip r:embed="rId10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14994" t="1" r="20327" b="353"/>
            <a:stretch/>
          </p:blipFill>
          <p:spPr>
            <a:xfrm>
              <a:off x="6271169" y="4572000"/>
              <a:ext cx="1976400" cy="2286000"/>
            </a:xfrm>
            <a:prstGeom prst="rect">
              <a:avLst/>
            </a:prstGeom>
          </p:spPr>
        </p:pic>
        <p:pic>
          <p:nvPicPr>
            <p:cNvPr id="45" name="Picture 44" descr="A group of people sitting at a table in front of a window&#10;&#10;Description automatically generated">
              <a:extLst>
                <a:ext uri="{FF2B5EF4-FFF2-40B4-BE49-F238E27FC236}">
                  <a16:creationId xmlns:a16="http://schemas.microsoft.com/office/drawing/2014/main" id="{161FD148-F762-4944-A811-F79967BC1259}"/>
                </a:ext>
              </a:extLst>
            </p:cNvPr>
            <p:cNvPicPr>
              <a:picLocks/>
            </p:cNvPicPr>
            <p:nvPr/>
          </p:nvPicPr>
          <p:blipFill rotWithShape="1">
            <a:blip r:embed="rId11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t="-1" r="35109" b="-1"/>
            <a:stretch/>
          </p:blipFill>
          <p:spPr>
            <a:xfrm>
              <a:off x="8243386" y="4572000"/>
              <a:ext cx="1976400" cy="2286000"/>
            </a:xfrm>
            <a:prstGeom prst="rect">
              <a:avLst/>
            </a:prstGeom>
          </p:spPr>
        </p:pic>
        <p:pic>
          <p:nvPicPr>
            <p:cNvPr id="38" name="Picture 37" descr="Two people sitting at a table&#10;&#10;Description automatically generated">
              <a:extLst>
                <a:ext uri="{FF2B5EF4-FFF2-40B4-BE49-F238E27FC236}">
                  <a16:creationId xmlns:a16="http://schemas.microsoft.com/office/drawing/2014/main" id="{ED2FBAFF-8A21-4AF2-A48F-BD1E06B8BF93}"/>
                </a:ext>
              </a:extLst>
            </p:cNvPr>
            <p:cNvPicPr>
              <a:picLocks/>
            </p:cNvPicPr>
            <p:nvPr/>
          </p:nvPicPr>
          <p:blipFill rotWithShape="1">
            <a:blip r:embed="rId1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20590" r="14502"/>
            <a:stretch/>
          </p:blipFill>
          <p:spPr>
            <a:xfrm>
              <a:off x="10215602" y="-21"/>
              <a:ext cx="1976400" cy="2286000"/>
            </a:xfrm>
            <a:prstGeom prst="rect">
              <a:avLst/>
            </a:prstGeom>
          </p:spPr>
        </p:pic>
        <p:pic>
          <p:nvPicPr>
            <p:cNvPr id="42" name="Picture 41" descr="A blurry image of a person&#10;&#10;Description automatically generated">
              <a:extLst>
                <a:ext uri="{FF2B5EF4-FFF2-40B4-BE49-F238E27FC236}">
                  <a16:creationId xmlns:a16="http://schemas.microsoft.com/office/drawing/2014/main" id="{510CAC6C-43E8-4A19-A99B-24D11FEA81FC}"/>
                </a:ext>
              </a:extLst>
            </p:cNvPr>
            <p:cNvPicPr>
              <a:picLocks/>
            </p:cNvPicPr>
            <p:nvPr/>
          </p:nvPicPr>
          <p:blipFill rotWithShape="1">
            <a:blip r:embed="rId1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r="35154"/>
            <a:stretch/>
          </p:blipFill>
          <p:spPr>
            <a:xfrm>
              <a:off x="10215602" y="2285989"/>
              <a:ext cx="1976400" cy="2286000"/>
            </a:xfrm>
            <a:prstGeom prst="rect">
              <a:avLst/>
            </a:prstGeom>
          </p:spPr>
        </p:pic>
        <p:pic>
          <p:nvPicPr>
            <p:cNvPr id="46" name="Picture 45" descr="A picture containing object, sitting, engine, table&#10;&#10;Description automatically generated">
              <a:extLst>
                <a:ext uri="{FF2B5EF4-FFF2-40B4-BE49-F238E27FC236}">
                  <a16:creationId xmlns:a16="http://schemas.microsoft.com/office/drawing/2014/main" id="{699D8FFA-2AD7-492B-AF2E-A17B4CF274DE}"/>
                </a:ext>
              </a:extLst>
            </p:cNvPr>
            <p:cNvPicPr>
              <a:picLocks/>
            </p:cNvPicPr>
            <p:nvPr/>
          </p:nvPicPr>
          <p:blipFill rotWithShape="1">
            <a:blip r:embed="rId14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21939" r="13171"/>
            <a:stretch/>
          </p:blipFill>
          <p:spPr>
            <a:xfrm>
              <a:off x="10215602" y="4572000"/>
              <a:ext cx="1976400" cy="2286000"/>
            </a:xfrm>
            <a:prstGeom prst="rect">
              <a:avLst/>
            </a:prstGeom>
          </p:spPr>
        </p:pic>
      </p:grpSp>
      <p:sp>
        <p:nvSpPr>
          <p:cNvPr id="326" name="Rectangle 325">
            <a:extLst>
              <a:ext uri="{FF2B5EF4-FFF2-40B4-BE49-F238E27FC236}">
                <a16:creationId xmlns:a16="http://schemas.microsoft.com/office/drawing/2014/main" id="{1925D67F-3209-47FD-BD5E-52420C204FA1}"/>
              </a:ext>
            </a:extLst>
          </p:cNvPr>
          <p:cNvSpPr/>
          <p:nvPr/>
        </p:nvSpPr>
        <p:spPr>
          <a:xfrm>
            <a:off x="4298952" y="-627"/>
            <a:ext cx="7893048" cy="6858627"/>
          </a:xfrm>
          <a:prstGeom prst="rect">
            <a:avLst/>
          </a:prstGeom>
          <a:solidFill>
            <a:schemeClr val="tx1">
              <a:lumMod val="50000"/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914377">
              <a:spcAft>
                <a:spcPts val="600"/>
              </a:spcAft>
            </a:pPr>
            <a:endParaRPr lang="en-US" sz="1100">
              <a:solidFill>
                <a:srgbClr val="FFFFFF"/>
              </a:solidFill>
              <a:latin typeface="CiscoSansTT ExtraLight"/>
            </a:endParaRP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5C012770-6377-4AAF-BDD0-AE64EF5B76B8}"/>
              </a:ext>
            </a:extLst>
          </p:cNvPr>
          <p:cNvSpPr txBox="1"/>
          <p:nvPr/>
        </p:nvSpPr>
        <p:spPr>
          <a:xfrm>
            <a:off x="4712199" y="794392"/>
            <a:ext cx="1149908" cy="79152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 defTabSz="914377">
              <a:lnSpc>
                <a:spcPct val="85000"/>
              </a:lnSpc>
              <a:spcAft>
                <a:spcPts val="1200"/>
              </a:spcAft>
            </a:pPr>
            <a:r>
              <a:rPr lang="en-US" sz="1200">
                <a:solidFill>
                  <a:srgbClr val="FFFFFF"/>
                </a:solidFill>
                <a:latin typeface="CiscoSansTT" panose="020B0503020201020303" pitchFamily="34" charset="0"/>
                <a:ea typeface="ＭＳ Ｐゴシック" charset="0"/>
                <a:cs typeface="CiscoSansTT" panose="020B0503020201020303" pitchFamily="34" charset="0"/>
              </a:rPr>
              <a:t>Month </a:t>
            </a:r>
            <a:br>
              <a:rPr lang="en-US" sz="1200">
                <a:solidFill>
                  <a:srgbClr val="FFFFFF"/>
                </a:solidFill>
                <a:latin typeface="CiscoSansTT" panose="020B0503020201020303" pitchFamily="34" charset="0"/>
                <a:ea typeface="ＭＳ Ｐゴシック" charset="0"/>
                <a:cs typeface="CiscoSansTT" panose="020B0503020201020303" pitchFamily="34" charset="0"/>
              </a:rPr>
            </a:br>
            <a:r>
              <a:rPr lang="en-US" sz="4800">
                <a:solidFill>
                  <a:srgbClr val="FFFFFF"/>
                </a:solidFill>
                <a:latin typeface="CiscoSansTT Light" panose="020B0503020201020303" pitchFamily="34" charset="0"/>
                <a:ea typeface="ＭＳ Ｐゴシック" charset="0"/>
                <a:cs typeface="CiscoSansTT Light" panose="020B0503020201020303" pitchFamily="34" charset="0"/>
              </a:rPr>
              <a:t>1</a:t>
            </a:r>
            <a:endParaRPr lang="en-US" sz="6000">
              <a:solidFill>
                <a:srgbClr val="FFFFFF"/>
              </a:solidFill>
              <a:latin typeface="CiscoSansTT Light" panose="020B0503020201020303" pitchFamily="34" charset="0"/>
              <a:ea typeface="ＭＳ Ｐゴシック" charset="0"/>
              <a:cs typeface="CiscoSansTT Light" panose="020B0503020201020303" pitchFamily="34" charset="0"/>
            </a:endParaRP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1F8914F4-EB4D-4BC2-9FBC-E4136D8C776D}"/>
              </a:ext>
            </a:extLst>
          </p:cNvPr>
          <p:cNvSpPr txBox="1"/>
          <p:nvPr/>
        </p:nvSpPr>
        <p:spPr>
          <a:xfrm>
            <a:off x="4573554" y="309751"/>
            <a:ext cx="1427199" cy="37147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 defTabSz="914377"/>
            <a:r>
              <a:rPr lang="en-US" sz="1200">
                <a:solidFill>
                  <a:srgbClr val="00BCEB"/>
                </a:solidFill>
                <a:latin typeface="CiscoSansTT" panose="020B0503020201020303" pitchFamily="34" charset="0"/>
                <a:ea typeface="ＭＳ Ｐゴシック" charset="0"/>
                <a:cs typeface="CiscoSansTT" panose="020B0503020201020303" pitchFamily="34" charset="0"/>
              </a:rPr>
              <a:t>Priority Validation Workshop</a:t>
            </a: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247E7FAD-6DFA-4502-9A8A-5D7F84495740}"/>
              </a:ext>
            </a:extLst>
          </p:cNvPr>
          <p:cNvSpPr txBox="1"/>
          <p:nvPr/>
        </p:nvSpPr>
        <p:spPr>
          <a:xfrm>
            <a:off x="4712199" y="3036147"/>
            <a:ext cx="1149908" cy="79152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 defTabSz="914377">
              <a:lnSpc>
                <a:spcPct val="85000"/>
              </a:lnSpc>
              <a:spcAft>
                <a:spcPts val="1200"/>
              </a:spcAft>
            </a:pPr>
            <a:r>
              <a:rPr lang="en-US" sz="1200">
                <a:solidFill>
                  <a:srgbClr val="FFFFFF"/>
                </a:solidFill>
                <a:latin typeface="CiscoSansTT" panose="020B0503020201020303" pitchFamily="34" charset="0"/>
                <a:ea typeface="ＭＳ Ｐゴシック" charset="0"/>
                <a:cs typeface="CiscoSansTT" panose="020B0503020201020303" pitchFamily="34" charset="0"/>
              </a:rPr>
              <a:t>Month </a:t>
            </a:r>
            <a:br>
              <a:rPr lang="en-US" sz="1200">
                <a:solidFill>
                  <a:srgbClr val="FFFFFF"/>
                </a:solidFill>
                <a:latin typeface="CiscoSansTT" panose="020B0503020201020303" pitchFamily="34" charset="0"/>
                <a:ea typeface="ＭＳ Ｐゴシック" charset="0"/>
                <a:cs typeface="CiscoSansTT" panose="020B0503020201020303" pitchFamily="34" charset="0"/>
              </a:rPr>
            </a:br>
            <a:r>
              <a:rPr lang="en-US" sz="4800">
                <a:solidFill>
                  <a:srgbClr val="FFFFFF"/>
                </a:solidFill>
                <a:latin typeface="CiscoSansTT Light" panose="020B0503020201020303" pitchFamily="34" charset="0"/>
                <a:ea typeface="ＭＳ Ｐゴシック" charset="0"/>
                <a:cs typeface="CiscoSansTT Light" panose="020B0503020201020303" pitchFamily="34" charset="0"/>
              </a:rPr>
              <a:t>5</a:t>
            </a:r>
            <a:endParaRPr lang="en-US" sz="6000">
              <a:solidFill>
                <a:srgbClr val="FFFFFF"/>
              </a:solidFill>
              <a:latin typeface="CiscoSansTT Light" panose="020B0503020201020303" pitchFamily="34" charset="0"/>
              <a:ea typeface="ＭＳ Ｐゴシック" charset="0"/>
              <a:cs typeface="CiscoSansTT Light" panose="020B0503020201020303" pitchFamily="34" charset="0"/>
            </a:endParaRPr>
          </a:p>
        </p:txBody>
      </p:sp>
      <p:sp>
        <p:nvSpPr>
          <p:cNvPr id="83" name="TextBox 82">
            <a:extLst>
              <a:ext uri="{FF2B5EF4-FFF2-40B4-BE49-F238E27FC236}">
                <a16:creationId xmlns:a16="http://schemas.microsoft.com/office/drawing/2014/main" id="{520EA447-7E7C-467E-A2EE-BAABD0F063F9}"/>
              </a:ext>
            </a:extLst>
          </p:cNvPr>
          <p:cNvSpPr txBox="1"/>
          <p:nvPr/>
        </p:nvSpPr>
        <p:spPr>
          <a:xfrm>
            <a:off x="4712199" y="5277901"/>
            <a:ext cx="1149908" cy="79152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 defTabSz="914377">
              <a:lnSpc>
                <a:spcPct val="85000"/>
              </a:lnSpc>
              <a:spcAft>
                <a:spcPts val="1200"/>
              </a:spcAft>
            </a:pPr>
            <a:r>
              <a:rPr lang="en-US" sz="1200">
                <a:solidFill>
                  <a:srgbClr val="FFFFFF"/>
                </a:solidFill>
                <a:latin typeface="CiscoSansTT" panose="020B0503020201020303" pitchFamily="34" charset="0"/>
                <a:ea typeface="ＭＳ Ｐゴシック" charset="0"/>
                <a:cs typeface="CiscoSansTT" panose="020B0503020201020303" pitchFamily="34" charset="0"/>
              </a:rPr>
              <a:t>Month </a:t>
            </a:r>
            <a:br>
              <a:rPr lang="en-US" sz="1200">
                <a:solidFill>
                  <a:srgbClr val="FFFFFF"/>
                </a:solidFill>
                <a:latin typeface="CiscoSansTT" panose="020B0503020201020303" pitchFamily="34" charset="0"/>
                <a:ea typeface="ＭＳ Ｐゴシック" charset="0"/>
                <a:cs typeface="CiscoSansTT" panose="020B0503020201020303" pitchFamily="34" charset="0"/>
              </a:rPr>
            </a:br>
            <a:r>
              <a:rPr lang="en-US" sz="4800">
                <a:solidFill>
                  <a:srgbClr val="FFFFFF"/>
                </a:solidFill>
                <a:latin typeface="CiscoSansTT Light" panose="020B0503020201020303" pitchFamily="34" charset="0"/>
                <a:ea typeface="ＭＳ Ｐゴシック" charset="0"/>
                <a:cs typeface="CiscoSansTT Light" panose="020B0503020201020303" pitchFamily="34" charset="0"/>
              </a:rPr>
              <a:t>9</a:t>
            </a:r>
            <a:endParaRPr lang="en-US" sz="6000">
              <a:solidFill>
                <a:srgbClr val="FFFFFF"/>
              </a:solidFill>
              <a:latin typeface="CiscoSansTT Light" panose="020B0503020201020303" pitchFamily="34" charset="0"/>
              <a:ea typeface="ＭＳ Ｐゴシック" charset="0"/>
              <a:cs typeface="CiscoSansTT Light" panose="020B0503020201020303" pitchFamily="34" charset="0"/>
            </a:endParaRPr>
          </a:p>
        </p:txBody>
      </p:sp>
      <p:sp>
        <p:nvSpPr>
          <p:cNvPr id="84" name="TextBox 83">
            <a:extLst>
              <a:ext uri="{FF2B5EF4-FFF2-40B4-BE49-F238E27FC236}">
                <a16:creationId xmlns:a16="http://schemas.microsoft.com/office/drawing/2014/main" id="{D5F6BAA4-43AA-4DA4-ABA5-6FD309CDCBF9}"/>
              </a:ext>
            </a:extLst>
          </p:cNvPr>
          <p:cNvSpPr txBox="1"/>
          <p:nvPr/>
        </p:nvSpPr>
        <p:spPr>
          <a:xfrm>
            <a:off x="4573554" y="4793260"/>
            <a:ext cx="1427199" cy="37147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 defTabSz="914377"/>
            <a:r>
              <a:rPr lang="en-US" sz="1200">
                <a:solidFill>
                  <a:srgbClr val="00BCEB"/>
                </a:solidFill>
                <a:latin typeface="CiscoSansTT" panose="020B0503020201020303" pitchFamily="34" charset="0"/>
                <a:ea typeface="ＭＳ Ｐゴシック" charset="0"/>
                <a:cs typeface="CiscoSansTT" panose="020B0503020201020303" pitchFamily="34" charset="0"/>
              </a:rPr>
              <a:t>90-Day Review</a:t>
            </a:r>
          </a:p>
        </p:txBody>
      </p:sp>
      <p:sp>
        <p:nvSpPr>
          <p:cNvPr id="96" name="TextBox 95">
            <a:extLst>
              <a:ext uri="{FF2B5EF4-FFF2-40B4-BE49-F238E27FC236}">
                <a16:creationId xmlns:a16="http://schemas.microsoft.com/office/drawing/2014/main" id="{0CCE9C70-0E74-4BFD-BC15-8973668F2685}"/>
              </a:ext>
            </a:extLst>
          </p:cNvPr>
          <p:cNvSpPr txBox="1"/>
          <p:nvPr/>
        </p:nvSpPr>
        <p:spPr>
          <a:xfrm>
            <a:off x="6684415" y="794392"/>
            <a:ext cx="1149908" cy="79152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 defTabSz="914377">
              <a:lnSpc>
                <a:spcPct val="85000"/>
              </a:lnSpc>
              <a:spcAft>
                <a:spcPts val="1200"/>
              </a:spcAft>
            </a:pPr>
            <a:r>
              <a:rPr lang="en-US" sz="1200">
                <a:solidFill>
                  <a:srgbClr val="FFFFFF"/>
                </a:solidFill>
                <a:latin typeface="CiscoSansTT" panose="020B0503020201020303" pitchFamily="34" charset="0"/>
                <a:ea typeface="ＭＳ Ｐゴシック" charset="0"/>
                <a:cs typeface="CiscoSansTT" panose="020B0503020201020303" pitchFamily="34" charset="0"/>
              </a:rPr>
              <a:t>Month </a:t>
            </a:r>
            <a:br>
              <a:rPr lang="en-US" sz="1200">
                <a:solidFill>
                  <a:srgbClr val="FFFFFF"/>
                </a:solidFill>
                <a:latin typeface="CiscoSansTT" panose="020B0503020201020303" pitchFamily="34" charset="0"/>
                <a:ea typeface="ＭＳ Ｐゴシック" charset="0"/>
                <a:cs typeface="CiscoSansTT" panose="020B0503020201020303" pitchFamily="34" charset="0"/>
              </a:rPr>
            </a:br>
            <a:r>
              <a:rPr lang="en-US" sz="4800">
                <a:solidFill>
                  <a:srgbClr val="FFFFFF"/>
                </a:solidFill>
                <a:latin typeface="CiscoSansTT Light" panose="020B0503020201020303" pitchFamily="34" charset="0"/>
                <a:ea typeface="ＭＳ Ｐゴシック" charset="0"/>
                <a:cs typeface="CiscoSansTT Light" panose="020B0503020201020303" pitchFamily="34" charset="0"/>
              </a:rPr>
              <a:t>2</a:t>
            </a:r>
            <a:endParaRPr lang="en-US" sz="6000">
              <a:solidFill>
                <a:srgbClr val="FFFFFF"/>
              </a:solidFill>
              <a:latin typeface="CiscoSansTT Light" panose="020B0503020201020303" pitchFamily="34" charset="0"/>
              <a:ea typeface="ＭＳ Ｐゴシック" charset="0"/>
              <a:cs typeface="CiscoSansTT Light" panose="020B0503020201020303" pitchFamily="34" charset="0"/>
            </a:endParaRPr>
          </a:p>
        </p:txBody>
      </p:sp>
      <p:sp>
        <p:nvSpPr>
          <p:cNvPr id="109" name="TextBox 108">
            <a:extLst>
              <a:ext uri="{FF2B5EF4-FFF2-40B4-BE49-F238E27FC236}">
                <a16:creationId xmlns:a16="http://schemas.microsoft.com/office/drawing/2014/main" id="{48F6D870-5C54-4FEB-ACCB-05E26106DD08}"/>
              </a:ext>
            </a:extLst>
          </p:cNvPr>
          <p:cNvSpPr txBox="1"/>
          <p:nvPr/>
        </p:nvSpPr>
        <p:spPr>
          <a:xfrm>
            <a:off x="6684415" y="3036147"/>
            <a:ext cx="1149908" cy="79152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 defTabSz="914377">
              <a:lnSpc>
                <a:spcPct val="85000"/>
              </a:lnSpc>
              <a:spcAft>
                <a:spcPts val="1200"/>
              </a:spcAft>
            </a:pPr>
            <a:r>
              <a:rPr lang="en-US" sz="1200">
                <a:solidFill>
                  <a:srgbClr val="FFFFFF"/>
                </a:solidFill>
                <a:latin typeface="CiscoSansTT" panose="020B0503020201020303" pitchFamily="34" charset="0"/>
                <a:ea typeface="ＭＳ Ｐゴシック" charset="0"/>
                <a:cs typeface="CiscoSansTT" panose="020B0503020201020303" pitchFamily="34" charset="0"/>
              </a:rPr>
              <a:t>Month </a:t>
            </a:r>
            <a:br>
              <a:rPr lang="en-US" sz="1200">
                <a:solidFill>
                  <a:srgbClr val="FFFFFF"/>
                </a:solidFill>
                <a:latin typeface="CiscoSansTT" panose="020B0503020201020303" pitchFamily="34" charset="0"/>
                <a:ea typeface="ＭＳ Ｐゴシック" charset="0"/>
                <a:cs typeface="CiscoSansTT" panose="020B0503020201020303" pitchFamily="34" charset="0"/>
              </a:rPr>
            </a:br>
            <a:r>
              <a:rPr lang="en-US" sz="4800">
                <a:solidFill>
                  <a:srgbClr val="FFFFFF"/>
                </a:solidFill>
                <a:latin typeface="CiscoSansTT Light" panose="020B0503020201020303" pitchFamily="34" charset="0"/>
                <a:ea typeface="ＭＳ Ｐゴシック" charset="0"/>
                <a:cs typeface="CiscoSansTT Light" panose="020B0503020201020303" pitchFamily="34" charset="0"/>
              </a:rPr>
              <a:t>6</a:t>
            </a:r>
            <a:endParaRPr lang="en-US" sz="6000">
              <a:solidFill>
                <a:srgbClr val="FFFFFF"/>
              </a:solidFill>
              <a:latin typeface="CiscoSansTT Light" panose="020B0503020201020303" pitchFamily="34" charset="0"/>
              <a:ea typeface="ＭＳ Ｐゴシック" charset="0"/>
              <a:cs typeface="CiscoSansTT Light" panose="020B0503020201020303" pitchFamily="34" charset="0"/>
            </a:endParaRPr>
          </a:p>
        </p:txBody>
      </p:sp>
      <p:pic>
        <p:nvPicPr>
          <p:cNvPr id="119" name="Graphic 118">
            <a:extLst>
              <a:ext uri="{FF2B5EF4-FFF2-40B4-BE49-F238E27FC236}">
                <a16:creationId xmlns:a16="http://schemas.microsoft.com/office/drawing/2014/main" id="{E9FEDEE3-A4F4-40D0-A749-C924BECCC8FC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6978855" y="3888001"/>
            <a:ext cx="251552" cy="250819"/>
          </a:xfrm>
          <a:prstGeom prst="rect">
            <a:avLst/>
          </a:prstGeom>
          <a:effectLst/>
        </p:spPr>
      </p:pic>
      <p:pic>
        <p:nvPicPr>
          <p:cNvPr id="115" name="Graphic 114">
            <a:extLst>
              <a:ext uri="{FF2B5EF4-FFF2-40B4-BE49-F238E27FC236}">
                <a16:creationId xmlns:a16="http://schemas.microsoft.com/office/drawing/2014/main" id="{EFDD2853-5893-450B-A1D2-8577AE4139AF}"/>
              </a:ext>
            </a:extLst>
          </p:cNvPr>
          <p:cNvPicPr>
            <a:picLocks noChangeAspect="1"/>
          </p:cNvPicPr>
          <p:nvPr/>
        </p:nvPicPr>
        <p:blipFill>
          <a:blip r:embed="rId17">
            <a:extLst>
              <a:ext uri="{96DAC541-7B7A-43D3-8B79-37D633B846F1}">
                <asvg:svgBlip xmlns:asvg="http://schemas.microsoft.com/office/drawing/2016/SVG/main" r:embed="rId18"/>
              </a:ext>
            </a:extLst>
          </a:blip>
          <a:stretch>
            <a:fillRect/>
          </a:stretch>
        </p:blipFill>
        <p:spPr>
          <a:xfrm>
            <a:off x="7288331" y="3887639"/>
            <a:ext cx="251552" cy="251544"/>
          </a:xfrm>
          <a:prstGeom prst="rect">
            <a:avLst/>
          </a:prstGeom>
          <a:effectLst/>
        </p:spPr>
      </p:pic>
      <p:sp>
        <p:nvSpPr>
          <p:cNvPr id="121" name="TextBox 120">
            <a:extLst>
              <a:ext uri="{FF2B5EF4-FFF2-40B4-BE49-F238E27FC236}">
                <a16:creationId xmlns:a16="http://schemas.microsoft.com/office/drawing/2014/main" id="{CC3DF74C-4B94-4E3C-B793-E93DC8BC5EE1}"/>
              </a:ext>
            </a:extLst>
          </p:cNvPr>
          <p:cNvSpPr txBox="1"/>
          <p:nvPr/>
        </p:nvSpPr>
        <p:spPr>
          <a:xfrm>
            <a:off x="6684415" y="5277901"/>
            <a:ext cx="1149908" cy="79152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 defTabSz="914377">
              <a:lnSpc>
                <a:spcPct val="85000"/>
              </a:lnSpc>
              <a:spcAft>
                <a:spcPts val="1200"/>
              </a:spcAft>
            </a:pPr>
            <a:r>
              <a:rPr lang="en-US" sz="1200">
                <a:solidFill>
                  <a:srgbClr val="FFFFFF"/>
                </a:solidFill>
                <a:latin typeface="CiscoSansTT" panose="020B0503020201020303" pitchFamily="34" charset="0"/>
                <a:ea typeface="ＭＳ Ｐゴシック" charset="0"/>
                <a:cs typeface="CiscoSansTT" panose="020B0503020201020303" pitchFamily="34" charset="0"/>
              </a:rPr>
              <a:t>Month </a:t>
            </a:r>
            <a:br>
              <a:rPr lang="en-US" sz="1200">
                <a:solidFill>
                  <a:srgbClr val="FFFFFF"/>
                </a:solidFill>
                <a:latin typeface="CiscoSansTT" panose="020B0503020201020303" pitchFamily="34" charset="0"/>
                <a:ea typeface="ＭＳ Ｐゴシック" charset="0"/>
                <a:cs typeface="CiscoSansTT" panose="020B0503020201020303" pitchFamily="34" charset="0"/>
              </a:rPr>
            </a:br>
            <a:r>
              <a:rPr lang="en-US" sz="4800">
                <a:solidFill>
                  <a:srgbClr val="FFFFFF"/>
                </a:solidFill>
                <a:latin typeface="CiscoSansTT Light" panose="020B0503020201020303" pitchFamily="34" charset="0"/>
                <a:ea typeface="ＭＳ Ｐゴシック" charset="0"/>
                <a:cs typeface="CiscoSansTT Light" panose="020B0503020201020303" pitchFamily="34" charset="0"/>
              </a:rPr>
              <a:t>10</a:t>
            </a:r>
            <a:endParaRPr lang="en-US" sz="6000">
              <a:solidFill>
                <a:srgbClr val="FFFFFF"/>
              </a:solidFill>
              <a:latin typeface="CiscoSansTT Light" panose="020B0503020201020303" pitchFamily="34" charset="0"/>
              <a:ea typeface="ＭＳ Ｐゴシック" charset="0"/>
              <a:cs typeface="CiscoSansTT Light" panose="020B0503020201020303" pitchFamily="34" charset="0"/>
            </a:endParaRPr>
          </a:p>
        </p:txBody>
      </p:sp>
      <p:pic>
        <p:nvPicPr>
          <p:cNvPr id="132" name="Graphic 131">
            <a:extLst>
              <a:ext uri="{FF2B5EF4-FFF2-40B4-BE49-F238E27FC236}">
                <a16:creationId xmlns:a16="http://schemas.microsoft.com/office/drawing/2014/main" id="{DED4EE1B-17C8-40F5-BB3D-93A9DDB451A2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6958977" y="6129756"/>
            <a:ext cx="251552" cy="250819"/>
          </a:xfrm>
          <a:prstGeom prst="rect">
            <a:avLst/>
          </a:prstGeom>
          <a:effectLst/>
        </p:spPr>
      </p:pic>
      <p:pic>
        <p:nvPicPr>
          <p:cNvPr id="128" name="Graphic 127">
            <a:extLst>
              <a:ext uri="{FF2B5EF4-FFF2-40B4-BE49-F238E27FC236}">
                <a16:creationId xmlns:a16="http://schemas.microsoft.com/office/drawing/2014/main" id="{E8885FB1-13B8-4890-889F-A7C8F38F7622}"/>
              </a:ext>
            </a:extLst>
          </p:cNvPr>
          <p:cNvPicPr>
            <a:picLocks noChangeAspect="1"/>
          </p:cNvPicPr>
          <p:nvPr/>
        </p:nvPicPr>
        <p:blipFill>
          <a:blip r:embed="rId17">
            <a:extLst>
              <a:ext uri="{96DAC541-7B7A-43D3-8B79-37D633B846F1}">
                <asvg:svgBlip xmlns:asvg="http://schemas.microsoft.com/office/drawing/2016/SVG/main" r:embed="rId18"/>
              </a:ext>
            </a:extLst>
          </a:blip>
          <a:stretch>
            <a:fillRect/>
          </a:stretch>
        </p:blipFill>
        <p:spPr>
          <a:xfrm>
            <a:off x="7308209" y="6129393"/>
            <a:ext cx="251552" cy="251544"/>
          </a:xfrm>
          <a:prstGeom prst="rect">
            <a:avLst/>
          </a:prstGeom>
          <a:effectLst/>
        </p:spPr>
      </p:pic>
      <p:sp>
        <p:nvSpPr>
          <p:cNvPr id="134" name="TextBox 133">
            <a:extLst>
              <a:ext uri="{FF2B5EF4-FFF2-40B4-BE49-F238E27FC236}">
                <a16:creationId xmlns:a16="http://schemas.microsoft.com/office/drawing/2014/main" id="{B4C54C27-5B0F-48A3-9B28-DFAE74339C5A}"/>
              </a:ext>
            </a:extLst>
          </p:cNvPr>
          <p:cNvSpPr txBox="1"/>
          <p:nvPr/>
        </p:nvSpPr>
        <p:spPr>
          <a:xfrm>
            <a:off x="8656632" y="794392"/>
            <a:ext cx="1149908" cy="79152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 defTabSz="914377">
              <a:lnSpc>
                <a:spcPct val="85000"/>
              </a:lnSpc>
              <a:spcAft>
                <a:spcPts val="1200"/>
              </a:spcAft>
            </a:pPr>
            <a:r>
              <a:rPr lang="en-US" sz="1200">
                <a:solidFill>
                  <a:srgbClr val="FFFFFF"/>
                </a:solidFill>
                <a:latin typeface="CiscoSansTT" panose="020B0503020201020303" pitchFamily="34" charset="0"/>
                <a:ea typeface="ＭＳ Ｐゴシック" charset="0"/>
                <a:cs typeface="CiscoSansTT" panose="020B0503020201020303" pitchFamily="34" charset="0"/>
              </a:rPr>
              <a:t>Month </a:t>
            </a:r>
            <a:br>
              <a:rPr lang="en-US" sz="1200">
                <a:solidFill>
                  <a:srgbClr val="FFFFFF"/>
                </a:solidFill>
                <a:latin typeface="CiscoSansTT" panose="020B0503020201020303" pitchFamily="34" charset="0"/>
                <a:ea typeface="ＭＳ Ｐゴシック" charset="0"/>
                <a:cs typeface="CiscoSansTT" panose="020B0503020201020303" pitchFamily="34" charset="0"/>
              </a:rPr>
            </a:br>
            <a:r>
              <a:rPr lang="en-US" sz="4800">
                <a:solidFill>
                  <a:srgbClr val="FFFFFF"/>
                </a:solidFill>
                <a:latin typeface="CiscoSansTT Light" panose="020B0503020201020303" pitchFamily="34" charset="0"/>
                <a:ea typeface="ＭＳ Ｐゴシック" charset="0"/>
                <a:cs typeface="CiscoSansTT Light" panose="020B0503020201020303" pitchFamily="34" charset="0"/>
              </a:rPr>
              <a:t>3</a:t>
            </a:r>
            <a:endParaRPr lang="en-US" sz="6000">
              <a:solidFill>
                <a:srgbClr val="FFFFFF"/>
              </a:solidFill>
              <a:latin typeface="CiscoSansTT Light" panose="020B0503020201020303" pitchFamily="34" charset="0"/>
              <a:ea typeface="ＭＳ Ｐゴシック" charset="0"/>
              <a:cs typeface="CiscoSansTT Light" panose="020B0503020201020303" pitchFamily="34" charset="0"/>
            </a:endParaRPr>
          </a:p>
        </p:txBody>
      </p:sp>
      <p:sp>
        <p:nvSpPr>
          <p:cNvPr id="135" name="TextBox 134">
            <a:extLst>
              <a:ext uri="{FF2B5EF4-FFF2-40B4-BE49-F238E27FC236}">
                <a16:creationId xmlns:a16="http://schemas.microsoft.com/office/drawing/2014/main" id="{47C3DFE0-BE26-46F8-9456-BFD17A77C5F0}"/>
              </a:ext>
            </a:extLst>
          </p:cNvPr>
          <p:cNvSpPr txBox="1"/>
          <p:nvPr/>
        </p:nvSpPr>
        <p:spPr>
          <a:xfrm>
            <a:off x="8517987" y="309751"/>
            <a:ext cx="1427199" cy="37147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 defTabSz="914377"/>
            <a:r>
              <a:rPr lang="en-US" sz="1200">
                <a:solidFill>
                  <a:srgbClr val="00BCEB"/>
                </a:solidFill>
                <a:latin typeface="CiscoSansTT" panose="020B0503020201020303" pitchFamily="34" charset="0"/>
                <a:ea typeface="ＭＳ Ｐゴシック" charset="0"/>
                <a:cs typeface="CiscoSansTT" panose="020B0503020201020303" pitchFamily="34" charset="0"/>
              </a:rPr>
              <a:t>90-Day Review</a:t>
            </a:r>
          </a:p>
        </p:txBody>
      </p:sp>
      <p:sp>
        <p:nvSpPr>
          <p:cNvPr id="147" name="TextBox 146">
            <a:extLst>
              <a:ext uri="{FF2B5EF4-FFF2-40B4-BE49-F238E27FC236}">
                <a16:creationId xmlns:a16="http://schemas.microsoft.com/office/drawing/2014/main" id="{C527C311-2DAA-4A04-BAA4-FA2A69666943}"/>
              </a:ext>
            </a:extLst>
          </p:cNvPr>
          <p:cNvSpPr txBox="1"/>
          <p:nvPr/>
        </p:nvSpPr>
        <p:spPr>
          <a:xfrm>
            <a:off x="8656632" y="3036147"/>
            <a:ext cx="1149908" cy="79152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 defTabSz="914377">
              <a:lnSpc>
                <a:spcPct val="85000"/>
              </a:lnSpc>
              <a:spcAft>
                <a:spcPts val="1200"/>
              </a:spcAft>
            </a:pPr>
            <a:r>
              <a:rPr lang="en-US" sz="1200">
                <a:solidFill>
                  <a:srgbClr val="FFFFFF"/>
                </a:solidFill>
                <a:latin typeface="CiscoSansTT" panose="020B0503020201020303" pitchFamily="34" charset="0"/>
                <a:ea typeface="ＭＳ Ｐゴシック" charset="0"/>
                <a:cs typeface="CiscoSansTT" panose="020B0503020201020303" pitchFamily="34" charset="0"/>
              </a:rPr>
              <a:t>Month </a:t>
            </a:r>
            <a:br>
              <a:rPr lang="en-US" sz="1200">
                <a:solidFill>
                  <a:srgbClr val="FFFFFF"/>
                </a:solidFill>
                <a:latin typeface="CiscoSansTT" panose="020B0503020201020303" pitchFamily="34" charset="0"/>
                <a:ea typeface="ＭＳ Ｐゴシック" charset="0"/>
                <a:cs typeface="CiscoSansTT" panose="020B0503020201020303" pitchFamily="34" charset="0"/>
              </a:rPr>
            </a:br>
            <a:r>
              <a:rPr lang="en-US" sz="4800">
                <a:solidFill>
                  <a:srgbClr val="FFFFFF"/>
                </a:solidFill>
                <a:latin typeface="CiscoSansTT Light" panose="020B0503020201020303" pitchFamily="34" charset="0"/>
                <a:ea typeface="ＭＳ Ｐゴシック" charset="0"/>
                <a:cs typeface="CiscoSansTT Light" panose="020B0503020201020303" pitchFamily="34" charset="0"/>
              </a:rPr>
              <a:t>7</a:t>
            </a:r>
            <a:endParaRPr lang="en-US" sz="6000">
              <a:solidFill>
                <a:srgbClr val="FFFFFF"/>
              </a:solidFill>
              <a:latin typeface="CiscoSansTT Light" panose="020B0503020201020303" pitchFamily="34" charset="0"/>
              <a:ea typeface="ＭＳ Ｐゴシック" charset="0"/>
              <a:cs typeface="CiscoSansTT Light" panose="020B0503020201020303" pitchFamily="34" charset="0"/>
            </a:endParaRPr>
          </a:p>
        </p:txBody>
      </p:sp>
      <p:sp>
        <p:nvSpPr>
          <p:cNvPr id="159" name="TextBox 158">
            <a:extLst>
              <a:ext uri="{FF2B5EF4-FFF2-40B4-BE49-F238E27FC236}">
                <a16:creationId xmlns:a16="http://schemas.microsoft.com/office/drawing/2014/main" id="{8395428D-DB24-41BF-8340-D2649E39B59A}"/>
              </a:ext>
            </a:extLst>
          </p:cNvPr>
          <p:cNvSpPr txBox="1"/>
          <p:nvPr/>
        </p:nvSpPr>
        <p:spPr>
          <a:xfrm>
            <a:off x="8656632" y="5277901"/>
            <a:ext cx="1149908" cy="79152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 defTabSz="914377">
              <a:lnSpc>
                <a:spcPct val="85000"/>
              </a:lnSpc>
              <a:spcAft>
                <a:spcPts val="1200"/>
              </a:spcAft>
            </a:pPr>
            <a:r>
              <a:rPr lang="en-US" sz="1200">
                <a:solidFill>
                  <a:srgbClr val="FFFFFF"/>
                </a:solidFill>
                <a:latin typeface="CiscoSansTT" panose="020B0503020201020303" pitchFamily="34" charset="0"/>
                <a:ea typeface="ＭＳ Ｐゴシック" charset="0"/>
                <a:cs typeface="CiscoSansTT" panose="020B0503020201020303" pitchFamily="34" charset="0"/>
              </a:rPr>
              <a:t>Month </a:t>
            </a:r>
            <a:br>
              <a:rPr lang="en-US" sz="1200">
                <a:solidFill>
                  <a:srgbClr val="FFFFFF"/>
                </a:solidFill>
                <a:latin typeface="CiscoSansTT" panose="020B0503020201020303" pitchFamily="34" charset="0"/>
                <a:ea typeface="ＭＳ Ｐゴシック" charset="0"/>
                <a:cs typeface="CiscoSansTT" panose="020B0503020201020303" pitchFamily="34" charset="0"/>
              </a:rPr>
            </a:br>
            <a:r>
              <a:rPr lang="en-US" sz="4800">
                <a:solidFill>
                  <a:srgbClr val="FFFFFF"/>
                </a:solidFill>
                <a:latin typeface="CiscoSansTT Light" panose="020B0503020201020303" pitchFamily="34" charset="0"/>
                <a:ea typeface="ＭＳ Ｐゴシック" charset="0"/>
                <a:cs typeface="CiscoSansTT Light" panose="020B0503020201020303" pitchFamily="34" charset="0"/>
              </a:rPr>
              <a:t>11</a:t>
            </a:r>
            <a:endParaRPr lang="en-US" sz="6000">
              <a:solidFill>
                <a:srgbClr val="FFFFFF"/>
              </a:solidFill>
              <a:latin typeface="CiscoSansTT Light" panose="020B0503020201020303" pitchFamily="34" charset="0"/>
              <a:ea typeface="ＭＳ Ｐゴシック" charset="0"/>
              <a:cs typeface="CiscoSansTT Light" panose="020B0503020201020303" pitchFamily="34" charset="0"/>
            </a:endParaRPr>
          </a:p>
        </p:txBody>
      </p:sp>
      <p:sp>
        <p:nvSpPr>
          <p:cNvPr id="211" name="TextBox 210">
            <a:extLst>
              <a:ext uri="{FF2B5EF4-FFF2-40B4-BE49-F238E27FC236}">
                <a16:creationId xmlns:a16="http://schemas.microsoft.com/office/drawing/2014/main" id="{899C33E3-009D-4A7A-B55A-E1FF65F6C8AE}"/>
              </a:ext>
            </a:extLst>
          </p:cNvPr>
          <p:cNvSpPr txBox="1"/>
          <p:nvPr/>
        </p:nvSpPr>
        <p:spPr>
          <a:xfrm>
            <a:off x="10628848" y="794392"/>
            <a:ext cx="1149908" cy="79152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 defTabSz="914377">
              <a:lnSpc>
                <a:spcPct val="85000"/>
              </a:lnSpc>
              <a:spcAft>
                <a:spcPts val="1200"/>
              </a:spcAft>
            </a:pPr>
            <a:r>
              <a:rPr lang="en-US" sz="1200">
                <a:solidFill>
                  <a:srgbClr val="FFFFFF"/>
                </a:solidFill>
                <a:latin typeface="CiscoSansTT" panose="020B0503020201020303" pitchFamily="34" charset="0"/>
                <a:ea typeface="ＭＳ Ｐゴシック" charset="0"/>
                <a:cs typeface="CiscoSansTT" panose="020B0503020201020303" pitchFamily="34" charset="0"/>
              </a:rPr>
              <a:t>Month </a:t>
            </a:r>
            <a:br>
              <a:rPr lang="en-US" sz="1200">
                <a:solidFill>
                  <a:srgbClr val="FFFFFF"/>
                </a:solidFill>
                <a:latin typeface="CiscoSansTT" panose="020B0503020201020303" pitchFamily="34" charset="0"/>
                <a:ea typeface="ＭＳ Ｐゴシック" charset="0"/>
                <a:cs typeface="CiscoSansTT" panose="020B0503020201020303" pitchFamily="34" charset="0"/>
              </a:rPr>
            </a:br>
            <a:r>
              <a:rPr lang="en-US" sz="4800">
                <a:solidFill>
                  <a:srgbClr val="FFFFFF"/>
                </a:solidFill>
                <a:latin typeface="CiscoSansTT Light" panose="020B0503020201020303" pitchFamily="34" charset="0"/>
                <a:ea typeface="ＭＳ Ｐゴシック" charset="0"/>
                <a:cs typeface="CiscoSansTT Light" panose="020B0503020201020303" pitchFamily="34" charset="0"/>
              </a:rPr>
              <a:t>4</a:t>
            </a:r>
            <a:endParaRPr lang="en-US" sz="6000">
              <a:solidFill>
                <a:srgbClr val="FFFFFF"/>
              </a:solidFill>
              <a:latin typeface="CiscoSansTT Light" panose="020B0503020201020303" pitchFamily="34" charset="0"/>
              <a:ea typeface="ＭＳ Ｐゴシック" charset="0"/>
              <a:cs typeface="CiscoSansTT Light" panose="020B0503020201020303" pitchFamily="34" charset="0"/>
            </a:endParaRPr>
          </a:p>
        </p:txBody>
      </p:sp>
      <p:pic>
        <p:nvPicPr>
          <p:cNvPr id="222" name="Graphic 221">
            <a:extLst>
              <a:ext uri="{FF2B5EF4-FFF2-40B4-BE49-F238E27FC236}">
                <a16:creationId xmlns:a16="http://schemas.microsoft.com/office/drawing/2014/main" id="{D8DD6E8A-9DA6-413B-BDA9-B452BF6C26DD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10771485" y="1646247"/>
            <a:ext cx="251552" cy="250819"/>
          </a:xfrm>
          <a:prstGeom prst="rect">
            <a:avLst/>
          </a:prstGeom>
          <a:effectLst/>
        </p:spPr>
      </p:pic>
      <p:pic>
        <p:nvPicPr>
          <p:cNvPr id="220" name="Graphic 219">
            <a:extLst>
              <a:ext uri="{FF2B5EF4-FFF2-40B4-BE49-F238E27FC236}">
                <a16:creationId xmlns:a16="http://schemas.microsoft.com/office/drawing/2014/main" id="{F498005E-0EE8-4DBD-9D3F-89E23EC25F1E}"/>
              </a:ext>
            </a:extLst>
          </p:cNvPr>
          <p:cNvPicPr>
            <a:picLocks noChangeAspect="1"/>
          </p:cNvPicPr>
          <p:nvPr/>
        </p:nvPicPr>
        <p:blipFill>
          <a:blip r:embed="rId19">
            <a:extLst>
              <a:ext uri="{96DAC541-7B7A-43D3-8B79-37D633B846F1}">
                <asvg:svgBlip xmlns:asvg="http://schemas.microsoft.com/office/drawing/2016/SVG/main" r:embed="rId20"/>
              </a:ext>
            </a:extLst>
          </a:blip>
          <a:stretch>
            <a:fillRect/>
          </a:stretch>
        </p:blipFill>
        <p:spPr>
          <a:xfrm>
            <a:off x="11384568" y="1645880"/>
            <a:ext cx="251552" cy="251552"/>
          </a:xfrm>
          <a:prstGeom prst="rect">
            <a:avLst/>
          </a:prstGeom>
          <a:effectLst/>
        </p:spPr>
      </p:pic>
      <p:pic>
        <p:nvPicPr>
          <p:cNvPr id="218" name="Graphic 217">
            <a:extLst>
              <a:ext uri="{FF2B5EF4-FFF2-40B4-BE49-F238E27FC236}">
                <a16:creationId xmlns:a16="http://schemas.microsoft.com/office/drawing/2014/main" id="{E7469E87-3BDA-4E2A-9318-102F2B39E599}"/>
              </a:ext>
            </a:extLst>
          </p:cNvPr>
          <p:cNvPicPr>
            <a:picLocks noChangeAspect="1"/>
          </p:cNvPicPr>
          <p:nvPr/>
        </p:nvPicPr>
        <p:blipFill>
          <a:blip r:embed="rId17">
            <a:extLst>
              <a:ext uri="{96DAC541-7B7A-43D3-8B79-37D633B846F1}">
                <asvg:svgBlip xmlns:asvg="http://schemas.microsoft.com/office/drawing/2016/SVG/main" r:embed="rId18"/>
              </a:ext>
            </a:extLst>
          </a:blip>
          <a:stretch>
            <a:fillRect/>
          </a:stretch>
        </p:blipFill>
        <p:spPr>
          <a:xfrm>
            <a:off x="11081224" y="1645884"/>
            <a:ext cx="251552" cy="251544"/>
          </a:xfrm>
          <a:prstGeom prst="rect">
            <a:avLst/>
          </a:prstGeom>
          <a:effectLst/>
        </p:spPr>
      </p:pic>
      <p:sp>
        <p:nvSpPr>
          <p:cNvPr id="224" name="TextBox 223">
            <a:extLst>
              <a:ext uri="{FF2B5EF4-FFF2-40B4-BE49-F238E27FC236}">
                <a16:creationId xmlns:a16="http://schemas.microsoft.com/office/drawing/2014/main" id="{7A5C5BC6-C899-4D6C-B33C-4AC79B78A973}"/>
              </a:ext>
            </a:extLst>
          </p:cNvPr>
          <p:cNvSpPr txBox="1"/>
          <p:nvPr/>
        </p:nvSpPr>
        <p:spPr>
          <a:xfrm>
            <a:off x="10628848" y="3036147"/>
            <a:ext cx="1149908" cy="79152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 defTabSz="914377">
              <a:lnSpc>
                <a:spcPct val="85000"/>
              </a:lnSpc>
              <a:spcAft>
                <a:spcPts val="1200"/>
              </a:spcAft>
            </a:pPr>
            <a:r>
              <a:rPr lang="en-US" sz="1200">
                <a:solidFill>
                  <a:srgbClr val="FFFFFF"/>
                </a:solidFill>
                <a:latin typeface="CiscoSansTT" panose="020B0503020201020303" pitchFamily="34" charset="0"/>
                <a:ea typeface="ＭＳ Ｐゴシック" charset="0"/>
                <a:cs typeface="CiscoSansTT" panose="020B0503020201020303" pitchFamily="34" charset="0"/>
              </a:rPr>
              <a:t>Month </a:t>
            </a:r>
            <a:br>
              <a:rPr lang="en-US" sz="1200">
                <a:solidFill>
                  <a:srgbClr val="FFFFFF"/>
                </a:solidFill>
                <a:latin typeface="CiscoSansTT" panose="020B0503020201020303" pitchFamily="34" charset="0"/>
                <a:ea typeface="ＭＳ Ｐゴシック" charset="0"/>
                <a:cs typeface="CiscoSansTT" panose="020B0503020201020303" pitchFamily="34" charset="0"/>
              </a:rPr>
            </a:br>
            <a:r>
              <a:rPr lang="en-US" sz="4800">
                <a:solidFill>
                  <a:srgbClr val="FFFFFF"/>
                </a:solidFill>
                <a:latin typeface="CiscoSansTT Light" panose="020B0503020201020303" pitchFamily="34" charset="0"/>
                <a:ea typeface="ＭＳ Ｐゴシック" charset="0"/>
                <a:cs typeface="CiscoSansTT Light" panose="020B0503020201020303" pitchFamily="34" charset="0"/>
              </a:rPr>
              <a:t>8</a:t>
            </a:r>
            <a:endParaRPr lang="en-US" sz="6000">
              <a:solidFill>
                <a:srgbClr val="FFFFFF"/>
              </a:solidFill>
              <a:latin typeface="CiscoSansTT Light" panose="020B0503020201020303" pitchFamily="34" charset="0"/>
              <a:ea typeface="ＭＳ Ｐゴシック" charset="0"/>
              <a:cs typeface="CiscoSansTT Light" panose="020B0503020201020303" pitchFamily="34" charset="0"/>
            </a:endParaRPr>
          </a:p>
        </p:txBody>
      </p:sp>
      <p:sp>
        <p:nvSpPr>
          <p:cNvPr id="236" name="TextBox 235">
            <a:extLst>
              <a:ext uri="{FF2B5EF4-FFF2-40B4-BE49-F238E27FC236}">
                <a16:creationId xmlns:a16="http://schemas.microsoft.com/office/drawing/2014/main" id="{9AD3CB37-6A18-4FFB-BC9D-39BDAF40928D}"/>
              </a:ext>
            </a:extLst>
          </p:cNvPr>
          <p:cNvSpPr txBox="1"/>
          <p:nvPr/>
        </p:nvSpPr>
        <p:spPr>
          <a:xfrm>
            <a:off x="10628848" y="5277901"/>
            <a:ext cx="1149908" cy="79152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 defTabSz="914377">
              <a:lnSpc>
                <a:spcPct val="85000"/>
              </a:lnSpc>
              <a:spcAft>
                <a:spcPts val="1200"/>
              </a:spcAft>
            </a:pPr>
            <a:r>
              <a:rPr lang="en-US" sz="1200">
                <a:solidFill>
                  <a:srgbClr val="FFFFFF"/>
                </a:solidFill>
                <a:latin typeface="CiscoSansTT" panose="020B0503020201020303" pitchFamily="34" charset="0"/>
                <a:ea typeface="ＭＳ Ｐゴシック" charset="0"/>
                <a:cs typeface="CiscoSansTT" panose="020B0503020201020303" pitchFamily="34" charset="0"/>
              </a:rPr>
              <a:t>Month </a:t>
            </a:r>
            <a:br>
              <a:rPr lang="en-US" sz="1200">
                <a:solidFill>
                  <a:srgbClr val="FFFFFF"/>
                </a:solidFill>
                <a:latin typeface="CiscoSansTT" panose="020B0503020201020303" pitchFamily="34" charset="0"/>
                <a:ea typeface="ＭＳ Ｐゴシック" charset="0"/>
                <a:cs typeface="CiscoSansTT" panose="020B0503020201020303" pitchFamily="34" charset="0"/>
              </a:rPr>
            </a:br>
            <a:r>
              <a:rPr lang="en-US" sz="4800">
                <a:solidFill>
                  <a:srgbClr val="FFFFFF"/>
                </a:solidFill>
                <a:latin typeface="CiscoSansTT Light" panose="020B0503020201020303" pitchFamily="34" charset="0"/>
                <a:ea typeface="ＭＳ Ｐゴシック" charset="0"/>
                <a:cs typeface="CiscoSansTT Light" panose="020B0503020201020303" pitchFamily="34" charset="0"/>
              </a:rPr>
              <a:t>12</a:t>
            </a:r>
            <a:endParaRPr lang="en-US" sz="6000">
              <a:solidFill>
                <a:srgbClr val="FFFFFF"/>
              </a:solidFill>
              <a:latin typeface="CiscoSansTT Light" panose="020B0503020201020303" pitchFamily="34" charset="0"/>
              <a:ea typeface="ＭＳ Ｐゴシック" charset="0"/>
              <a:cs typeface="CiscoSansTT Light" panose="020B0503020201020303" pitchFamily="34" charset="0"/>
            </a:endParaRPr>
          </a:p>
        </p:txBody>
      </p:sp>
      <p:sp>
        <p:nvSpPr>
          <p:cNvPr id="237" name="TextBox 236">
            <a:extLst>
              <a:ext uri="{FF2B5EF4-FFF2-40B4-BE49-F238E27FC236}">
                <a16:creationId xmlns:a16="http://schemas.microsoft.com/office/drawing/2014/main" id="{7977BFED-E6E4-4D6E-9FF9-E435FCD720E7}"/>
              </a:ext>
            </a:extLst>
          </p:cNvPr>
          <p:cNvSpPr txBox="1"/>
          <p:nvPr/>
        </p:nvSpPr>
        <p:spPr>
          <a:xfrm>
            <a:off x="10490203" y="4793260"/>
            <a:ext cx="1427199" cy="37147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 defTabSz="914377"/>
            <a:r>
              <a:rPr lang="en-US" sz="1200">
                <a:solidFill>
                  <a:srgbClr val="00BCEB"/>
                </a:solidFill>
                <a:latin typeface="CiscoSansTT" panose="020B0503020201020303" pitchFamily="34" charset="0"/>
                <a:ea typeface="ＭＳ Ｐゴシック" charset="0"/>
                <a:cs typeface="CiscoSansTT" panose="020B0503020201020303" pitchFamily="34" charset="0"/>
              </a:rPr>
              <a:t>90-Day Review</a:t>
            </a:r>
          </a:p>
        </p:txBody>
      </p:sp>
      <p:sp>
        <p:nvSpPr>
          <p:cNvPr id="248" name="TextBox 247">
            <a:extLst>
              <a:ext uri="{FF2B5EF4-FFF2-40B4-BE49-F238E27FC236}">
                <a16:creationId xmlns:a16="http://schemas.microsoft.com/office/drawing/2014/main" id="{A9C477A0-A25A-47EA-8B01-8B804E373B4D}"/>
              </a:ext>
            </a:extLst>
          </p:cNvPr>
          <p:cNvSpPr txBox="1"/>
          <p:nvPr/>
        </p:nvSpPr>
        <p:spPr>
          <a:xfrm>
            <a:off x="6545770" y="2551505"/>
            <a:ext cx="1427199" cy="37147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 defTabSz="914377"/>
            <a:r>
              <a:rPr lang="en-US" sz="1200">
                <a:solidFill>
                  <a:srgbClr val="00BCEB"/>
                </a:solidFill>
                <a:latin typeface="CiscoSansTT" panose="020B0503020201020303" pitchFamily="34" charset="0"/>
                <a:ea typeface="ＭＳ Ｐゴシック" charset="0"/>
                <a:cs typeface="CiscoSansTT" panose="020B0503020201020303" pitchFamily="34" charset="0"/>
              </a:rPr>
              <a:t>90-Day Review</a:t>
            </a:r>
          </a:p>
        </p:txBody>
      </p:sp>
      <p:pic>
        <p:nvPicPr>
          <p:cNvPr id="234" name="Graphic 233">
            <a:extLst>
              <a:ext uri="{FF2B5EF4-FFF2-40B4-BE49-F238E27FC236}">
                <a16:creationId xmlns:a16="http://schemas.microsoft.com/office/drawing/2014/main" id="{CF5D9B9C-5EA1-43B7-A6CA-68E0FC61B3D8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10771485" y="3888001"/>
            <a:ext cx="251552" cy="250819"/>
          </a:xfrm>
          <a:prstGeom prst="rect">
            <a:avLst/>
          </a:prstGeom>
          <a:effectLst/>
        </p:spPr>
      </p:pic>
      <p:pic>
        <p:nvPicPr>
          <p:cNvPr id="230" name="Graphic 229">
            <a:extLst>
              <a:ext uri="{FF2B5EF4-FFF2-40B4-BE49-F238E27FC236}">
                <a16:creationId xmlns:a16="http://schemas.microsoft.com/office/drawing/2014/main" id="{C52CA0C1-1651-431D-963F-BD8414D346A7}"/>
              </a:ext>
            </a:extLst>
          </p:cNvPr>
          <p:cNvPicPr>
            <a:picLocks noChangeAspect="1"/>
          </p:cNvPicPr>
          <p:nvPr/>
        </p:nvPicPr>
        <p:blipFill>
          <a:blip r:embed="rId17">
            <a:extLst>
              <a:ext uri="{96DAC541-7B7A-43D3-8B79-37D633B846F1}">
                <asvg:svgBlip xmlns:asvg="http://schemas.microsoft.com/office/drawing/2016/SVG/main" r:embed="rId18"/>
              </a:ext>
            </a:extLst>
          </a:blip>
          <a:stretch>
            <a:fillRect/>
          </a:stretch>
        </p:blipFill>
        <p:spPr>
          <a:xfrm>
            <a:off x="11384568" y="3887639"/>
            <a:ext cx="251552" cy="251544"/>
          </a:xfrm>
          <a:prstGeom prst="rect">
            <a:avLst/>
          </a:prstGeom>
          <a:effectLst/>
        </p:spPr>
      </p:pic>
      <p:pic>
        <p:nvPicPr>
          <p:cNvPr id="282" name="Graphic 281">
            <a:extLst>
              <a:ext uri="{FF2B5EF4-FFF2-40B4-BE49-F238E27FC236}">
                <a16:creationId xmlns:a16="http://schemas.microsoft.com/office/drawing/2014/main" id="{FB001463-1CC2-4B33-AEF8-F7D01EE9E1C3}"/>
              </a:ext>
            </a:extLst>
          </p:cNvPr>
          <p:cNvPicPr>
            <a:picLocks noChangeAspect="1"/>
          </p:cNvPicPr>
          <p:nvPr/>
        </p:nvPicPr>
        <p:blipFill>
          <a:blip r:embed="rId21">
            <a:extLst>
              <a:ext uri="{96DAC541-7B7A-43D3-8B79-37D633B846F1}">
                <asvg:svgBlip xmlns:asvg="http://schemas.microsoft.com/office/drawing/2016/SVG/main" r:embed="rId22"/>
              </a:ext>
            </a:extLst>
          </a:blip>
          <a:stretch>
            <a:fillRect/>
          </a:stretch>
        </p:blipFill>
        <p:spPr>
          <a:xfrm>
            <a:off x="11081224" y="3887639"/>
            <a:ext cx="251552" cy="251544"/>
          </a:xfrm>
          <a:prstGeom prst="rect">
            <a:avLst/>
          </a:prstGeom>
          <a:effectLst/>
        </p:spPr>
      </p:pic>
      <p:pic>
        <p:nvPicPr>
          <p:cNvPr id="247" name="Graphic 246">
            <a:extLst>
              <a:ext uri="{FF2B5EF4-FFF2-40B4-BE49-F238E27FC236}">
                <a16:creationId xmlns:a16="http://schemas.microsoft.com/office/drawing/2014/main" id="{EEBC4442-1364-469C-8825-4B1175F51FEA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10915867" y="6129756"/>
            <a:ext cx="251552" cy="250819"/>
          </a:xfrm>
          <a:prstGeom prst="rect">
            <a:avLst/>
          </a:prstGeom>
          <a:effectLst/>
        </p:spPr>
      </p:pic>
      <p:pic>
        <p:nvPicPr>
          <p:cNvPr id="80" name="Graphic 79">
            <a:extLst>
              <a:ext uri="{FF2B5EF4-FFF2-40B4-BE49-F238E27FC236}">
                <a16:creationId xmlns:a16="http://schemas.microsoft.com/office/drawing/2014/main" id="{13B5090B-5683-0541-A4D4-5AA2C76DF6F4}"/>
              </a:ext>
            </a:extLst>
          </p:cNvPr>
          <p:cNvPicPr>
            <a:picLocks noChangeAspect="1"/>
          </p:cNvPicPr>
          <p:nvPr/>
        </p:nvPicPr>
        <p:blipFill>
          <a:blip r:embed="rId17">
            <a:extLst>
              <a:ext uri="{96DAC541-7B7A-43D3-8B79-37D633B846F1}">
                <asvg:svgBlip xmlns:asvg="http://schemas.microsoft.com/office/drawing/2016/SVG/main" r:embed="rId18"/>
              </a:ext>
            </a:extLst>
          </a:blip>
          <a:stretch>
            <a:fillRect/>
          </a:stretch>
        </p:blipFill>
        <p:spPr>
          <a:xfrm>
            <a:off x="11239730" y="6129389"/>
            <a:ext cx="252007" cy="252000"/>
          </a:xfrm>
          <a:prstGeom prst="rect">
            <a:avLst/>
          </a:prstGeom>
        </p:spPr>
      </p:pic>
      <p:pic>
        <p:nvPicPr>
          <p:cNvPr id="33" name="Graphic 32">
            <a:extLst>
              <a:ext uri="{FF2B5EF4-FFF2-40B4-BE49-F238E27FC236}">
                <a16:creationId xmlns:a16="http://schemas.microsoft.com/office/drawing/2014/main" id="{B675FB20-123F-4937-93C6-0167506BDAE7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4895063" y="1646249"/>
            <a:ext cx="252001" cy="252001"/>
          </a:xfrm>
          <a:prstGeom prst="rect">
            <a:avLst/>
          </a:prstGeom>
          <a:effectLst/>
        </p:spPr>
      </p:pic>
      <p:pic>
        <p:nvPicPr>
          <p:cNvPr id="34" name="Graphic 33">
            <a:extLst>
              <a:ext uri="{FF2B5EF4-FFF2-40B4-BE49-F238E27FC236}">
                <a16:creationId xmlns:a16="http://schemas.microsoft.com/office/drawing/2014/main" id="{C7536D22-3B7A-478E-A1A4-4BFCBAA513C1}"/>
              </a:ext>
            </a:extLst>
          </p:cNvPr>
          <p:cNvPicPr>
            <a:picLocks noChangeAspect="1"/>
          </p:cNvPicPr>
          <p:nvPr/>
        </p:nvPicPr>
        <p:blipFill>
          <a:blip r:embed="rId17">
            <a:extLst>
              <a:ext uri="{96DAC541-7B7A-43D3-8B79-37D633B846F1}">
                <asvg:svgBlip xmlns:asvg="http://schemas.microsoft.com/office/drawing/2016/SVG/main" r:embed="rId18"/>
              </a:ext>
            </a:extLst>
          </a:blip>
          <a:stretch>
            <a:fillRect/>
          </a:stretch>
        </p:blipFill>
        <p:spPr>
          <a:xfrm>
            <a:off x="5427244" y="1646247"/>
            <a:ext cx="252000" cy="252000"/>
          </a:xfrm>
          <a:prstGeom prst="rect">
            <a:avLst/>
          </a:prstGeom>
          <a:effectLst/>
        </p:spPr>
      </p:pic>
      <p:sp>
        <p:nvSpPr>
          <p:cNvPr id="82" name="TextBox 81">
            <a:extLst>
              <a:ext uri="{FF2B5EF4-FFF2-40B4-BE49-F238E27FC236}">
                <a16:creationId xmlns:a16="http://schemas.microsoft.com/office/drawing/2014/main" id="{8413E967-923C-CE48-B13B-2E088CB6C614}"/>
              </a:ext>
            </a:extLst>
          </p:cNvPr>
          <p:cNvSpPr txBox="1"/>
          <p:nvPr/>
        </p:nvSpPr>
        <p:spPr>
          <a:xfrm>
            <a:off x="5183800" y="1679051"/>
            <a:ext cx="188634" cy="250819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defTabSz="914377">
              <a:lnSpc>
                <a:spcPct val="110000"/>
              </a:lnSpc>
              <a:spcAft>
                <a:spcPts val="1200"/>
              </a:spcAft>
            </a:pPr>
            <a:r>
              <a:rPr lang="en-US" sz="1100" b="1">
                <a:solidFill>
                  <a:srgbClr val="FFFFFF"/>
                </a:solidFill>
                <a:latin typeface="CiscoSansTT Light" panose="020B0503020201020303" pitchFamily="34" charset="0"/>
                <a:ea typeface="ＭＳ Ｐゴシック" charset="0"/>
                <a:cs typeface="CiscoSansTT Light" panose="020B0503020201020303" pitchFamily="34" charset="0"/>
              </a:rPr>
              <a:t>x2</a:t>
            </a:r>
          </a:p>
        </p:txBody>
      </p:sp>
      <p:pic>
        <p:nvPicPr>
          <p:cNvPr id="107" name="Graphic 106">
            <a:extLst>
              <a:ext uri="{FF2B5EF4-FFF2-40B4-BE49-F238E27FC236}">
                <a16:creationId xmlns:a16="http://schemas.microsoft.com/office/drawing/2014/main" id="{98CAAF8A-108C-47C7-8619-94536C041CEF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6869279" y="1646247"/>
            <a:ext cx="251555" cy="250819"/>
          </a:xfrm>
          <a:prstGeom prst="rect">
            <a:avLst/>
          </a:prstGeom>
          <a:effectLst/>
        </p:spPr>
      </p:pic>
      <p:pic>
        <p:nvPicPr>
          <p:cNvPr id="103" name="Graphic 102">
            <a:extLst>
              <a:ext uri="{FF2B5EF4-FFF2-40B4-BE49-F238E27FC236}">
                <a16:creationId xmlns:a16="http://schemas.microsoft.com/office/drawing/2014/main" id="{61D36B08-4321-4484-9B3E-D4DFF4E847C8}"/>
              </a:ext>
            </a:extLst>
          </p:cNvPr>
          <p:cNvPicPr>
            <a:picLocks noChangeAspect="1"/>
          </p:cNvPicPr>
          <p:nvPr/>
        </p:nvPicPr>
        <p:blipFill>
          <a:blip r:embed="rId17">
            <a:extLst>
              <a:ext uri="{96DAC541-7B7A-43D3-8B79-37D633B846F1}">
                <asvg:svgBlip xmlns:asvg="http://schemas.microsoft.com/office/drawing/2016/SVG/main" r:embed="rId18"/>
              </a:ext>
            </a:extLst>
          </a:blip>
          <a:stretch>
            <a:fillRect/>
          </a:stretch>
        </p:blipFill>
        <p:spPr>
          <a:xfrm>
            <a:off x="7397907" y="1645884"/>
            <a:ext cx="251552" cy="251544"/>
          </a:xfrm>
          <a:prstGeom prst="rect">
            <a:avLst/>
          </a:prstGeom>
          <a:effectLst/>
        </p:spPr>
      </p:pic>
      <p:sp>
        <p:nvSpPr>
          <p:cNvPr id="85" name="TextBox 84">
            <a:extLst>
              <a:ext uri="{FF2B5EF4-FFF2-40B4-BE49-F238E27FC236}">
                <a16:creationId xmlns:a16="http://schemas.microsoft.com/office/drawing/2014/main" id="{F5527E39-DFD7-FF48-8588-8A0110D1F0C8}"/>
              </a:ext>
            </a:extLst>
          </p:cNvPr>
          <p:cNvSpPr txBox="1"/>
          <p:nvPr/>
        </p:nvSpPr>
        <p:spPr>
          <a:xfrm>
            <a:off x="7143153" y="1673971"/>
            <a:ext cx="188634" cy="250819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defTabSz="914377">
              <a:lnSpc>
                <a:spcPct val="110000"/>
              </a:lnSpc>
              <a:spcAft>
                <a:spcPts val="1200"/>
              </a:spcAft>
            </a:pPr>
            <a:r>
              <a:rPr lang="en-US" sz="1100" b="1">
                <a:solidFill>
                  <a:srgbClr val="FFFFFF"/>
                </a:solidFill>
                <a:latin typeface="CiscoSansTT Light" panose="020B0503020201020303" pitchFamily="34" charset="0"/>
                <a:ea typeface="ＭＳ Ｐゴシック" charset="0"/>
                <a:cs typeface="CiscoSansTT Light" panose="020B0503020201020303" pitchFamily="34" charset="0"/>
              </a:rPr>
              <a:t>x2</a:t>
            </a:r>
          </a:p>
          <a:p>
            <a:pPr defTabSz="914377">
              <a:lnSpc>
                <a:spcPct val="110000"/>
              </a:lnSpc>
              <a:spcAft>
                <a:spcPts val="1200"/>
              </a:spcAft>
            </a:pPr>
            <a:endParaRPr lang="en-US" sz="1100" b="1">
              <a:solidFill>
                <a:srgbClr val="FFFFFF"/>
              </a:solidFill>
              <a:latin typeface="CiscoSansTT Light" panose="020B0503020201020303" pitchFamily="34" charset="0"/>
              <a:ea typeface="ＭＳ Ｐゴシック" charset="0"/>
              <a:cs typeface="CiscoSansTT Light" panose="020B0503020201020303" pitchFamily="34" charset="0"/>
            </a:endParaRPr>
          </a:p>
        </p:txBody>
      </p:sp>
      <p:pic>
        <p:nvPicPr>
          <p:cNvPr id="145" name="Graphic 144">
            <a:extLst>
              <a:ext uri="{FF2B5EF4-FFF2-40B4-BE49-F238E27FC236}">
                <a16:creationId xmlns:a16="http://schemas.microsoft.com/office/drawing/2014/main" id="{9A346DBD-D804-4B21-B810-02759442EB91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8698310" y="1646247"/>
            <a:ext cx="251555" cy="250819"/>
          </a:xfrm>
          <a:prstGeom prst="rect">
            <a:avLst/>
          </a:prstGeom>
          <a:effectLst/>
        </p:spPr>
      </p:pic>
      <p:pic>
        <p:nvPicPr>
          <p:cNvPr id="272" name="Graphic 271">
            <a:extLst>
              <a:ext uri="{FF2B5EF4-FFF2-40B4-BE49-F238E27FC236}">
                <a16:creationId xmlns:a16="http://schemas.microsoft.com/office/drawing/2014/main" id="{05293EFD-58A8-4B47-B4F5-FB9D1E4745DC}"/>
              </a:ext>
            </a:extLst>
          </p:cNvPr>
          <p:cNvPicPr>
            <a:picLocks noChangeAspect="1"/>
          </p:cNvPicPr>
          <p:nvPr/>
        </p:nvPicPr>
        <p:blipFill>
          <a:blip r:embed="rId17">
            <a:extLst>
              <a:ext uri="{96DAC541-7B7A-43D3-8B79-37D633B846F1}">
                <asvg:svgBlip xmlns:asvg="http://schemas.microsoft.com/office/drawing/2016/SVG/main" r:embed="rId18"/>
              </a:ext>
            </a:extLst>
          </a:blip>
          <a:stretch>
            <a:fillRect/>
          </a:stretch>
        </p:blipFill>
        <p:spPr>
          <a:xfrm>
            <a:off x="9513310" y="1645884"/>
            <a:ext cx="251552" cy="251544"/>
          </a:xfrm>
          <a:prstGeom prst="rect">
            <a:avLst/>
          </a:prstGeom>
          <a:effectLst/>
        </p:spPr>
      </p:pic>
      <p:pic>
        <p:nvPicPr>
          <p:cNvPr id="274" name="Graphic 273">
            <a:extLst>
              <a:ext uri="{FF2B5EF4-FFF2-40B4-BE49-F238E27FC236}">
                <a16:creationId xmlns:a16="http://schemas.microsoft.com/office/drawing/2014/main" id="{88D0C61A-636A-42B2-B345-82122DD74FFE}"/>
              </a:ext>
            </a:extLst>
          </p:cNvPr>
          <p:cNvPicPr>
            <a:picLocks noChangeAspect="1"/>
          </p:cNvPicPr>
          <p:nvPr/>
        </p:nvPicPr>
        <p:blipFill>
          <a:blip r:embed="rId21">
            <a:extLst>
              <a:ext uri="{96DAC541-7B7A-43D3-8B79-37D633B846F1}">
                <asvg:svgBlip xmlns:asvg="http://schemas.microsoft.com/office/drawing/2016/SVG/main" r:embed="rId22"/>
              </a:ext>
            </a:extLst>
          </a:blip>
          <a:stretch>
            <a:fillRect/>
          </a:stretch>
        </p:blipFill>
        <p:spPr>
          <a:xfrm>
            <a:off x="9216723" y="1645884"/>
            <a:ext cx="251552" cy="251544"/>
          </a:xfrm>
          <a:prstGeom prst="rect">
            <a:avLst/>
          </a:prstGeom>
          <a:effectLst/>
        </p:spPr>
      </p:pic>
      <p:sp>
        <p:nvSpPr>
          <p:cNvPr id="86" name="TextBox 85">
            <a:extLst>
              <a:ext uri="{FF2B5EF4-FFF2-40B4-BE49-F238E27FC236}">
                <a16:creationId xmlns:a16="http://schemas.microsoft.com/office/drawing/2014/main" id="{769EF7AB-589F-BE48-B7AA-2827139AE30F}"/>
              </a:ext>
            </a:extLst>
          </p:cNvPr>
          <p:cNvSpPr txBox="1"/>
          <p:nvPr/>
        </p:nvSpPr>
        <p:spPr>
          <a:xfrm>
            <a:off x="8983192" y="1681351"/>
            <a:ext cx="188634" cy="250819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defTabSz="914377">
              <a:lnSpc>
                <a:spcPct val="110000"/>
              </a:lnSpc>
              <a:spcAft>
                <a:spcPts val="1200"/>
              </a:spcAft>
            </a:pPr>
            <a:r>
              <a:rPr lang="en-US" sz="1100" b="1">
                <a:solidFill>
                  <a:srgbClr val="FFFFFF"/>
                </a:solidFill>
                <a:latin typeface="CiscoSansTT Light" panose="020B0503020201020303" pitchFamily="34" charset="0"/>
                <a:ea typeface="ＭＳ Ｐゴシック" charset="0"/>
                <a:cs typeface="CiscoSansTT Light" panose="020B0503020201020303" pitchFamily="34" charset="0"/>
              </a:rPr>
              <a:t>x2</a:t>
            </a:r>
          </a:p>
        </p:txBody>
      </p:sp>
      <p:pic>
        <p:nvPicPr>
          <p:cNvPr id="67" name="Graphic 66">
            <a:extLst>
              <a:ext uri="{FF2B5EF4-FFF2-40B4-BE49-F238E27FC236}">
                <a16:creationId xmlns:a16="http://schemas.microsoft.com/office/drawing/2014/main" id="{32622719-ABCA-496B-98E8-3E24B574D44D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4739997" y="3888001"/>
            <a:ext cx="251555" cy="250819"/>
          </a:xfrm>
          <a:prstGeom prst="rect">
            <a:avLst/>
          </a:prstGeom>
          <a:effectLst/>
        </p:spPr>
      </p:pic>
      <p:pic>
        <p:nvPicPr>
          <p:cNvPr id="293" name="Graphic 292">
            <a:extLst>
              <a:ext uri="{FF2B5EF4-FFF2-40B4-BE49-F238E27FC236}">
                <a16:creationId xmlns:a16="http://schemas.microsoft.com/office/drawing/2014/main" id="{7D1AF2FE-25E3-4E77-9ADF-386CD5B0208E}"/>
              </a:ext>
            </a:extLst>
          </p:cNvPr>
          <p:cNvPicPr>
            <a:picLocks noChangeAspect="1"/>
          </p:cNvPicPr>
          <p:nvPr/>
        </p:nvPicPr>
        <p:blipFill>
          <a:blip r:embed="rId21">
            <a:extLst>
              <a:ext uri="{96DAC541-7B7A-43D3-8B79-37D633B846F1}">
                <asvg:svgBlip xmlns:asvg="http://schemas.microsoft.com/office/drawing/2016/SVG/main" r:embed="rId22"/>
              </a:ext>
            </a:extLst>
          </a:blip>
          <a:stretch>
            <a:fillRect/>
          </a:stretch>
        </p:blipFill>
        <p:spPr>
          <a:xfrm>
            <a:off x="5272404" y="3887639"/>
            <a:ext cx="251552" cy="251544"/>
          </a:xfrm>
          <a:prstGeom prst="rect">
            <a:avLst/>
          </a:prstGeom>
          <a:effectLst/>
        </p:spPr>
      </p:pic>
      <p:pic>
        <p:nvPicPr>
          <p:cNvPr id="294" name="Graphic 293">
            <a:extLst>
              <a:ext uri="{FF2B5EF4-FFF2-40B4-BE49-F238E27FC236}">
                <a16:creationId xmlns:a16="http://schemas.microsoft.com/office/drawing/2014/main" id="{19A6DE71-943D-48AE-8576-690492ADE0C9}"/>
              </a:ext>
            </a:extLst>
          </p:cNvPr>
          <p:cNvPicPr>
            <a:picLocks noChangeAspect="1"/>
          </p:cNvPicPr>
          <p:nvPr/>
        </p:nvPicPr>
        <p:blipFill>
          <a:blip r:embed="rId17">
            <a:extLst>
              <a:ext uri="{96DAC541-7B7A-43D3-8B79-37D633B846F1}">
                <asvg:svgBlip xmlns:asvg="http://schemas.microsoft.com/office/drawing/2016/SVG/main" r:embed="rId18"/>
              </a:ext>
            </a:extLst>
          </a:blip>
          <a:stretch>
            <a:fillRect/>
          </a:stretch>
        </p:blipFill>
        <p:spPr>
          <a:xfrm>
            <a:off x="5582757" y="3887639"/>
            <a:ext cx="251552" cy="251544"/>
          </a:xfrm>
          <a:prstGeom prst="rect">
            <a:avLst/>
          </a:prstGeom>
          <a:effectLst/>
        </p:spPr>
      </p:pic>
      <p:sp>
        <p:nvSpPr>
          <p:cNvPr id="87" name="TextBox 86">
            <a:extLst>
              <a:ext uri="{FF2B5EF4-FFF2-40B4-BE49-F238E27FC236}">
                <a16:creationId xmlns:a16="http://schemas.microsoft.com/office/drawing/2014/main" id="{36BF8958-CA59-6E4A-85E6-6EE14DC7B007}"/>
              </a:ext>
            </a:extLst>
          </p:cNvPr>
          <p:cNvSpPr txBox="1"/>
          <p:nvPr/>
        </p:nvSpPr>
        <p:spPr>
          <a:xfrm>
            <a:off x="5010346" y="3927109"/>
            <a:ext cx="188634" cy="250819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defTabSz="914377">
              <a:lnSpc>
                <a:spcPct val="110000"/>
              </a:lnSpc>
              <a:spcAft>
                <a:spcPts val="1200"/>
              </a:spcAft>
            </a:pPr>
            <a:r>
              <a:rPr lang="en-US" sz="1100" b="1">
                <a:solidFill>
                  <a:srgbClr val="FFFFFF"/>
                </a:solidFill>
                <a:latin typeface="CiscoSansTT Light" panose="020B0503020201020303" pitchFamily="34" charset="0"/>
                <a:ea typeface="ＭＳ Ｐゴシック" charset="0"/>
                <a:cs typeface="CiscoSansTT Light" panose="020B0503020201020303" pitchFamily="34" charset="0"/>
              </a:rPr>
              <a:t>x2</a:t>
            </a:r>
          </a:p>
        </p:txBody>
      </p:sp>
      <p:pic>
        <p:nvPicPr>
          <p:cNvPr id="157" name="Graphic 156">
            <a:extLst>
              <a:ext uri="{FF2B5EF4-FFF2-40B4-BE49-F238E27FC236}">
                <a16:creationId xmlns:a16="http://schemas.microsoft.com/office/drawing/2014/main" id="{99AFA29A-8146-474B-8D1E-98895FCE52C1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8698310" y="3888001"/>
            <a:ext cx="251555" cy="250819"/>
          </a:xfrm>
          <a:prstGeom prst="rect">
            <a:avLst/>
          </a:prstGeom>
          <a:effectLst/>
        </p:spPr>
      </p:pic>
      <p:pic>
        <p:nvPicPr>
          <p:cNvPr id="155" name="Graphic 154">
            <a:extLst>
              <a:ext uri="{FF2B5EF4-FFF2-40B4-BE49-F238E27FC236}">
                <a16:creationId xmlns:a16="http://schemas.microsoft.com/office/drawing/2014/main" id="{8CB98E2C-0141-4B1D-8F52-31F4604C9C60}"/>
              </a:ext>
            </a:extLst>
          </p:cNvPr>
          <p:cNvPicPr>
            <a:picLocks noChangeAspect="1"/>
          </p:cNvPicPr>
          <p:nvPr/>
        </p:nvPicPr>
        <p:blipFill>
          <a:blip r:embed="rId19">
            <a:extLst>
              <a:ext uri="{96DAC541-7B7A-43D3-8B79-37D633B846F1}">
                <asvg:svgBlip xmlns:asvg="http://schemas.microsoft.com/office/drawing/2016/SVG/main" r:embed="rId20"/>
              </a:ext>
            </a:extLst>
          </a:blip>
          <a:stretch>
            <a:fillRect/>
          </a:stretch>
        </p:blipFill>
        <p:spPr>
          <a:xfrm>
            <a:off x="9513310" y="3887635"/>
            <a:ext cx="251552" cy="251552"/>
          </a:xfrm>
          <a:prstGeom prst="rect">
            <a:avLst/>
          </a:prstGeom>
          <a:effectLst/>
        </p:spPr>
      </p:pic>
      <p:pic>
        <p:nvPicPr>
          <p:cNvPr id="153" name="Graphic 152">
            <a:extLst>
              <a:ext uri="{FF2B5EF4-FFF2-40B4-BE49-F238E27FC236}">
                <a16:creationId xmlns:a16="http://schemas.microsoft.com/office/drawing/2014/main" id="{614532E8-3CC0-42C2-82B0-1E1C7A99776E}"/>
              </a:ext>
            </a:extLst>
          </p:cNvPr>
          <p:cNvPicPr>
            <a:picLocks noChangeAspect="1"/>
          </p:cNvPicPr>
          <p:nvPr/>
        </p:nvPicPr>
        <p:blipFill>
          <a:blip r:embed="rId17">
            <a:extLst>
              <a:ext uri="{96DAC541-7B7A-43D3-8B79-37D633B846F1}">
                <asvg:svgBlip xmlns:asvg="http://schemas.microsoft.com/office/drawing/2016/SVG/main" r:embed="rId18"/>
              </a:ext>
            </a:extLst>
          </a:blip>
          <a:stretch>
            <a:fillRect/>
          </a:stretch>
        </p:blipFill>
        <p:spPr>
          <a:xfrm>
            <a:off x="9216723" y="3887639"/>
            <a:ext cx="251552" cy="251544"/>
          </a:xfrm>
          <a:prstGeom prst="rect">
            <a:avLst/>
          </a:prstGeom>
          <a:effectLst/>
        </p:spPr>
      </p:pic>
      <p:sp>
        <p:nvSpPr>
          <p:cNvPr id="88" name="TextBox 87">
            <a:extLst>
              <a:ext uri="{FF2B5EF4-FFF2-40B4-BE49-F238E27FC236}">
                <a16:creationId xmlns:a16="http://schemas.microsoft.com/office/drawing/2014/main" id="{602E8A9C-E328-0341-BDEF-0B8F61612934}"/>
              </a:ext>
            </a:extLst>
          </p:cNvPr>
          <p:cNvSpPr txBox="1"/>
          <p:nvPr/>
        </p:nvSpPr>
        <p:spPr>
          <a:xfrm>
            <a:off x="8964803" y="3929409"/>
            <a:ext cx="188634" cy="250819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defTabSz="914377">
              <a:lnSpc>
                <a:spcPct val="110000"/>
              </a:lnSpc>
              <a:spcAft>
                <a:spcPts val="1200"/>
              </a:spcAft>
            </a:pPr>
            <a:r>
              <a:rPr lang="en-US" sz="1100" b="1">
                <a:solidFill>
                  <a:srgbClr val="FFFFFF"/>
                </a:solidFill>
                <a:latin typeface="CiscoSansTT Light" panose="020B0503020201020303" pitchFamily="34" charset="0"/>
                <a:ea typeface="ＭＳ Ｐゴシック" charset="0"/>
                <a:cs typeface="CiscoSansTT Light" panose="020B0503020201020303" pitchFamily="34" charset="0"/>
              </a:rPr>
              <a:t>x2</a:t>
            </a:r>
          </a:p>
        </p:txBody>
      </p:sp>
      <p:pic>
        <p:nvPicPr>
          <p:cNvPr id="338" name="Graphic 337">
            <a:extLst>
              <a:ext uri="{FF2B5EF4-FFF2-40B4-BE49-F238E27FC236}">
                <a16:creationId xmlns:a16="http://schemas.microsoft.com/office/drawing/2014/main" id="{99975CB2-8C46-4623-8D81-20993AC38958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4739997" y="6129756"/>
            <a:ext cx="251555" cy="250819"/>
          </a:xfrm>
          <a:prstGeom prst="rect">
            <a:avLst/>
          </a:prstGeom>
          <a:effectLst/>
        </p:spPr>
      </p:pic>
      <p:pic>
        <p:nvPicPr>
          <p:cNvPr id="336" name="Graphic 335">
            <a:extLst>
              <a:ext uri="{FF2B5EF4-FFF2-40B4-BE49-F238E27FC236}">
                <a16:creationId xmlns:a16="http://schemas.microsoft.com/office/drawing/2014/main" id="{998571D9-7807-40BF-BFB0-9B3BCC023896}"/>
              </a:ext>
            </a:extLst>
          </p:cNvPr>
          <p:cNvPicPr>
            <a:picLocks noChangeAspect="1"/>
          </p:cNvPicPr>
          <p:nvPr/>
        </p:nvPicPr>
        <p:blipFill>
          <a:blip r:embed="rId21">
            <a:extLst>
              <a:ext uri="{96DAC541-7B7A-43D3-8B79-37D633B846F1}">
                <asvg:svgBlip xmlns:asvg="http://schemas.microsoft.com/office/drawing/2016/SVG/main" r:embed="rId22"/>
              </a:ext>
            </a:extLst>
          </a:blip>
          <a:stretch>
            <a:fillRect/>
          </a:stretch>
        </p:blipFill>
        <p:spPr>
          <a:xfrm>
            <a:off x="5272404" y="6129393"/>
            <a:ext cx="251552" cy="251544"/>
          </a:xfrm>
          <a:prstGeom prst="rect">
            <a:avLst/>
          </a:prstGeom>
          <a:effectLst/>
        </p:spPr>
      </p:pic>
      <p:pic>
        <p:nvPicPr>
          <p:cNvPr id="334" name="Graphic 333">
            <a:extLst>
              <a:ext uri="{FF2B5EF4-FFF2-40B4-BE49-F238E27FC236}">
                <a16:creationId xmlns:a16="http://schemas.microsoft.com/office/drawing/2014/main" id="{5FB88C5F-6F43-429F-9D6F-7D9B24EB78B5}"/>
              </a:ext>
            </a:extLst>
          </p:cNvPr>
          <p:cNvPicPr>
            <a:picLocks noChangeAspect="1"/>
          </p:cNvPicPr>
          <p:nvPr/>
        </p:nvPicPr>
        <p:blipFill>
          <a:blip r:embed="rId17">
            <a:extLst>
              <a:ext uri="{96DAC541-7B7A-43D3-8B79-37D633B846F1}">
                <asvg:svgBlip xmlns:asvg="http://schemas.microsoft.com/office/drawing/2016/SVG/main" r:embed="rId18"/>
              </a:ext>
            </a:extLst>
          </a:blip>
          <a:stretch>
            <a:fillRect/>
          </a:stretch>
        </p:blipFill>
        <p:spPr>
          <a:xfrm>
            <a:off x="5582757" y="6129393"/>
            <a:ext cx="251552" cy="251544"/>
          </a:xfrm>
          <a:prstGeom prst="rect">
            <a:avLst/>
          </a:prstGeom>
          <a:effectLst/>
        </p:spPr>
      </p:pic>
      <p:sp>
        <p:nvSpPr>
          <p:cNvPr id="89" name="TextBox 88">
            <a:extLst>
              <a:ext uri="{FF2B5EF4-FFF2-40B4-BE49-F238E27FC236}">
                <a16:creationId xmlns:a16="http://schemas.microsoft.com/office/drawing/2014/main" id="{CF678390-1A87-A640-8DB1-7A39595EA8BB}"/>
              </a:ext>
            </a:extLst>
          </p:cNvPr>
          <p:cNvSpPr txBox="1"/>
          <p:nvPr/>
        </p:nvSpPr>
        <p:spPr>
          <a:xfrm>
            <a:off x="5024256" y="6178309"/>
            <a:ext cx="188634" cy="250819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defTabSz="914377">
              <a:lnSpc>
                <a:spcPct val="110000"/>
              </a:lnSpc>
              <a:spcAft>
                <a:spcPts val="1200"/>
              </a:spcAft>
            </a:pPr>
            <a:r>
              <a:rPr lang="en-US" sz="1100" b="1">
                <a:solidFill>
                  <a:srgbClr val="FFFFFF"/>
                </a:solidFill>
                <a:latin typeface="CiscoSansTT Light" panose="020B0503020201020303" pitchFamily="34" charset="0"/>
                <a:ea typeface="ＭＳ Ｐゴシック" charset="0"/>
                <a:cs typeface="CiscoSansTT Light" panose="020B0503020201020303" pitchFamily="34" charset="0"/>
              </a:rPr>
              <a:t>x2</a:t>
            </a:r>
          </a:p>
        </p:txBody>
      </p:sp>
      <p:pic>
        <p:nvPicPr>
          <p:cNvPr id="170" name="Graphic 169">
            <a:extLst>
              <a:ext uri="{FF2B5EF4-FFF2-40B4-BE49-F238E27FC236}">
                <a16:creationId xmlns:a16="http://schemas.microsoft.com/office/drawing/2014/main" id="{8D201C44-E2C8-4827-8165-FAEB4F4A049C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8835542" y="6129756"/>
            <a:ext cx="251555" cy="250819"/>
          </a:xfrm>
          <a:prstGeom prst="rect">
            <a:avLst/>
          </a:prstGeom>
          <a:effectLst/>
        </p:spPr>
      </p:pic>
      <p:pic>
        <p:nvPicPr>
          <p:cNvPr id="79" name="Graphic 78">
            <a:extLst>
              <a:ext uri="{FF2B5EF4-FFF2-40B4-BE49-F238E27FC236}">
                <a16:creationId xmlns:a16="http://schemas.microsoft.com/office/drawing/2014/main" id="{A2E38344-405A-234B-802E-C59C89671083}"/>
              </a:ext>
            </a:extLst>
          </p:cNvPr>
          <p:cNvPicPr>
            <a:picLocks noChangeAspect="1"/>
          </p:cNvPicPr>
          <p:nvPr/>
        </p:nvPicPr>
        <p:blipFill>
          <a:blip r:embed="rId17">
            <a:extLst>
              <a:ext uri="{96DAC541-7B7A-43D3-8B79-37D633B846F1}">
                <asvg:svgBlip xmlns:asvg="http://schemas.microsoft.com/office/drawing/2016/SVG/main" r:embed="rId18"/>
              </a:ext>
            </a:extLst>
          </a:blip>
          <a:stretch>
            <a:fillRect/>
          </a:stretch>
        </p:blipFill>
        <p:spPr>
          <a:xfrm>
            <a:off x="9375623" y="6129389"/>
            <a:ext cx="252007" cy="252000"/>
          </a:xfrm>
          <a:prstGeom prst="rect">
            <a:avLst/>
          </a:prstGeom>
        </p:spPr>
      </p:pic>
      <p:sp>
        <p:nvSpPr>
          <p:cNvPr id="90" name="TextBox 89">
            <a:extLst>
              <a:ext uri="{FF2B5EF4-FFF2-40B4-BE49-F238E27FC236}">
                <a16:creationId xmlns:a16="http://schemas.microsoft.com/office/drawing/2014/main" id="{07E976C3-4A65-664F-849F-4162C851A937}"/>
              </a:ext>
            </a:extLst>
          </p:cNvPr>
          <p:cNvSpPr txBox="1"/>
          <p:nvPr/>
        </p:nvSpPr>
        <p:spPr>
          <a:xfrm>
            <a:off x="9105060" y="6186480"/>
            <a:ext cx="188634" cy="250819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defTabSz="914377">
              <a:lnSpc>
                <a:spcPct val="110000"/>
              </a:lnSpc>
              <a:spcAft>
                <a:spcPts val="1200"/>
              </a:spcAft>
            </a:pPr>
            <a:r>
              <a:rPr lang="en-US" sz="1100" b="1">
                <a:solidFill>
                  <a:srgbClr val="FFFFFF"/>
                </a:solidFill>
                <a:latin typeface="CiscoSansTT Light" panose="020B0503020201020303" pitchFamily="34" charset="0"/>
                <a:ea typeface="ＭＳ Ｐゴシック" charset="0"/>
                <a:cs typeface="CiscoSansTT Light" panose="020B0503020201020303" pitchFamily="34" charset="0"/>
              </a:rPr>
              <a:t>x2</a:t>
            </a:r>
          </a:p>
        </p:txBody>
      </p:sp>
      <p:sp>
        <p:nvSpPr>
          <p:cNvPr id="91" name="Title 15">
            <a:extLst>
              <a:ext uri="{FF2B5EF4-FFF2-40B4-BE49-F238E27FC236}">
                <a16:creationId xmlns:a16="http://schemas.microsoft.com/office/drawing/2014/main" id="{7FA1439E-AD02-4D3E-841F-87DB099951DD}"/>
              </a:ext>
            </a:extLst>
          </p:cNvPr>
          <p:cNvSpPr txBox="1">
            <a:spLocks/>
          </p:cNvSpPr>
          <p:nvPr/>
        </p:nvSpPr>
        <p:spPr>
          <a:xfrm>
            <a:off x="542424" y="2738967"/>
            <a:ext cx="3103033" cy="865717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3000" b="0" i="0" u="none" strike="noStrike" cap="none">
                <a:solidFill>
                  <a:schemeClr val="bg2"/>
                </a:solidFill>
                <a:latin typeface="+mj-lt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 defTabSz="1219170"/>
            <a:r>
              <a:rPr lang="en-GB" sz="2400" kern="0"/>
              <a:t>Business Critical Services Engagement</a:t>
            </a:r>
            <a:endParaRPr lang="en-US" sz="2400" kern="0"/>
          </a:p>
        </p:txBody>
      </p:sp>
      <p:sp>
        <p:nvSpPr>
          <p:cNvPr id="92" name="Text Placeholder 2">
            <a:extLst>
              <a:ext uri="{FF2B5EF4-FFF2-40B4-BE49-F238E27FC236}">
                <a16:creationId xmlns:a16="http://schemas.microsoft.com/office/drawing/2014/main" id="{35E5208A-DBE0-4979-BA4E-8A096546C27D}"/>
              </a:ext>
            </a:extLst>
          </p:cNvPr>
          <p:cNvSpPr txBox="1">
            <a:spLocks/>
          </p:cNvSpPr>
          <p:nvPr/>
        </p:nvSpPr>
        <p:spPr>
          <a:xfrm>
            <a:off x="211640" y="1081107"/>
            <a:ext cx="3764597" cy="59286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10000"/>
              </a:lnSpc>
              <a:spcBef>
                <a:spcPts val="0"/>
              </a:spcBef>
              <a:spcAft>
                <a:spcPts val="160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chemeClr val="tx1"/>
                </a:solidFill>
                <a:latin typeface="+mn-lt"/>
                <a:ea typeface="Arial"/>
                <a:cs typeface="Arial"/>
                <a:sym typeface="Arial"/>
              </a:defRPr>
            </a:lvl1pPr>
            <a:lvl2pPr marL="143996" marR="0" lvl="1" indent="143996" algn="l" rtl="0">
              <a:lnSpc>
                <a:spcPct val="110000"/>
              </a:lnSpc>
              <a:spcBef>
                <a:spcPts val="0"/>
              </a:spcBef>
              <a:spcAft>
                <a:spcPts val="160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chemeClr val="tx1"/>
                </a:solidFill>
                <a:latin typeface="+mn-lt"/>
                <a:ea typeface="Arial"/>
                <a:cs typeface="Arial"/>
                <a:sym typeface="Arial"/>
              </a:defRPr>
            </a:lvl2pPr>
            <a:lvl3pPr marL="287993" marR="0" lvl="2" indent="287993" algn="l" rtl="0">
              <a:lnSpc>
                <a:spcPct val="110000"/>
              </a:lnSpc>
              <a:spcBef>
                <a:spcPts val="0"/>
              </a:spcBef>
              <a:spcAft>
                <a:spcPts val="160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chemeClr val="tx1"/>
                </a:solidFill>
                <a:latin typeface="+mn-lt"/>
                <a:ea typeface="Arial"/>
                <a:cs typeface="Arial"/>
                <a:sym typeface="Arial"/>
              </a:defRPr>
            </a:lvl3pPr>
            <a:lvl4pPr marL="431989" marR="0" lvl="3" indent="431989" algn="l" rtl="0">
              <a:lnSpc>
                <a:spcPct val="110000"/>
              </a:lnSpc>
              <a:spcBef>
                <a:spcPts val="0"/>
              </a:spcBef>
              <a:spcAft>
                <a:spcPts val="160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chemeClr val="tx1"/>
                </a:solidFill>
                <a:latin typeface="+mn-lt"/>
                <a:ea typeface="Arial"/>
                <a:cs typeface="Arial"/>
                <a:sym typeface="Arial"/>
              </a:defRPr>
            </a:lvl4pPr>
            <a:lvl5pPr marL="575986" marR="0" lvl="4" indent="575986" algn="l" rtl="0">
              <a:lnSpc>
                <a:spcPct val="110000"/>
              </a:lnSpc>
              <a:spcBef>
                <a:spcPts val="0"/>
              </a:spcBef>
              <a:spcAft>
                <a:spcPts val="160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chemeClr val="tx1"/>
                </a:solidFill>
                <a:latin typeface="+mn-lt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/>
            <a:r>
              <a:rPr lang="en-GB" sz="4000" kern="0">
                <a:solidFill>
                  <a:schemeClr val="accent1"/>
                </a:solidFill>
              </a:rPr>
              <a:t>Essentials Tier</a:t>
            </a:r>
            <a:endParaRPr lang="en-US" sz="2400" kern="0">
              <a:solidFill>
                <a:schemeClr val="accent1"/>
              </a:solidFill>
            </a:endParaRPr>
          </a:p>
          <a:p>
            <a:pPr algn="ctr"/>
            <a:r>
              <a:rPr lang="en-GB" sz="2400" kern="0">
                <a:solidFill>
                  <a:schemeClr val="accent1"/>
                </a:solidFill>
              </a:rPr>
              <a:t>12-month example</a:t>
            </a:r>
            <a:endParaRPr lang="en-US" sz="2400" kern="0">
              <a:solidFill>
                <a:schemeClr val="accent1"/>
              </a:solidFill>
            </a:endParaRPr>
          </a:p>
        </p:txBody>
      </p:sp>
      <p:grpSp>
        <p:nvGrpSpPr>
          <p:cNvPr id="106" name="Group 105">
            <a:extLst>
              <a:ext uri="{FF2B5EF4-FFF2-40B4-BE49-F238E27FC236}">
                <a16:creationId xmlns:a16="http://schemas.microsoft.com/office/drawing/2014/main" id="{A5155A3D-C364-4049-900F-07439418B50B}"/>
              </a:ext>
            </a:extLst>
          </p:cNvPr>
          <p:cNvGrpSpPr/>
          <p:nvPr/>
        </p:nvGrpSpPr>
        <p:grpSpPr>
          <a:xfrm>
            <a:off x="2" y="4851400"/>
            <a:ext cx="4028535" cy="1635125"/>
            <a:chOff x="1369" y="4322763"/>
            <a:chExt cx="4028534" cy="1635125"/>
          </a:xfrm>
        </p:grpSpPr>
        <p:sp>
          <p:nvSpPr>
            <p:cNvPr id="108" name="Rectangle 107">
              <a:extLst>
                <a:ext uri="{FF2B5EF4-FFF2-40B4-BE49-F238E27FC236}">
                  <a16:creationId xmlns:a16="http://schemas.microsoft.com/office/drawing/2014/main" id="{8B7CF8AD-DE92-4F64-B0E0-1560268CFA56}"/>
                </a:ext>
              </a:extLst>
            </p:cNvPr>
            <p:cNvSpPr/>
            <p:nvPr/>
          </p:nvSpPr>
          <p:spPr>
            <a:xfrm>
              <a:off x="1369" y="4322763"/>
              <a:ext cx="4028534" cy="1635125"/>
            </a:xfrm>
            <a:prstGeom prst="rect">
              <a:avLst/>
            </a:prstGeom>
            <a:solidFill>
              <a:srgbClr val="F4F7FA"/>
            </a:solidFill>
            <a:ln>
              <a:noFill/>
            </a:ln>
            <a:effectLst>
              <a:outerShdw dist="25400" dir="21540000" algn="l" rotWithShape="0">
                <a:schemeClr val="accent1"/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6000" tIns="48000" rIns="96000" bIns="48000" rtlCol="0" anchor="ctr"/>
            <a:lstStyle/>
            <a:p>
              <a:pPr defTabSz="914354">
                <a:lnSpc>
                  <a:spcPct val="110000"/>
                </a:lnSpc>
                <a:spcAft>
                  <a:spcPts val="800"/>
                </a:spcAft>
                <a:defRPr/>
              </a:pPr>
              <a:endParaRPr lang="en-US" sz="1067">
                <a:solidFill>
                  <a:srgbClr val="14284A"/>
                </a:solidFill>
                <a:latin typeface="CiscoSansTT ExtraLight"/>
              </a:endParaRPr>
            </a:p>
          </p:txBody>
        </p:sp>
        <p:sp>
          <p:nvSpPr>
            <p:cNvPr id="110" name="TextBox 109">
              <a:extLst>
                <a:ext uri="{FF2B5EF4-FFF2-40B4-BE49-F238E27FC236}">
                  <a16:creationId xmlns:a16="http://schemas.microsoft.com/office/drawing/2014/main" id="{140A155F-8C56-4457-A7A6-89D3DE4AB10F}"/>
                </a:ext>
              </a:extLst>
            </p:cNvPr>
            <p:cNvSpPr txBox="1"/>
            <p:nvPr/>
          </p:nvSpPr>
          <p:spPr>
            <a:xfrm>
              <a:off x="719138" y="4500060"/>
              <a:ext cx="582443" cy="1716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noAutofit/>
            </a:bodyPr>
            <a:lstStyle/>
            <a:p>
              <a:pPr defTabSz="914354">
                <a:defRPr/>
              </a:pPr>
              <a:r>
                <a:rPr lang="en-US" sz="1400" b="1">
                  <a:solidFill>
                    <a:srgbClr val="00BCEB"/>
                  </a:solidFill>
                  <a:latin typeface="CiscoSansTT ExtraLight"/>
                </a:rPr>
                <a:t>Legend</a:t>
              </a:r>
            </a:p>
          </p:txBody>
        </p:sp>
        <p:pic>
          <p:nvPicPr>
            <p:cNvPr id="111" name="Graphic 110">
              <a:extLst>
                <a:ext uri="{FF2B5EF4-FFF2-40B4-BE49-F238E27FC236}">
                  <a16:creationId xmlns:a16="http://schemas.microsoft.com/office/drawing/2014/main" id="{ADBBA72F-9FDC-405C-B3D9-E0248761E8AD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>
              <a:extLst>
                <a:ext uri="{96DAC541-7B7A-43D3-8B79-37D633B846F1}">
                  <asvg:svgBlip xmlns:asvg="http://schemas.microsoft.com/office/drawing/2016/SVG/main" r:embed="rId16"/>
                </a:ext>
              </a:extLst>
            </a:blip>
            <a:stretch>
              <a:fillRect/>
            </a:stretch>
          </p:blipFill>
          <p:spPr>
            <a:xfrm>
              <a:off x="719138" y="4899769"/>
              <a:ext cx="252737" cy="252000"/>
            </a:xfrm>
            <a:prstGeom prst="rect">
              <a:avLst/>
            </a:prstGeom>
          </p:spPr>
        </p:pic>
        <p:pic>
          <p:nvPicPr>
            <p:cNvPr id="112" name="Graphic 111">
              <a:extLst>
                <a:ext uri="{FF2B5EF4-FFF2-40B4-BE49-F238E27FC236}">
                  <a16:creationId xmlns:a16="http://schemas.microsoft.com/office/drawing/2014/main" id="{F5402B5C-830B-4ED1-958A-5E3C30CA97B5}"/>
                </a:ext>
              </a:extLst>
            </p:cNvPr>
            <p:cNvPicPr>
              <a:picLocks noChangeAspect="1"/>
            </p:cNvPicPr>
            <p:nvPr/>
          </p:nvPicPr>
          <p:blipFill>
            <a:blip r:embed="rId21">
              <a:extLst>
                <a:ext uri="{96DAC541-7B7A-43D3-8B79-37D633B846F1}">
                  <asvg:svgBlip xmlns:asvg="http://schemas.microsoft.com/office/drawing/2016/SVG/main" r:embed="rId22"/>
                </a:ext>
              </a:extLst>
            </a:blip>
            <a:stretch>
              <a:fillRect/>
            </a:stretch>
          </p:blipFill>
          <p:spPr>
            <a:xfrm>
              <a:off x="2125890" y="4899769"/>
              <a:ext cx="252007" cy="252000"/>
            </a:xfrm>
            <a:prstGeom prst="rect">
              <a:avLst/>
            </a:prstGeom>
          </p:spPr>
        </p:pic>
        <p:sp>
          <p:nvSpPr>
            <p:cNvPr id="113" name="TextBox 112">
              <a:extLst>
                <a:ext uri="{FF2B5EF4-FFF2-40B4-BE49-F238E27FC236}">
                  <a16:creationId xmlns:a16="http://schemas.microsoft.com/office/drawing/2014/main" id="{21887E04-C32A-4AF0-B8D4-4CF3F5C737CB}"/>
                </a:ext>
              </a:extLst>
            </p:cNvPr>
            <p:cNvSpPr txBox="1"/>
            <p:nvPr/>
          </p:nvSpPr>
          <p:spPr>
            <a:xfrm>
              <a:off x="1025598" y="4815761"/>
              <a:ext cx="865412" cy="420016"/>
            </a:xfrm>
            <a:prstGeom prst="rect">
              <a:avLst/>
            </a:prstGeom>
            <a:noFill/>
          </p:spPr>
          <p:txBody>
            <a:bodyPr wrap="square" lIns="0" tIns="0" rIns="0" bIns="0" rtlCol="0" anchor="ctr" anchorCtr="0">
              <a:noAutofit/>
            </a:bodyPr>
            <a:lstStyle/>
            <a:p>
              <a:pPr defTabSz="914354">
                <a:spcAft>
                  <a:spcPts val="1800"/>
                </a:spcAft>
                <a:defRPr/>
              </a:pPr>
              <a:r>
                <a:rPr lang="en-US" sz="933" spc="-13">
                  <a:solidFill>
                    <a:schemeClr val="bg2"/>
                  </a:solidFill>
                  <a:latin typeface="CiscoSansTT Light" panose="020B0503020201020303" pitchFamily="34" charset="0"/>
                  <a:cs typeface="CiscoSansTT Light" panose="020B0503020201020303" pitchFamily="34" charset="0"/>
                </a:rPr>
                <a:t>Operational Insights Review</a:t>
              </a:r>
            </a:p>
          </p:txBody>
        </p:sp>
        <p:pic>
          <p:nvPicPr>
            <p:cNvPr id="114" name="Graphic 113">
              <a:extLst>
                <a:ext uri="{FF2B5EF4-FFF2-40B4-BE49-F238E27FC236}">
                  <a16:creationId xmlns:a16="http://schemas.microsoft.com/office/drawing/2014/main" id="{135D27C1-CFA2-47B7-90E7-0AE360756782}"/>
                </a:ext>
              </a:extLst>
            </p:cNvPr>
            <p:cNvPicPr>
              <a:picLocks noChangeAspect="1"/>
            </p:cNvPicPr>
            <p:nvPr/>
          </p:nvPicPr>
          <p:blipFill>
            <a:blip r:embed="rId17">
              <a:extLst>
                <a:ext uri="{96DAC541-7B7A-43D3-8B79-37D633B846F1}">
                  <asvg:svgBlip xmlns:asvg="http://schemas.microsoft.com/office/drawing/2016/SVG/main" r:embed="rId18"/>
                </a:ext>
              </a:extLst>
            </a:blip>
            <a:stretch>
              <a:fillRect/>
            </a:stretch>
          </p:blipFill>
          <p:spPr>
            <a:xfrm>
              <a:off x="719138" y="5430827"/>
              <a:ext cx="252007" cy="252000"/>
            </a:xfrm>
            <a:prstGeom prst="rect">
              <a:avLst/>
            </a:prstGeom>
          </p:spPr>
        </p:pic>
        <p:sp>
          <p:nvSpPr>
            <p:cNvPr id="116" name="TextBox 115">
              <a:extLst>
                <a:ext uri="{FF2B5EF4-FFF2-40B4-BE49-F238E27FC236}">
                  <a16:creationId xmlns:a16="http://schemas.microsoft.com/office/drawing/2014/main" id="{A498FB50-86E7-4E15-85E6-1935DC773472}"/>
                </a:ext>
              </a:extLst>
            </p:cNvPr>
            <p:cNvSpPr txBox="1"/>
            <p:nvPr/>
          </p:nvSpPr>
          <p:spPr>
            <a:xfrm>
              <a:off x="2426429" y="4815762"/>
              <a:ext cx="917175" cy="420016"/>
            </a:xfrm>
            <a:prstGeom prst="rect">
              <a:avLst/>
            </a:prstGeom>
            <a:noFill/>
          </p:spPr>
          <p:txBody>
            <a:bodyPr wrap="square" lIns="0" tIns="0" rIns="0" bIns="0" rtlCol="0" anchor="ctr" anchorCtr="0">
              <a:noAutofit/>
            </a:bodyPr>
            <a:lstStyle/>
            <a:p>
              <a:pPr defTabSz="914354">
                <a:spcAft>
                  <a:spcPts val="1800"/>
                </a:spcAft>
                <a:defRPr/>
              </a:pPr>
              <a:r>
                <a:rPr lang="en-US" sz="933" spc="-13">
                  <a:solidFill>
                    <a:schemeClr val="bg2"/>
                  </a:solidFill>
                  <a:latin typeface="CiscoSansTT Light" panose="020B0503020201020303" pitchFamily="34" charset="0"/>
                  <a:cs typeface="CiscoSansTT Light" panose="020B0503020201020303" pitchFamily="34" charset="0"/>
                </a:rPr>
                <a:t>Change </a:t>
              </a:r>
              <a:br>
                <a:rPr lang="en-US" sz="933" spc="-13">
                  <a:solidFill>
                    <a:schemeClr val="bg2"/>
                  </a:solidFill>
                  <a:latin typeface="CiscoSansTT Light" panose="020B0503020201020303" pitchFamily="34" charset="0"/>
                  <a:cs typeface="CiscoSansTT Light" panose="020B0503020201020303" pitchFamily="34" charset="0"/>
                </a:rPr>
              </a:br>
              <a:r>
                <a:rPr lang="en-US" sz="933" spc="-13">
                  <a:solidFill>
                    <a:schemeClr val="bg2"/>
                  </a:solidFill>
                  <a:latin typeface="CiscoSansTT Light" panose="020B0503020201020303" pitchFamily="34" charset="0"/>
                  <a:cs typeface="CiscoSansTT Light" panose="020B0503020201020303" pitchFamily="34" charset="0"/>
                </a:rPr>
                <a:t>Window Support</a:t>
              </a:r>
            </a:p>
          </p:txBody>
        </p:sp>
        <p:sp>
          <p:nvSpPr>
            <p:cNvPr id="117" name="TextBox 116">
              <a:extLst>
                <a:ext uri="{FF2B5EF4-FFF2-40B4-BE49-F238E27FC236}">
                  <a16:creationId xmlns:a16="http://schemas.microsoft.com/office/drawing/2014/main" id="{43854BF8-43B5-47A1-9828-9339205E6D7E}"/>
                </a:ext>
              </a:extLst>
            </p:cNvPr>
            <p:cNvSpPr txBox="1"/>
            <p:nvPr/>
          </p:nvSpPr>
          <p:spPr>
            <a:xfrm>
              <a:off x="1025598" y="5346819"/>
              <a:ext cx="865412" cy="420016"/>
            </a:xfrm>
            <a:prstGeom prst="rect">
              <a:avLst/>
            </a:prstGeom>
            <a:noFill/>
          </p:spPr>
          <p:txBody>
            <a:bodyPr wrap="square" lIns="0" tIns="0" rIns="0" bIns="0" rtlCol="0" anchor="ctr" anchorCtr="0">
              <a:noAutofit/>
            </a:bodyPr>
            <a:lstStyle/>
            <a:p>
              <a:pPr defTabSz="914354">
                <a:spcAft>
                  <a:spcPts val="1800"/>
                </a:spcAft>
                <a:defRPr/>
              </a:pPr>
              <a:r>
                <a:rPr lang="en-US" sz="933" spc="-13">
                  <a:solidFill>
                    <a:schemeClr val="bg2"/>
                  </a:solidFill>
                  <a:latin typeface="CiscoSansTT Light" panose="020B0503020201020303" pitchFamily="34" charset="0"/>
                  <a:cs typeface="CiscoSansTT Light" panose="020B0503020201020303" pitchFamily="34" charset="0"/>
                </a:rPr>
                <a:t>Ask the Experts</a:t>
              </a:r>
            </a:p>
          </p:txBody>
        </p:sp>
        <p:sp>
          <p:nvSpPr>
            <p:cNvPr id="118" name="TextBox 117">
              <a:extLst>
                <a:ext uri="{FF2B5EF4-FFF2-40B4-BE49-F238E27FC236}">
                  <a16:creationId xmlns:a16="http://schemas.microsoft.com/office/drawing/2014/main" id="{D7D02E39-4381-4F4B-975D-37A362ED6867}"/>
                </a:ext>
              </a:extLst>
            </p:cNvPr>
            <p:cNvSpPr txBox="1"/>
            <p:nvPr/>
          </p:nvSpPr>
          <p:spPr>
            <a:xfrm>
              <a:off x="2424061" y="5346819"/>
              <a:ext cx="865412" cy="420016"/>
            </a:xfrm>
            <a:prstGeom prst="rect">
              <a:avLst/>
            </a:prstGeom>
            <a:noFill/>
          </p:spPr>
          <p:txBody>
            <a:bodyPr wrap="square" lIns="0" tIns="0" rIns="0" bIns="0" rtlCol="0" anchor="ctr" anchorCtr="0">
              <a:noAutofit/>
            </a:bodyPr>
            <a:lstStyle/>
            <a:p>
              <a:pPr defTabSz="914354">
                <a:spcAft>
                  <a:spcPts val="1800"/>
                </a:spcAft>
                <a:defRPr/>
              </a:pPr>
              <a:r>
                <a:rPr lang="en-US" sz="933" spc="-13">
                  <a:solidFill>
                    <a:schemeClr val="bg2"/>
                  </a:solidFill>
                  <a:latin typeface="CiscoSansTT Light" panose="020B0503020201020303" pitchFamily="34" charset="0"/>
                  <a:cs typeface="CiscoSansTT Light" panose="020B0503020201020303" pitchFamily="34" charset="0"/>
                </a:rPr>
                <a:t>Expert Review Workshop</a:t>
              </a:r>
            </a:p>
          </p:txBody>
        </p:sp>
        <p:pic>
          <p:nvPicPr>
            <p:cNvPr id="120" name="Graphic 119">
              <a:extLst>
                <a:ext uri="{FF2B5EF4-FFF2-40B4-BE49-F238E27FC236}">
                  <a16:creationId xmlns:a16="http://schemas.microsoft.com/office/drawing/2014/main" id="{69A794A4-41D5-4145-93FD-AC2543CACB2A}"/>
                </a:ext>
              </a:extLst>
            </p:cNvPr>
            <p:cNvPicPr>
              <a:picLocks noChangeAspect="1"/>
            </p:cNvPicPr>
            <p:nvPr/>
          </p:nvPicPr>
          <p:blipFill>
            <a:blip r:embed="rId19">
              <a:extLst>
                <a:ext uri="{96DAC541-7B7A-43D3-8B79-37D633B846F1}">
                  <asvg:svgBlip xmlns:asvg="http://schemas.microsoft.com/office/drawing/2016/SVG/main" r:embed="rId20"/>
                </a:ext>
              </a:extLst>
            </a:blip>
            <a:stretch>
              <a:fillRect/>
            </a:stretch>
          </p:blipFill>
          <p:spPr>
            <a:xfrm>
              <a:off x="2125890" y="5430827"/>
              <a:ext cx="252000" cy="2520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410314995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70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" name="Rounded Rectangle 11">
            <a:extLst>
              <a:ext uri="{FF2B5EF4-FFF2-40B4-BE49-F238E27FC236}">
                <a16:creationId xmlns:a16="http://schemas.microsoft.com/office/drawing/2014/main" id="{E76A4AB2-04BE-4B3E-AC03-D209DCCAC4AC}"/>
              </a:ext>
            </a:extLst>
          </p:cNvPr>
          <p:cNvSpPr/>
          <p:nvPr/>
        </p:nvSpPr>
        <p:spPr>
          <a:xfrm>
            <a:off x="685064" y="2152059"/>
            <a:ext cx="10787800" cy="805463"/>
          </a:xfrm>
          <a:prstGeom prst="roundRect">
            <a:avLst>
              <a:gd name="adj" fmla="val 50000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095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C9E11E9F-B6DF-4318-A00E-CC1D07E2B30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Operational Insights Review</a:t>
            </a:r>
            <a:br>
              <a:rPr lang="en-US"/>
            </a:br>
            <a:r>
              <a:rPr lang="en-US" sz="2400"/>
              <a:t>Capturing Value</a:t>
            </a:r>
          </a:p>
        </p:txBody>
      </p:sp>
      <p:sp>
        <p:nvSpPr>
          <p:cNvPr id="65" name="TextBox 64">
            <a:extLst>
              <a:ext uri="{FF2B5EF4-FFF2-40B4-BE49-F238E27FC236}">
                <a16:creationId xmlns:a16="http://schemas.microsoft.com/office/drawing/2014/main" id="{5BCC6C0A-404C-B34E-BE86-CB7879CA2B8D}"/>
              </a:ext>
            </a:extLst>
          </p:cNvPr>
          <p:cNvSpPr txBox="1"/>
          <p:nvPr/>
        </p:nvSpPr>
        <p:spPr>
          <a:xfrm>
            <a:off x="961611" y="4182612"/>
            <a:ext cx="2135813" cy="139781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180975" marR="0" lvl="0" indent="-180975" algn="l" defTabSz="609585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500"/>
              </a:spcAft>
              <a:buClr>
                <a:srgbClr val="14284A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14284A"/>
                </a:solidFill>
                <a:effectLst/>
                <a:uLnTx/>
                <a:uFillTx/>
                <a:latin typeface="CiscoSansTT ExtraLight"/>
                <a:ea typeface="ＭＳ Ｐゴシック"/>
                <a:cs typeface="Arial"/>
                <a:sym typeface="Arial"/>
              </a:rPr>
              <a:t>Device configurations</a:t>
            </a:r>
          </a:p>
          <a:p>
            <a:pPr marL="180975" marR="0" lvl="0" indent="-180975" algn="l" defTabSz="609585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500"/>
              </a:spcAft>
              <a:buClr>
                <a:srgbClr val="14284A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14284A"/>
                </a:solidFill>
                <a:effectLst/>
                <a:uLnTx/>
                <a:uFillTx/>
                <a:latin typeface="CiscoSansTT ExtraLight"/>
                <a:ea typeface="ＭＳ Ｐゴシック"/>
                <a:cs typeface="Arial"/>
                <a:sym typeface="Arial"/>
              </a:rPr>
              <a:t>SW platform information</a:t>
            </a:r>
          </a:p>
          <a:p>
            <a:pPr marL="180975" marR="0" lvl="0" indent="-180975" algn="l" defTabSz="609585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500"/>
              </a:spcAft>
              <a:buClr>
                <a:srgbClr val="14284A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14284A"/>
                </a:solidFill>
                <a:effectLst/>
                <a:uLnTx/>
                <a:uFillTx/>
                <a:latin typeface="CiscoSansTT ExtraLight"/>
                <a:ea typeface="ＭＳ Ｐゴシック"/>
                <a:cs typeface="Arial"/>
                <a:sym typeface="Arial"/>
              </a:rPr>
              <a:t>HW platform information</a:t>
            </a:r>
          </a:p>
          <a:p>
            <a:pPr marL="180975" marR="0" lvl="0" indent="-180975" algn="l" defTabSz="609585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500"/>
              </a:spcAft>
              <a:buClr>
                <a:srgbClr val="14284A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14284A"/>
                </a:solidFill>
                <a:effectLst/>
                <a:uLnTx/>
                <a:uFillTx/>
                <a:latin typeface="CiscoSansTT ExtraLight"/>
                <a:ea typeface="ＭＳ Ｐゴシック"/>
                <a:cs typeface="Arial"/>
                <a:sym typeface="Arial"/>
              </a:rPr>
              <a:t>Syslogs</a:t>
            </a:r>
          </a:p>
          <a:p>
            <a:pPr marL="180975" marR="0" lvl="0" indent="-180975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00"/>
              </a:spcAft>
              <a:buClr>
                <a:srgbClr val="14284A"/>
              </a:buClr>
              <a:buSzPts val="12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14284A"/>
                </a:solidFill>
                <a:effectLst/>
                <a:uLnTx/>
                <a:uFillTx/>
                <a:latin typeface="CiscoSansTT ExtraLight"/>
                <a:ea typeface="ＭＳ Ｐゴシック"/>
                <a:cs typeface="Arial"/>
                <a:sym typeface="Arial"/>
              </a:rPr>
              <a:t>Risk and vulnerabilities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14284A"/>
              </a:solidFill>
              <a:effectLst/>
              <a:uLnTx/>
              <a:uFillTx/>
              <a:latin typeface="CiscoSansTT ExtraLight"/>
              <a:ea typeface="ＭＳ Ｐゴシック" charset="0"/>
              <a:cs typeface="Arial"/>
              <a:sym typeface="Arial"/>
            </a:endParaRPr>
          </a:p>
          <a:p>
            <a:pPr marL="285750" marR="0" lvl="0" indent="-285750" algn="l" defTabSz="609585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500"/>
              </a:spcAft>
              <a:buClr>
                <a:srgbClr val="14284A"/>
              </a:buClr>
              <a:buSzPts val="1200"/>
              <a:buFont typeface="Arial" panose="020B0604020202020204" pitchFamily="34" charset="0"/>
              <a:buChar char="•"/>
              <a:tabLst/>
              <a:defRPr/>
            </a:pPr>
            <a:endParaRPr kumimoji="0" lang="en-US" sz="1000" b="0" i="0" u="none" strike="noStrike" kern="0" cap="none" spc="0" normalizeH="0" baseline="0" noProof="0">
              <a:ln>
                <a:noFill/>
              </a:ln>
              <a:solidFill>
                <a:srgbClr val="14284A"/>
              </a:solidFill>
              <a:effectLst/>
              <a:uLnTx/>
              <a:uFillTx/>
              <a:latin typeface="CiscoSansTT ExtraLight"/>
              <a:ea typeface="ＭＳ Ｐゴシック" charset="0"/>
              <a:cs typeface="Arial"/>
              <a:sym typeface="Arial"/>
            </a:endParaRPr>
          </a:p>
        </p:txBody>
      </p:sp>
      <p:sp>
        <p:nvSpPr>
          <p:cNvPr id="86" name="TextBox 85">
            <a:extLst>
              <a:ext uri="{FF2B5EF4-FFF2-40B4-BE49-F238E27FC236}">
                <a16:creationId xmlns:a16="http://schemas.microsoft.com/office/drawing/2014/main" id="{ACB591A6-DDFD-D142-9659-685530144936}"/>
              </a:ext>
            </a:extLst>
          </p:cNvPr>
          <p:cNvSpPr txBox="1"/>
          <p:nvPr/>
        </p:nvSpPr>
        <p:spPr>
          <a:xfrm>
            <a:off x="6531402" y="4182612"/>
            <a:ext cx="1834987" cy="7386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71450" marR="0" lvl="0" indent="-171450" algn="l" defTabSz="609585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500"/>
              </a:spcAft>
              <a:buClr>
                <a:srgbClr val="14284A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14284A"/>
                </a:solidFill>
                <a:effectLst/>
                <a:uLnTx/>
                <a:uFillTx/>
                <a:latin typeface="CiscoSansTT ExtraLight"/>
                <a:ea typeface="ＭＳ Ｐゴシック" charset="0"/>
                <a:cs typeface="Arial"/>
                <a:sym typeface="Arial"/>
              </a:rPr>
              <a:t>Consulting Engineer recommendations and prioritized actionable insights</a:t>
            </a:r>
          </a:p>
        </p:txBody>
      </p:sp>
      <p:sp>
        <p:nvSpPr>
          <p:cNvPr id="87" name="TextBox 86">
            <a:extLst>
              <a:ext uri="{FF2B5EF4-FFF2-40B4-BE49-F238E27FC236}">
                <a16:creationId xmlns:a16="http://schemas.microsoft.com/office/drawing/2014/main" id="{81D2E74F-664A-C04C-A689-CD3B03EBA671}"/>
              </a:ext>
            </a:extLst>
          </p:cNvPr>
          <p:cNvSpPr txBox="1"/>
          <p:nvPr/>
        </p:nvSpPr>
        <p:spPr>
          <a:xfrm>
            <a:off x="9061514" y="4182612"/>
            <a:ext cx="2020666" cy="173380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180975" marR="0" lvl="0" indent="-180975" algn="l" defTabSz="609585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500"/>
              </a:spcAft>
              <a:buClr>
                <a:srgbClr val="14284A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14284A"/>
                </a:solidFill>
                <a:effectLst/>
                <a:uLnTx/>
                <a:uFillTx/>
                <a:latin typeface="CiscoSansTT ExtraLight"/>
                <a:ea typeface="ＭＳ Ｐゴシック"/>
                <a:cs typeface="Arial"/>
                <a:sym typeface="Arial"/>
              </a:rPr>
              <a:t>Better Software </a:t>
            </a:r>
            <a:b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14284A"/>
                </a:solidFill>
                <a:effectLst/>
                <a:uLnTx/>
                <a:uFillTx/>
                <a:latin typeface="CiscoSansTT ExtraLight"/>
                <a:ea typeface="ＭＳ Ｐゴシック"/>
                <a:cs typeface="Arial"/>
                <a:sym typeface="Arial"/>
              </a:rPr>
            </a:b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14284A"/>
                </a:solidFill>
                <a:effectLst/>
                <a:uLnTx/>
                <a:uFillTx/>
                <a:latin typeface="CiscoSansTT ExtraLight"/>
                <a:ea typeface="ＭＳ Ｐゴシック"/>
                <a:cs typeface="Arial"/>
                <a:sym typeface="Arial"/>
              </a:rPr>
              <a:t>Management </a:t>
            </a: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14284A"/>
                </a:solidFill>
                <a:effectLst/>
                <a:uLnTx/>
                <a:uFillTx/>
                <a:latin typeface="CiscoSansTT ExtraLight"/>
                <a:ea typeface="ＭＳ Ｐゴシック"/>
                <a:cs typeface="Arial"/>
                <a:sym typeface="Arial"/>
              </a:rPr>
              <a:t>Strategy</a:t>
            </a:r>
          </a:p>
          <a:p>
            <a:pPr marL="180975" marR="0" lvl="0" indent="-180975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00"/>
              </a:spcAft>
              <a:buClr>
                <a:srgbClr val="14284A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14284A"/>
                </a:solidFill>
                <a:effectLst/>
                <a:uLnTx/>
                <a:uFillTx/>
                <a:latin typeface="CiscoSansTT ExtraLight"/>
                <a:ea typeface="ＭＳ Ｐゴシック"/>
                <a:cs typeface="Arial"/>
                <a:sym typeface="Arial"/>
              </a:rPr>
              <a:t>Network performance improvements</a:t>
            </a:r>
          </a:p>
          <a:p>
            <a:pPr marL="180975" marR="0" lvl="0" indent="-180975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00"/>
              </a:spcAft>
              <a:buClr>
                <a:srgbClr val="14284A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14284A"/>
                </a:solidFill>
                <a:effectLst/>
                <a:uLnTx/>
                <a:uFillTx/>
                <a:latin typeface="CiscoSansTT ExtraLight"/>
                <a:ea typeface="ＭＳ Ｐゴシック"/>
                <a:cs typeface="Arial"/>
                <a:sym typeface="Arial"/>
              </a:rPr>
              <a:t>Less vulnerabilities </a:t>
            </a:r>
          </a:p>
          <a:p>
            <a:pPr marL="180975" marR="0" lvl="0" indent="-180975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00"/>
              </a:spcAft>
              <a:buClr>
                <a:srgbClr val="14284A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14284A"/>
                </a:solidFill>
                <a:effectLst/>
                <a:uLnTx/>
                <a:uFillTx/>
                <a:latin typeface="CiscoSansTT ExtraLight"/>
                <a:ea typeface="ＭＳ Ｐゴシック"/>
                <a:cs typeface="Arial"/>
                <a:sym typeface="Arial"/>
              </a:rPr>
              <a:t>HW migration plan</a:t>
            </a:r>
          </a:p>
          <a:p>
            <a:pPr marL="180975" marR="0" lvl="0" indent="-180975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00"/>
              </a:spcAft>
              <a:buClr>
                <a:srgbClr val="14284A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14284A"/>
                </a:solidFill>
                <a:effectLst/>
                <a:uLnTx/>
                <a:uFillTx/>
                <a:latin typeface="CiscoSansTT ExtraLight"/>
                <a:ea typeface="ＭＳ Ｐゴシック"/>
                <a:cs typeface="Arial"/>
                <a:sym typeface="Arial"/>
              </a:rPr>
              <a:t>Improved network </a:t>
            </a:r>
            <a:b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14284A"/>
                </a:solidFill>
                <a:effectLst/>
                <a:uLnTx/>
                <a:uFillTx/>
                <a:latin typeface="CiscoSansTT ExtraLight"/>
                <a:ea typeface="ＭＳ Ｐゴシック"/>
                <a:cs typeface="Arial"/>
                <a:sym typeface="Arial"/>
              </a:rPr>
            </a:b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14284A"/>
                </a:solidFill>
                <a:effectLst/>
                <a:uLnTx/>
                <a:uFillTx/>
                <a:latin typeface="CiscoSansTT ExtraLight"/>
                <a:ea typeface="ＭＳ Ｐゴシック"/>
                <a:cs typeface="Arial"/>
                <a:sym typeface="Arial"/>
              </a:rPr>
              <a:t>stability and availability</a:t>
            </a:r>
            <a:endParaRPr kumimoji="0" lang="en-US" sz="1200" b="0" i="0" u="none" strike="noStrike" kern="0" cap="none" spc="0" normalizeH="0" baseline="0" noProof="0">
              <a:ln>
                <a:noFill/>
              </a:ln>
              <a:solidFill>
                <a:srgbClr val="14284A"/>
              </a:solidFill>
              <a:effectLst/>
              <a:uLnTx/>
              <a:uFillTx/>
              <a:latin typeface="CiscoSansTT ExtraLight"/>
              <a:ea typeface="ＭＳ Ｐゴシック" charset="0"/>
              <a:cs typeface="Arial"/>
              <a:sym typeface="Arial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BA103530-4C45-412F-A7A9-4FB9183DA8C6}"/>
              </a:ext>
            </a:extLst>
          </p:cNvPr>
          <p:cNvSpPr txBox="1"/>
          <p:nvPr/>
        </p:nvSpPr>
        <p:spPr>
          <a:xfrm>
            <a:off x="3457940" y="4182612"/>
            <a:ext cx="2504710" cy="229550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180975" marR="0" lvl="0" indent="-180975" algn="l" defTabSz="609585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500"/>
              </a:spcAft>
              <a:buClr>
                <a:srgbClr val="14284A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14284A"/>
                </a:solidFill>
                <a:effectLst/>
                <a:uLnTx/>
                <a:uFillTx/>
                <a:latin typeface="CiscoSansTT ExtraLight"/>
                <a:ea typeface="ＭＳ Ｐゴシック"/>
                <a:cs typeface="Arial"/>
                <a:sym typeface="Arial"/>
              </a:rPr>
              <a:t>Data correlation with </a:t>
            </a:r>
            <a:b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14284A"/>
                </a:solidFill>
                <a:effectLst/>
                <a:uLnTx/>
                <a:uFillTx/>
                <a:latin typeface="CiscoSansTT ExtraLight"/>
                <a:ea typeface="ＭＳ Ｐゴシック"/>
                <a:cs typeface="Arial"/>
                <a:sym typeface="Arial"/>
              </a:rPr>
            </a:b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14284A"/>
                </a:solidFill>
                <a:effectLst/>
                <a:uLnTx/>
                <a:uFillTx/>
                <a:latin typeface="CiscoSansTT ExtraLight"/>
                <a:ea typeface="ＭＳ Ｐゴシック"/>
                <a:cs typeface="Arial"/>
                <a:sym typeface="Arial"/>
              </a:rPr>
              <a:t>Cisco</a:t>
            </a: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14284A"/>
                </a:solidFill>
                <a:effectLst/>
                <a:uLnTx/>
                <a:uFillTx/>
                <a:latin typeface="CiscoSansTT ExtraLight"/>
                <a:ea typeface="Helvetica Neue Light"/>
                <a:cs typeface="CiscoSansTT ExtraLight" panose="020B0303020201020303" pitchFamily="34" charset="0"/>
                <a:sym typeface="Helvetica Neue Light"/>
              </a:rPr>
              <a:t>®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14284A"/>
                </a:solidFill>
                <a:effectLst/>
                <a:uLnTx/>
                <a:uFillTx/>
                <a:latin typeface="CiscoSansTT ExtraLight"/>
                <a:ea typeface="ＭＳ Ｐゴシック"/>
                <a:cs typeface="Arial"/>
                <a:sym typeface="Arial"/>
              </a:rPr>
              <a:t> </a:t>
            </a: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14284A"/>
                </a:solidFill>
                <a:effectLst/>
                <a:uLnTx/>
                <a:uFillTx/>
                <a:latin typeface="CiscoSansTT ExtraLight"/>
                <a:ea typeface="ＭＳ Ｐゴシック"/>
                <a:cs typeface="Arial"/>
                <a:sym typeface="Arial"/>
              </a:rPr>
              <a:t>Intellectual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14284A"/>
                </a:solidFill>
                <a:effectLst/>
                <a:uLnTx/>
                <a:uFillTx/>
                <a:latin typeface="CiscoSansTT ExtraLight"/>
                <a:ea typeface="ＭＳ Ｐゴシック"/>
                <a:cs typeface="Arial"/>
                <a:sym typeface="Arial"/>
              </a:rPr>
              <a:t> </a:t>
            </a: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14284A"/>
                </a:solidFill>
                <a:effectLst/>
                <a:uLnTx/>
                <a:uFillTx/>
                <a:latin typeface="CiscoSansTT ExtraLight"/>
                <a:ea typeface="ＭＳ Ｐゴシック"/>
                <a:cs typeface="Arial"/>
                <a:sym typeface="Arial"/>
              </a:rPr>
              <a:t>capital</a:t>
            </a:r>
            <a:endParaRPr kumimoji="0" lang="en-US" sz="1200" b="0" i="0" u="none" strike="noStrike" kern="0" cap="none" spc="0" normalizeH="0" baseline="0" noProof="0">
              <a:ln>
                <a:noFill/>
              </a:ln>
              <a:solidFill>
                <a:srgbClr val="14284A"/>
              </a:solidFill>
              <a:effectLst/>
              <a:uLnTx/>
              <a:uFillTx/>
              <a:latin typeface="Arial"/>
              <a:ea typeface="ＭＳ Ｐゴシック"/>
              <a:cs typeface="Arial"/>
              <a:sym typeface="Arial"/>
            </a:endParaRPr>
          </a:p>
          <a:p>
            <a:pPr marL="180975" marR="0" lvl="0" indent="-180975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00"/>
              </a:spcAft>
              <a:buClr>
                <a:srgbClr val="14284A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14284A"/>
                </a:solidFill>
                <a:effectLst/>
                <a:uLnTx/>
                <a:uFillTx/>
                <a:latin typeface="CiscoSansTT ExtraLight"/>
                <a:ea typeface="ＭＳ Ｐゴシック"/>
                <a:cs typeface="Arial"/>
                <a:sym typeface="Arial"/>
              </a:rPr>
              <a:t>Software Analysis </a:t>
            </a:r>
            <a:b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14284A"/>
                </a:solidFill>
                <a:effectLst/>
                <a:uLnTx/>
                <a:uFillTx/>
                <a:latin typeface="CiscoSansTT ExtraLight"/>
                <a:ea typeface="ＭＳ Ｐゴシック"/>
                <a:cs typeface="Arial"/>
                <a:sym typeface="Arial"/>
              </a:rPr>
            </a:b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14284A"/>
                </a:solidFill>
                <a:effectLst/>
                <a:uLnTx/>
                <a:uFillTx/>
                <a:latin typeface="CiscoSansTT ExtraLight"/>
                <a:ea typeface="ＭＳ Ｐゴシック"/>
                <a:cs typeface="Arial"/>
                <a:sym typeface="Arial"/>
              </a:rPr>
              <a:t>&amp; Release Standards </a:t>
            </a:r>
            <a:endParaRPr kumimoji="0" lang="en-US" sz="1200" b="0" i="0" u="none" strike="noStrike" kern="0" cap="none" spc="0" normalizeH="0" baseline="0" noProof="0">
              <a:ln>
                <a:noFill/>
              </a:ln>
              <a:solidFill>
                <a:srgbClr val="14284A"/>
              </a:solidFill>
              <a:effectLst/>
              <a:uLnTx/>
              <a:uFillTx/>
              <a:latin typeface="Arial"/>
              <a:ea typeface="+mn-lt"/>
              <a:cs typeface="CiscoSansTT ExtraLight"/>
              <a:sym typeface="Arial"/>
            </a:endParaRPr>
          </a:p>
          <a:p>
            <a:pPr marL="180975" marR="0" lvl="0" indent="-180975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00"/>
              </a:spcAft>
              <a:buClr>
                <a:srgbClr val="14284A"/>
              </a:buClr>
              <a:buSzPct val="100000"/>
              <a:buFont typeface="Arial,Sans-Serif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14284A"/>
                </a:solidFill>
                <a:effectLst/>
                <a:uLnTx/>
                <a:uFillTx/>
                <a:latin typeface="CiscoSansTT ExtraLight"/>
                <a:ea typeface="ＭＳ Ｐゴシック"/>
                <a:cs typeface="Arial"/>
                <a:sym typeface="Arial"/>
              </a:rPr>
              <a:t>Configuration Best Practices</a:t>
            </a:r>
            <a:endParaRPr kumimoji="0" lang="en-US" sz="1200" b="0" i="0" u="none" strike="noStrike" kern="0" cap="none" spc="0" normalizeH="0" baseline="0" noProof="0">
              <a:ln>
                <a:noFill/>
              </a:ln>
              <a:solidFill>
                <a:srgbClr val="14284A"/>
              </a:solidFill>
              <a:effectLst/>
              <a:uLnTx/>
              <a:uFillTx/>
              <a:latin typeface="Arial"/>
              <a:ea typeface="+mn-lt"/>
              <a:cs typeface="CiscoSansTT ExtraLight"/>
              <a:sym typeface="Arial"/>
            </a:endParaRPr>
          </a:p>
          <a:p>
            <a:pPr marL="180975" marR="0" lvl="0" indent="-180975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00"/>
              </a:spcAft>
              <a:buClr>
                <a:srgbClr val="14284A"/>
              </a:buClr>
              <a:buSzPct val="100000"/>
              <a:buFont typeface="Arial,Sans-Serif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14284A"/>
                </a:solidFill>
                <a:effectLst/>
                <a:uLnTx/>
                <a:uFillTx/>
                <a:latin typeface="CiscoSansTT ExtraLight"/>
                <a:ea typeface="ＭＳ Ｐゴシック"/>
                <a:cs typeface="Arial"/>
                <a:sym typeface="Arial"/>
              </a:rPr>
              <a:t>Field Notices and Syslog Analysis</a:t>
            </a:r>
            <a:endParaRPr kumimoji="0" lang="en-US" sz="1200" b="0" i="0" u="none" strike="noStrike" kern="0" cap="none" spc="0" normalizeH="0" baseline="0" noProof="0">
              <a:ln>
                <a:noFill/>
              </a:ln>
              <a:solidFill>
                <a:srgbClr val="14284A"/>
              </a:solidFill>
              <a:effectLst/>
              <a:uLnTx/>
              <a:uFillTx/>
              <a:latin typeface="Arial"/>
              <a:ea typeface="+mn-lt"/>
              <a:cs typeface="CiscoSansTT ExtraLight"/>
              <a:sym typeface="Arial"/>
            </a:endParaRPr>
          </a:p>
          <a:p>
            <a:pPr marL="180975" marR="0" lvl="0" indent="-180975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00"/>
              </a:spcAft>
              <a:buClr>
                <a:srgbClr val="14284A"/>
              </a:buClr>
              <a:buSzPct val="100000"/>
              <a:buFont typeface="Arial,Sans-Serif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14284A"/>
                </a:solidFill>
                <a:effectLst/>
                <a:uLnTx/>
                <a:uFillTx/>
                <a:latin typeface="CiscoSansTT ExtraLight"/>
                <a:ea typeface="ＭＳ Ｐゴシック"/>
                <a:cs typeface="Arial"/>
                <a:sym typeface="Arial"/>
              </a:rPr>
              <a:t>Hardware Lifecycle Milestones</a:t>
            </a:r>
            <a:endParaRPr kumimoji="0" lang="en-US" sz="1200" b="0" i="0" u="none" strike="noStrike" kern="0" cap="none" spc="0" normalizeH="0" baseline="0" noProof="0">
              <a:ln>
                <a:noFill/>
              </a:ln>
              <a:solidFill>
                <a:srgbClr val="14284A"/>
              </a:solidFill>
              <a:effectLst/>
              <a:uLnTx/>
              <a:uFillTx/>
              <a:latin typeface="Arial"/>
              <a:ea typeface="+mn-lt"/>
              <a:cs typeface="CiscoSansTT ExtraLight"/>
              <a:sym typeface="Arial"/>
            </a:endParaRPr>
          </a:p>
          <a:p>
            <a:pPr marL="180975" marR="0" lvl="0" indent="-180975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00"/>
              </a:spcAft>
              <a:buClr>
                <a:srgbClr val="14284A"/>
              </a:buClr>
              <a:buSzPct val="100000"/>
              <a:buFont typeface="Arial,Sans-Serif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14284A"/>
                </a:solidFill>
                <a:effectLst/>
                <a:uLnTx/>
                <a:uFillTx/>
                <a:latin typeface="CiscoSansTT ExtraLight"/>
                <a:ea typeface="ＭＳ Ｐゴシック"/>
                <a:cs typeface="Arial"/>
                <a:sym typeface="Arial"/>
              </a:rPr>
              <a:t>Product Security Advisory Impact</a:t>
            </a:r>
            <a:endParaRPr kumimoji="0" lang="en-US" sz="1200" b="0" i="0" u="none" strike="noStrike" kern="0" cap="none" spc="0" normalizeH="0" baseline="0" noProof="0">
              <a:ln>
                <a:noFill/>
              </a:ln>
              <a:solidFill>
                <a:srgbClr val="14284A"/>
              </a:solidFill>
              <a:effectLst/>
              <a:uLnTx/>
              <a:uFillTx/>
              <a:latin typeface="Arial"/>
              <a:ea typeface="+mn-lt"/>
              <a:cs typeface="CiscoSansTT ExtraLight"/>
              <a:sym typeface="Arial"/>
            </a:endParaRPr>
          </a:p>
          <a:p>
            <a:pPr marL="180975" marR="0" lvl="0" indent="-180975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00"/>
              </a:spcAft>
              <a:buClr>
                <a:srgbClr val="14284A"/>
              </a:buClr>
              <a:buSzPct val="100000"/>
              <a:buFont typeface="Arial,Sans-Serif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0" cap="none" spc="0" normalizeH="0" baseline="0" noProof="0">
                <a:ln>
                  <a:noFill/>
                </a:ln>
                <a:solidFill>
                  <a:srgbClr val="14284A"/>
                </a:solidFill>
                <a:effectLst/>
                <a:uLnTx/>
                <a:uFillTx/>
                <a:latin typeface="CiscoSansTT ExtraLight"/>
                <a:ea typeface="ＭＳ Ｐゴシック"/>
                <a:cs typeface="Arial"/>
                <a:sym typeface="Arial"/>
              </a:rPr>
              <a:t>Risk Mitigation</a:t>
            </a:r>
            <a:endParaRPr kumimoji="0" lang="en-US" sz="1200" b="0" i="0" u="none" strike="noStrike" kern="0" cap="none" spc="0" normalizeH="0" baseline="0" noProof="0">
              <a:ln>
                <a:noFill/>
              </a:ln>
              <a:solidFill>
                <a:srgbClr val="14284A"/>
              </a:solidFill>
              <a:effectLst/>
              <a:uLnTx/>
              <a:uFillTx/>
              <a:latin typeface="Arial"/>
              <a:ea typeface="+mn-lt"/>
              <a:cs typeface="CiscoSansTT ExtraLight"/>
              <a:sym typeface="Arial"/>
            </a:endParaRPr>
          </a:p>
          <a:p>
            <a:pPr marL="285750" marR="0" lvl="0" indent="-28575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00"/>
              </a:spcAft>
              <a:buClr>
                <a:srgbClr val="14284A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endParaRPr kumimoji="0" lang="en-US" sz="1200" b="0" i="0" u="none" strike="noStrike" kern="0" cap="none" spc="0" normalizeH="0" baseline="0" noProof="0">
              <a:ln>
                <a:noFill/>
              </a:ln>
              <a:solidFill>
                <a:srgbClr val="14284A"/>
              </a:solidFill>
              <a:effectLst/>
              <a:uLnTx/>
              <a:uFillTx/>
              <a:latin typeface="CiscoSansTT ExtraLight"/>
              <a:ea typeface="ＭＳ Ｐゴシック"/>
              <a:cs typeface="Arial"/>
              <a:sym typeface="Arial"/>
            </a:endParaRPr>
          </a:p>
        </p:txBody>
      </p:sp>
      <p:sp>
        <p:nvSpPr>
          <p:cNvPr id="40" name="Google Shape;1439;p198">
            <a:extLst>
              <a:ext uri="{FF2B5EF4-FFF2-40B4-BE49-F238E27FC236}">
                <a16:creationId xmlns:a16="http://schemas.microsoft.com/office/drawing/2014/main" id="{0829EC67-E3D0-45F6-BF19-E88C44C27AB2}"/>
              </a:ext>
            </a:extLst>
          </p:cNvPr>
          <p:cNvSpPr txBox="1"/>
          <p:nvPr/>
        </p:nvSpPr>
        <p:spPr>
          <a:xfrm>
            <a:off x="6673252" y="3290447"/>
            <a:ext cx="1551287" cy="498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ctr" defTabSz="12191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14284A"/>
                </a:solidFill>
                <a:effectLst/>
                <a:uLnTx/>
                <a:uFillTx/>
                <a:latin typeface="CiscoSansTT ExtraLight" panose="020B0303020201020303" pitchFamily="34" charset="0"/>
                <a:ea typeface="ＭＳ Ｐゴシック" charset="0"/>
                <a:cs typeface="CiscoSansTT ExtraLight" panose="020B0303020201020303" pitchFamily="34" charset="0"/>
                <a:sym typeface="Arial"/>
              </a:rPr>
              <a:t>Cisco® consulting</a:t>
            </a:r>
          </a:p>
        </p:txBody>
      </p:sp>
      <p:sp>
        <p:nvSpPr>
          <p:cNvPr id="41" name="Google Shape;1439;p198">
            <a:extLst>
              <a:ext uri="{FF2B5EF4-FFF2-40B4-BE49-F238E27FC236}">
                <a16:creationId xmlns:a16="http://schemas.microsoft.com/office/drawing/2014/main" id="{D311B61F-CEF7-471F-A9D1-8007FB40DD09}"/>
              </a:ext>
            </a:extLst>
          </p:cNvPr>
          <p:cNvSpPr txBox="1"/>
          <p:nvPr/>
        </p:nvSpPr>
        <p:spPr>
          <a:xfrm>
            <a:off x="3842451" y="3290447"/>
            <a:ext cx="1735687" cy="498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ctr" defTabSz="12191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14284A"/>
                </a:solidFill>
                <a:effectLst/>
                <a:uLnTx/>
                <a:uFillTx/>
                <a:latin typeface="CiscoSansTT ExtraLight" panose="020B0303020201020303" pitchFamily="34" charset="0"/>
                <a:ea typeface="ＭＳ Ｐゴシック" charset="0"/>
                <a:cs typeface="CiscoSansTT ExtraLight" panose="020B0303020201020303" pitchFamily="34" charset="0"/>
                <a:sym typeface="Arial"/>
              </a:rPr>
              <a:t>Analytics and </a:t>
            </a:r>
          </a:p>
          <a:p>
            <a:pPr marL="0" marR="0" lvl="0" indent="0" algn="ctr" defTabSz="12191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14284A"/>
                </a:solidFill>
                <a:effectLst/>
                <a:uLnTx/>
                <a:uFillTx/>
                <a:latin typeface="CiscoSansTT ExtraLight" panose="020B0303020201020303" pitchFamily="34" charset="0"/>
                <a:ea typeface="ＭＳ Ｐゴシック" charset="0"/>
                <a:cs typeface="CiscoSansTT ExtraLight" panose="020B0303020201020303" pitchFamily="34" charset="0"/>
                <a:sym typeface="Arial"/>
              </a:rPr>
              <a:t>Insights reports</a:t>
            </a:r>
          </a:p>
        </p:txBody>
      </p:sp>
      <p:sp>
        <p:nvSpPr>
          <p:cNvPr id="42" name="Google Shape;1439;p198">
            <a:extLst>
              <a:ext uri="{FF2B5EF4-FFF2-40B4-BE49-F238E27FC236}">
                <a16:creationId xmlns:a16="http://schemas.microsoft.com/office/drawing/2014/main" id="{1F5304DD-F729-4FF1-BC0B-D46402BB4A30}"/>
              </a:ext>
            </a:extLst>
          </p:cNvPr>
          <p:cNvSpPr txBox="1"/>
          <p:nvPr/>
        </p:nvSpPr>
        <p:spPr>
          <a:xfrm>
            <a:off x="1161674" y="3290447"/>
            <a:ext cx="1735687" cy="498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ctr" defTabSz="12191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14284A"/>
                </a:solidFill>
                <a:effectLst/>
                <a:uLnTx/>
                <a:uFillTx/>
                <a:latin typeface="CiscoSansTT ExtraLight" panose="020B0303020201020303" pitchFamily="34" charset="0"/>
                <a:ea typeface="ＭＳ Ｐゴシック" charset="0"/>
                <a:cs typeface="CiscoSansTT ExtraLight" panose="020B0303020201020303" pitchFamily="34" charset="0"/>
                <a:sym typeface="Arial"/>
              </a:rPr>
              <a:t>Comprehensive</a:t>
            </a:r>
          </a:p>
          <a:p>
            <a:pPr marL="0" marR="0" lvl="0" indent="0" algn="ctr" defTabSz="12191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14284A"/>
                </a:solidFill>
                <a:effectLst/>
                <a:uLnTx/>
                <a:uFillTx/>
                <a:latin typeface="CiscoSansTT ExtraLight" panose="020B0303020201020303" pitchFamily="34" charset="0"/>
                <a:ea typeface="ＭＳ Ｐゴシック" charset="0"/>
                <a:cs typeface="CiscoSansTT ExtraLight" panose="020B0303020201020303" pitchFamily="34" charset="0"/>
                <a:sym typeface="Arial"/>
              </a:rPr>
              <a:t>data collection</a:t>
            </a:r>
          </a:p>
        </p:txBody>
      </p:sp>
      <p:sp>
        <p:nvSpPr>
          <p:cNvPr id="43" name="Google Shape;1439;p198">
            <a:extLst>
              <a:ext uri="{FF2B5EF4-FFF2-40B4-BE49-F238E27FC236}">
                <a16:creationId xmlns:a16="http://schemas.microsoft.com/office/drawing/2014/main" id="{9AA26A13-4CA5-4877-A8B7-8A5AAA595620}"/>
              </a:ext>
            </a:extLst>
          </p:cNvPr>
          <p:cNvSpPr txBox="1"/>
          <p:nvPr/>
        </p:nvSpPr>
        <p:spPr>
          <a:xfrm>
            <a:off x="9269144" y="3290447"/>
            <a:ext cx="1605407" cy="498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ctr" defTabSz="12191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14284A"/>
                </a:solidFill>
                <a:effectLst/>
                <a:uLnTx/>
                <a:uFillTx/>
                <a:latin typeface="CiscoSansTT ExtraLight" panose="020B0303020201020303" pitchFamily="34" charset="0"/>
                <a:ea typeface="ＭＳ Ｐゴシック" charset="0"/>
                <a:cs typeface="CiscoSansTT ExtraLight" panose="020B0303020201020303" pitchFamily="34" charset="0"/>
                <a:sym typeface="Arial"/>
              </a:rPr>
              <a:t>Results</a:t>
            </a:r>
          </a:p>
        </p:txBody>
      </p:sp>
      <p:grpSp>
        <p:nvGrpSpPr>
          <p:cNvPr id="45" name="Group 44">
            <a:extLst>
              <a:ext uri="{FF2B5EF4-FFF2-40B4-BE49-F238E27FC236}">
                <a16:creationId xmlns:a16="http://schemas.microsoft.com/office/drawing/2014/main" id="{A3B7CDFC-04B8-4582-96DD-3E426E7E50F1}"/>
              </a:ext>
            </a:extLst>
          </p:cNvPr>
          <p:cNvGrpSpPr/>
          <p:nvPr/>
        </p:nvGrpSpPr>
        <p:grpSpPr>
          <a:xfrm>
            <a:off x="6799104" y="1905000"/>
            <a:ext cx="1299582" cy="1299580"/>
            <a:chOff x="690330" y="2146303"/>
            <a:chExt cx="1605406" cy="1605407"/>
          </a:xfrm>
        </p:grpSpPr>
        <p:sp>
          <p:nvSpPr>
            <p:cNvPr id="47" name="Oval 46">
              <a:extLst>
                <a:ext uri="{FF2B5EF4-FFF2-40B4-BE49-F238E27FC236}">
                  <a16:creationId xmlns:a16="http://schemas.microsoft.com/office/drawing/2014/main" id="{41712B1F-FD4E-4EB4-BB4F-EA2D1B275F82}"/>
                </a:ext>
              </a:extLst>
            </p:cNvPr>
            <p:cNvSpPr/>
            <p:nvPr/>
          </p:nvSpPr>
          <p:spPr>
            <a:xfrm>
              <a:off x="690330" y="2146303"/>
              <a:ext cx="1605406" cy="1605407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6095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endParaRPr>
            </a:p>
          </p:txBody>
        </p:sp>
        <p:grpSp>
          <p:nvGrpSpPr>
            <p:cNvPr id="48" name="Group 47">
              <a:extLst>
                <a:ext uri="{FF2B5EF4-FFF2-40B4-BE49-F238E27FC236}">
                  <a16:creationId xmlns:a16="http://schemas.microsoft.com/office/drawing/2014/main" id="{4FD5A15B-1C49-4EDC-B7C2-104CE1FA0C5D}"/>
                </a:ext>
              </a:extLst>
            </p:cNvPr>
            <p:cNvGrpSpPr/>
            <p:nvPr/>
          </p:nvGrpSpPr>
          <p:grpSpPr>
            <a:xfrm>
              <a:off x="817029" y="2266768"/>
              <a:ext cx="1352008" cy="1353117"/>
              <a:chOff x="789483" y="2938931"/>
              <a:chExt cx="1014006" cy="1014838"/>
            </a:xfrm>
          </p:grpSpPr>
          <p:sp>
            <p:nvSpPr>
              <p:cNvPr id="49" name="Google Shape;1433;p198">
                <a:extLst>
                  <a:ext uri="{FF2B5EF4-FFF2-40B4-BE49-F238E27FC236}">
                    <a16:creationId xmlns:a16="http://schemas.microsoft.com/office/drawing/2014/main" id="{DE99AF4F-8697-4C1F-BDEE-72CEA45E488D}"/>
                  </a:ext>
                </a:extLst>
              </p:cNvPr>
              <p:cNvSpPr/>
              <p:nvPr/>
            </p:nvSpPr>
            <p:spPr>
              <a:xfrm>
                <a:off x="789483" y="2941214"/>
                <a:ext cx="1012555" cy="1012555"/>
              </a:xfrm>
              <a:prstGeom prst="ellipse">
                <a:avLst/>
              </a:prstGeom>
              <a:noFill/>
              <a:ln w="50800" cap="flat" cmpd="sng">
                <a:noFill/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121900" tIns="60933" rIns="121900" bIns="60933" anchor="t" anchorCtr="0">
                <a:noAutofit/>
              </a:bodyPr>
              <a:lstStyle/>
              <a:p>
                <a:pPr marL="0" marR="0" lvl="0" indent="0" algn="l" defTabSz="121911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Tx/>
                  <a:buNone/>
                  <a:tabLst/>
                  <a:defRPr/>
                </a:pPr>
                <a:endParaRPr kumimoji="0" sz="2400" b="0" i="0" u="none" strike="noStrike" kern="0" cap="none" spc="0" normalizeH="0" baseline="0" noProof="0">
                  <a:ln>
                    <a:noFill/>
                  </a:ln>
                  <a:solidFill>
                    <a:srgbClr val="282828"/>
                  </a:solidFill>
                  <a:effectLst/>
                  <a:uLnTx/>
                  <a:uFillTx/>
                  <a:latin typeface="CiscoSansTT ExtraLight" panose="020B0303020201020303" pitchFamily="34" charset="0"/>
                  <a:ea typeface="ＭＳ Ｐゴシック" charset="0"/>
                  <a:cs typeface="CiscoSansTT ExtraLight" panose="020B0303020201020303" pitchFamily="34" charset="0"/>
                  <a:sym typeface="Arial"/>
                </a:endParaRPr>
              </a:p>
            </p:txBody>
          </p:sp>
          <p:sp>
            <p:nvSpPr>
              <p:cNvPr id="50" name="Google Shape;1442;p198">
                <a:extLst>
                  <a:ext uri="{FF2B5EF4-FFF2-40B4-BE49-F238E27FC236}">
                    <a16:creationId xmlns:a16="http://schemas.microsoft.com/office/drawing/2014/main" id="{AE8DFE49-52F1-46B8-80D2-84A97A9517F3}"/>
                  </a:ext>
                </a:extLst>
              </p:cNvPr>
              <p:cNvSpPr/>
              <p:nvPr/>
            </p:nvSpPr>
            <p:spPr>
              <a:xfrm>
                <a:off x="1299639" y="2938931"/>
                <a:ext cx="503850" cy="1014189"/>
              </a:xfrm>
              <a:custGeom>
                <a:avLst/>
                <a:gdLst/>
                <a:ahLst/>
                <a:cxnLst/>
                <a:rect l="l" t="t" r="r" b="b"/>
                <a:pathLst>
                  <a:path w="132" h="265" extrusionOk="0">
                    <a:moveTo>
                      <a:pt x="0" y="0"/>
                    </a:moveTo>
                    <a:cubicBezTo>
                      <a:pt x="73" y="0"/>
                      <a:pt x="132" y="60"/>
                      <a:pt x="132" y="133"/>
                    </a:cubicBezTo>
                    <a:cubicBezTo>
                      <a:pt x="132" y="206"/>
                      <a:pt x="73" y="265"/>
                      <a:pt x="0" y="265"/>
                    </a:cubicBezTo>
                    <a:cubicBezTo>
                      <a:pt x="0" y="265"/>
                      <a:pt x="0" y="265"/>
                      <a:pt x="0" y="265"/>
                    </a:cubicBezTo>
                  </a:path>
                </a:pathLst>
              </a:custGeom>
              <a:noFill/>
              <a:ln w="50800" cap="rnd" cmpd="sng">
                <a:noFill/>
                <a:prstDash val="solid"/>
                <a:miter lim="800000"/>
                <a:headEnd type="none" w="sm" len="sm"/>
                <a:tailEnd type="none" w="sm" len="sm"/>
              </a:ln>
            </p:spPr>
            <p:txBody>
              <a:bodyPr spcFirstLastPara="1" wrap="square" lIns="121900" tIns="60933" rIns="121900" bIns="60933" anchor="t" anchorCtr="0">
                <a:noAutofit/>
              </a:bodyPr>
              <a:lstStyle/>
              <a:p>
                <a:pPr marL="0" marR="0" lvl="0" indent="0" algn="l" defTabSz="121911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Tx/>
                  <a:buNone/>
                  <a:tabLst/>
                  <a:defRPr/>
                </a:pPr>
                <a:endParaRPr kumimoji="0" sz="2400" b="0" i="0" u="none" strike="noStrike" kern="0" cap="none" spc="0" normalizeH="0" baseline="0" noProof="0">
                  <a:ln>
                    <a:noFill/>
                  </a:ln>
                  <a:solidFill>
                    <a:srgbClr val="282828"/>
                  </a:solidFill>
                  <a:effectLst/>
                  <a:uLnTx/>
                  <a:uFillTx/>
                  <a:latin typeface="CiscoSansTT ExtraLight" panose="020B0303020201020303" pitchFamily="34" charset="0"/>
                  <a:ea typeface="ＭＳ Ｐゴシック" charset="0"/>
                  <a:cs typeface="CiscoSansTT ExtraLight" panose="020B0303020201020303" pitchFamily="34" charset="0"/>
                  <a:sym typeface="Arial"/>
                </a:endParaRPr>
              </a:p>
            </p:txBody>
          </p:sp>
        </p:grpSp>
      </p:grpSp>
      <p:grpSp>
        <p:nvGrpSpPr>
          <p:cNvPr id="58" name="Group 57">
            <a:extLst>
              <a:ext uri="{FF2B5EF4-FFF2-40B4-BE49-F238E27FC236}">
                <a16:creationId xmlns:a16="http://schemas.microsoft.com/office/drawing/2014/main" id="{1E8D8950-C518-4ED3-91D0-CCB8E8FCDD7D}"/>
              </a:ext>
            </a:extLst>
          </p:cNvPr>
          <p:cNvGrpSpPr/>
          <p:nvPr/>
        </p:nvGrpSpPr>
        <p:grpSpPr>
          <a:xfrm>
            <a:off x="4060503" y="1905000"/>
            <a:ext cx="1299582" cy="1299580"/>
            <a:chOff x="3762947" y="2146303"/>
            <a:chExt cx="1605406" cy="1605407"/>
          </a:xfrm>
        </p:grpSpPr>
        <p:sp>
          <p:nvSpPr>
            <p:cNvPr id="60" name="Oval 59">
              <a:extLst>
                <a:ext uri="{FF2B5EF4-FFF2-40B4-BE49-F238E27FC236}">
                  <a16:creationId xmlns:a16="http://schemas.microsoft.com/office/drawing/2014/main" id="{89D31D70-5DD9-4441-BF99-9123F037858B}"/>
                </a:ext>
              </a:extLst>
            </p:cNvPr>
            <p:cNvSpPr/>
            <p:nvPr/>
          </p:nvSpPr>
          <p:spPr>
            <a:xfrm>
              <a:off x="3762947" y="2146303"/>
              <a:ext cx="1605406" cy="1605407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6095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endParaRPr>
            </a:p>
          </p:txBody>
        </p:sp>
        <p:grpSp>
          <p:nvGrpSpPr>
            <p:cNvPr id="61" name="Group 60">
              <a:extLst>
                <a:ext uri="{FF2B5EF4-FFF2-40B4-BE49-F238E27FC236}">
                  <a16:creationId xmlns:a16="http://schemas.microsoft.com/office/drawing/2014/main" id="{F127D4F8-7291-4A43-B648-DFE48997468A}"/>
                </a:ext>
              </a:extLst>
            </p:cNvPr>
            <p:cNvGrpSpPr/>
            <p:nvPr/>
          </p:nvGrpSpPr>
          <p:grpSpPr>
            <a:xfrm>
              <a:off x="3889646" y="2266768"/>
              <a:ext cx="1352008" cy="1353117"/>
              <a:chOff x="789483" y="2938931"/>
              <a:chExt cx="1014006" cy="1014838"/>
            </a:xfrm>
          </p:grpSpPr>
          <p:sp>
            <p:nvSpPr>
              <p:cNvPr id="62" name="Google Shape;1433;p198">
                <a:extLst>
                  <a:ext uri="{FF2B5EF4-FFF2-40B4-BE49-F238E27FC236}">
                    <a16:creationId xmlns:a16="http://schemas.microsoft.com/office/drawing/2014/main" id="{06B02A9E-7311-48BD-ADCB-92666D4D8F16}"/>
                  </a:ext>
                </a:extLst>
              </p:cNvPr>
              <p:cNvSpPr/>
              <p:nvPr/>
            </p:nvSpPr>
            <p:spPr>
              <a:xfrm>
                <a:off x="789483" y="2941214"/>
                <a:ext cx="1012555" cy="1012555"/>
              </a:xfrm>
              <a:prstGeom prst="ellipse">
                <a:avLst/>
              </a:prstGeom>
              <a:noFill/>
              <a:ln w="50800" cap="flat" cmpd="sng">
                <a:noFill/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121900" tIns="60933" rIns="121900" bIns="60933" anchor="t" anchorCtr="0">
                <a:noAutofit/>
              </a:bodyPr>
              <a:lstStyle/>
              <a:p>
                <a:pPr marL="0" marR="0" lvl="0" indent="0" algn="l" defTabSz="121911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Tx/>
                  <a:buNone/>
                  <a:tabLst/>
                  <a:defRPr/>
                </a:pPr>
                <a:endParaRPr kumimoji="0" sz="2400" b="0" i="0" u="none" strike="noStrike" kern="0" cap="none" spc="0" normalizeH="0" baseline="0" noProof="0">
                  <a:ln>
                    <a:noFill/>
                  </a:ln>
                  <a:solidFill>
                    <a:srgbClr val="282828"/>
                  </a:solidFill>
                  <a:effectLst/>
                  <a:uLnTx/>
                  <a:uFillTx/>
                  <a:latin typeface="CiscoSansTT ExtraLight" panose="020B0303020201020303" pitchFamily="34" charset="0"/>
                  <a:ea typeface="ＭＳ Ｐゴシック" charset="0"/>
                  <a:cs typeface="CiscoSansTT ExtraLight" panose="020B0303020201020303" pitchFamily="34" charset="0"/>
                  <a:sym typeface="Arial"/>
                </a:endParaRPr>
              </a:p>
            </p:txBody>
          </p:sp>
          <p:sp>
            <p:nvSpPr>
              <p:cNvPr id="63" name="Google Shape;1442;p198">
                <a:extLst>
                  <a:ext uri="{FF2B5EF4-FFF2-40B4-BE49-F238E27FC236}">
                    <a16:creationId xmlns:a16="http://schemas.microsoft.com/office/drawing/2014/main" id="{71BC0F60-CC1D-4BFF-AE19-00AE9DB638F4}"/>
                  </a:ext>
                </a:extLst>
              </p:cNvPr>
              <p:cNvSpPr/>
              <p:nvPr/>
            </p:nvSpPr>
            <p:spPr>
              <a:xfrm>
                <a:off x="1299639" y="2938931"/>
                <a:ext cx="503850" cy="1014189"/>
              </a:xfrm>
              <a:custGeom>
                <a:avLst/>
                <a:gdLst/>
                <a:ahLst/>
                <a:cxnLst/>
                <a:rect l="l" t="t" r="r" b="b"/>
                <a:pathLst>
                  <a:path w="132" h="265" extrusionOk="0">
                    <a:moveTo>
                      <a:pt x="0" y="0"/>
                    </a:moveTo>
                    <a:cubicBezTo>
                      <a:pt x="73" y="0"/>
                      <a:pt x="132" y="60"/>
                      <a:pt x="132" y="133"/>
                    </a:cubicBezTo>
                    <a:cubicBezTo>
                      <a:pt x="132" y="206"/>
                      <a:pt x="73" y="265"/>
                      <a:pt x="0" y="265"/>
                    </a:cubicBezTo>
                    <a:cubicBezTo>
                      <a:pt x="0" y="265"/>
                      <a:pt x="0" y="265"/>
                      <a:pt x="0" y="265"/>
                    </a:cubicBezTo>
                  </a:path>
                </a:pathLst>
              </a:custGeom>
              <a:noFill/>
              <a:ln w="50800" cap="rnd" cmpd="sng">
                <a:noFill/>
                <a:prstDash val="solid"/>
                <a:miter lim="800000"/>
                <a:headEnd type="none" w="sm" len="sm"/>
                <a:tailEnd type="none" w="sm" len="sm"/>
              </a:ln>
            </p:spPr>
            <p:txBody>
              <a:bodyPr spcFirstLastPara="1" wrap="square" lIns="121900" tIns="60933" rIns="121900" bIns="60933" anchor="t" anchorCtr="0">
                <a:noAutofit/>
              </a:bodyPr>
              <a:lstStyle/>
              <a:p>
                <a:pPr marL="0" marR="0" lvl="0" indent="0" algn="l" defTabSz="121911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Tx/>
                  <a:buNone/>
                  <a:tabLst/>
                  <a:defRPr/>
                </a:pPr>
                <a:endParaRPr kumimoji="0" sz="2400" b="0" i="0" u="none" strike="noStrike" kern="0" cap="none" spc="0" normalizeH="0" baseline="0" noProof="0">
                  <a:ln>
                    <a:noFill/>
                  </a:ln>
                  <a:solidFill>
                    <a:srgbClr val="282828"/>
                  </a:solidFill>
                  <a:effectLst/>
                  <a:uLnTx/>
                  <a:uFillTx/>
                  <a:latin typeface="CiscoSansTT ExtraLight" panose="020B0303020201020303" pitchFamily="34" charset="0"/>
                  <a:ea typeface="ＭＳ Ｐゴシック" charset="0"/>
                  <a:cs typeface="CiscoSansTT ExtraLight" panose="020B0303020201020303" pitchFamily="34" charset="0"/>
                  <a:sym typeface="Arial"/>
                </a:endParaRPr>
              </a:p>
            </p:txBody>
          </p:sp>
        </p:grpSp>
      </p:grpSp>
      <p:grpSp>
        <p:nvGrpSpPr>
          <p:cNvPr id="67" name="Group 66">
            <a:extLst>
              <a:ext uri="{FF2B5EF4-FFF2-40B4-BE49-F238E27FC236}">
                <a16:creationId xmlns:a16="http://schemas.microsoft.com/office/drawing/2014/main" id="{32B2AAC9-9157-41AD-8E69-5ABE02FF235E}"/>
              </a:ext>
            </a:extLst>
          </p:cNvPr>
          <p:cNvGrpSpPr/>
          <p:nvPr/>
        </p:nvGrpSpPr>
        <p:grpSpPr>
          <a:xfrm>
            <a:off x="1379726" y="1904999"/>
            <a:ext cx="1299582" cy="1299582"/>
            <a:chOff x="7040176" y="2146303"/>
            <a:chExt cx="1605406" cy="1605407"/>
          </a:xfrm>
        </p:grpSpPr>
        <p:sp>
          <p:nvSpPr>
            <p:cNvPr id="69" name="Oval 68">
              <a:extLst>
                <a:ext uri="{FF2B5EF4-FFF2-40B4-BE49-F238E27FC236}">
                  <a16:creationId xmlns:a16="http://schemas.microsoft.com/office/drawing/2014/main" id="{E3786750-F945-4999-ACC9-6EADD4253122}"/>
                </a:ext>
              </a:extLst>
            </p:cNvPr>
            <p:cNvSpPr/>
            <p:nvPr/>
          </p:nvSpPr>
          <p:spPr>
            <a:xfrm>
              <a:off x="7040176" y="2146303"/>
              <a:ext cx="1605406" cy="1605407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6095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endParaRPr>
            </a:p>
          </p:txBody>
        </p:sp>
        <p:grpSp>
          <p:nvGrpSpPr>
            <p:cNvPr id="70" name="Group 69">
              <a:extLst>
                <a:ext uri="{FF2B5EF4-FFF2-40B4-BE49-F238E27FC236}">
                  <a16:creationId xmlns:a16="http://schemas.microsoft.com/office/drawing/2014/main" id="{AF8826FB-FFBB-4638-9512-B475D74F05FA}"/>
                </a:ext>
              </a:extLst>
            </p:cNvPr>
            <p:cNvGrpSpPr/>
            <p:nvPr/>
          </p:nvGrpSpPr>
          <p:grpSpPr>
            <a:xfrm>
              <a:off x="7166875" y="2266768"/>
              <a:ext cx="1352008" cy="1353117"/>
              <a:chOff x="789483" y="2938931"/>
              <a:chExt cx="1014006" cy="1014838"/>
            </a:xfrm>
          </p:grpSpPr>
          <p:sp>
            <p:nvSpPr>
              <p:cNvPr id="85" name="Google Shape;1433;p198">
                <a:extLst>
                  <a:ext uri="{FF2B5EF4-FFF2-40B4-BE49-F238E27FC236}">
                    <a16:creationId xmlns:a16="http://schemas.microsoft.com/office/drawing/2014/main" id="{40DAC417-6719-4EEB-BA88-D03738957710}"/>
                  </a:ext>
                </a:extLst>
              </p:cNvPr>
              <p:cNvSpPr/>
              <p:nvPr/>
            </p:nvSpPr>
            <p:spPr>
              <a:xfrm>
                <a:off x="789483" y="2941214"/>
                <a:ext cx="1012555" cy="1012555"/>
              </a:xfrm>
              <a:prstGeom prst="ellipse">
                <a:avLst/>
              </a:prstGeom>
              <a:noFill/>
              <a:ln w="50800" cap="flat" cmpd="sng">
                <a:noFill/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121900" tIns="60933" rIns="121900" bIns="60933" anchor="t" anchorCtr="0">
                <a:noAutofit/>
              </a:bodyPr>
              <a:lstStyle/>
              <a:p>
                <a:pPr marL="0" marR="0" lvl="0" indent="0" algn="l" defTabSz="121911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Tx/>
                  <a:buNone/>
                  <a:tabLst/>
                  <a:defRPr/>
                </a:pPr>
                <a:endParaRPr kumimoji="0" sz="2400" b="0" i="0" u="none" strike="noStrike" kern="0" cap="none" spc="0" normalizeH="0" baseline="0" noProof="0">
                  <a:ln>
                    <a:noFill/>
                  </a:ln>
                  <a:solidFill>
                    <a:srgbClr val="282828"/>
                  </a:solidFill>
                  <a:effectLst/>
                  <a:uLnTx/>
                  <a:uFillTx/>
                  <a:latin typeface="CiscoSansTT ExtraLight" panose="020B0303020201020303" pitchFamily="34" charset="0"/>
                  <a:ea typeface="ＭＳ Ｐゴシック" charset="0"/>
                  <a:cs typeface="CiscoSansTT ExtraLight" panose="020B0303020201020303" pitchFamily="34" charset="0"/>
                  <a:sym typeface="Arial"/>
                </a:endParaRPr>
              </a:p>
            </p:txBody>
          </p:sp>
          <p:sp>
            <p:nvSpPr>
              <p:cNvPr id="88" name="Google Shape;1442;p198">
                <a:extLst>
                  <a:ext uri="{FF2B5EF4-FFF2-40B4-BE49-F238E27FC236}">
                    <a16:creationId xmlns:a16="http://schemas.microsoft.com/office/drawing/2014/main" id="{F5EDB83D-ED65-459A-B4B7-526CACDAD965}"/>
                  </a:ext>
                </a:extLst>
              </p:cNvPr>
              <p:cNvSpPr/>
              <p:nvPr/>
            </p:nvSpPr>
            <p:spPr>
              <a:xfrm>
                <a:off x="1299639" y="2938931"/>
                <a:ext cx="503850" cy="1014189"/>
              </a:xfrm>
              <a:custGeom>
                <a:avLst/>
                <a:gdLst/>
                <a:ahLst/>
                <a:cxnLst/>
                <a:rect l="l" t="t" r="r" b="b"/>
                <a:pathLst>
                  <a:path w="132" h="265" extrusionOk="0">
                    <a:moveTo>
                      <a:pt x="0" y="0"/>
                    </a:moveTo>
                    <a:cubicBezTo>
                      <a:pt x="73" y="0"/>
                      <a:pt x="132" y="60"/>
                      <a:pt x="132" y="133"/>
                    </a:cubicBezTo>
                    <a:cubicBezTo>
                      <a:pt x="132" y="206"/>
                      <a:pt x="73" y="265"/>
                      <a:pt x="0" y="265"/>
                    </a:cubicBezTo>
                    <a:cubicBezTo>
                      <a:pt x="0" y="265"/>
                      <a:pt x="0" y="265"/>
                      <a:pt x="0" y="265"/>
                    </a:cubicBezTo>
                  </a:path>
                </a:pathLst>
              </a:custGeom>
              <a:noFill/>
              <a:ln w="50800" cap="rnd" cmpd="sng">
                <a:noFill/>
                <a:prstDash val="solid"/>
                <a:miter lim="800000"/>
                <a:headEnd type="none" w="sm" len="sm"/>
                <a:tailEnd type="none" w="sm" len="sm"/>
              </a:ln>
            </p:spPr>
            <p:txBody>
              <a:bodyPr spcFirstLastPara="1" wrap="square" lIns="121900" tIns="60933" rIns="121900" bIns="60933" anchor="t" anchorCtr="0">
                <a:noAutofit/>
              </a:bodyPr>
              <a:lstStyle/>
              <a:p>
                <a:pPr marL="0" marR="0" lvl="0" indent="0" algn="l" defTabSz="121911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Tx/>
                  <a:buNone/>
                  <a:tabLst/>
                  <a:defRPr/>
                </a:pPr>
                <a:endParaRPr kumimoji="0" sz="2400" b="0" i="0" u="none" strike="noStrike" kern="0" cap="none" spc="0" normalizeH="0" baseline="0" noProof="0">
                  <a:ln>
                    <a:noFill/>
                  </a:ln>
                  <a:solidFill>
                    <a:srgbClr val="282828"/>
                  </a:solidFill>
                  <a:effectLst/>
                  <a:uLnTx/>
                  <a:uFillTx/>
                  <a:latin typeface="CiscoSansTT ExtraLight" panose="020B0303020201020303" pitchFamily="34" charset="0"/>
                  <a:ea typeface="ＭＳ Ｐゴシック" charset="0"/>
                  <a:cs typeface="CiscoSansTT ExtraLight" panose="020B0303020201020303" pitchFamily="34" charset="0"/>
                  <a:sym typeface="Arial"/>
                </a:endParaRPr>
              </a:p>
            </p:txBody>
          </p:sp>
        </p:grpSp>
      </p:grpSp>
      <p:grpSp>
        <p:nvGrpSpPr>
          <p:cNvPr id="90" name="Group 89">
            <a:extLst>
              <a:ext uri="{FF2B5EF4-FFF2-40B4-BE49-F238E27FC236}">
                <a16:creationId xmlns:a16="http://schemas.microsoft.com/office/drawing/2014/main" id="{E10D7AE2-99E3-4894-B224-2CDC8CC72D1F}"/>
              </a:ext>
            </a:extLst>
          </p:cNvPr>
          <p:cNvGrpSpPr/>
          <p:nvPr/>
        </p:nvGrpSpPr>
        <p:grpSpPr>
          <a:xfrm>
            <a:off x="9422056" y="1905000"/>
            <a:ext cx="1299582" cy="1299580"/>
            <a:chOff x="8668557" y="2146303"/>
            <a:chExt cx="1605406" cy="1605407"/>
          </a:xfrm>
        </p:grpSpPr>
        <p:sp>
          <p:nvSpPr>
            <p:cNvPr id="92" name="Oval 91">
              <a:extLst>
                <a:ext uri="{FF2B5EF4-FFF2-40B4-BE49-F238E27FC236}">
                  <a16:creationId xmlns:a16="http://schemas.microsoft.com/office/drawing/2014/main" id="{7E960398-BA09-4F48-98EF-BBC88A7D76F1}"/>
                </a:ext>
              </a:extLst>
            </p:cNvPr>
            <p:cNvSpPr/>
            <p:nvPr/>
          </p:nvSpPr>
          <p:spPr>
            <a:xfrm>
              <a:off x="8668557" y="2146303"/>
              <a:ext cx="1605406" cy="1605407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6095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endParaRPr>
            </a:p>
          </p:txBody>
        </p:sp>
        <p:grpSp>
          <p:nvGrpSpPr>
            <p:cNvPr id="93" name="Group 92">
              <a:extLst>
                <a:ext uri="{FF2B5EF4-FFF2-40B4-BE49-F238E27FC236}">
                  <a16:creationId xmlns:a16="http://schemas.microsoft.com/office/drawing/2014/main" id="{1D80292D-7078-4B2A-B716-5EF979110F3C}"/>
                </a:ext>
              </a:extLst>
            </p:cNvPr>
            <p:cNvGrpSpPr/>
            <p:nvPr/>
          </p:nvGrpSpPr>
          <p:grpSpPr>
            <a:xfrm>
              <a:off x="8795256" y="2266768"/>
              <a:ext cx="1352008" cy="1353117"/>
              <a:chOff x="789483" y="2938931"/>
              <a:chExt cx="1014006" cy="1014838"/>
            </a:xfrm>
          </p:grpSpPr>
          <p:sp>
            <p:nvSpPr>
              <p:cNvPr id="94" name="Google Shape;1433;p198">
                <a:extLst>
                  <a:ext uri="{FF2B5EF4-FFF2-40B4-BE49-F238E27FC236}">
                    <a16:creationId xmlns:a16="http://schemas.microsoft.com/office/drawing/2014/main" id="{3CEC9407-0BEC-4F9F-84F7-1AADEEE024E1}"/>
                  </a:ext>
                </a:extLst>
              </p:cNvPr>
              <p:cNvSpPr/>
              <p:nvPr/>
            </p:nvSpPr>
            <p:spPr>
              <a:xfrm>
                <a:off x="789483" y="2941214"/>
                <a:ext cx="1012555" cy="1012555"/>
              </a:xfrm>
              <a:prstGeom prst="ellipse">
                <a:avLst/>
              </a:prstGeom>
              <a:noFill/>
              <a:ln w="50800" cap="flat" cmpd="sng">
                <a:noFill/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121900" tIns="60933" rIns="121900" bIns="60933" anchor="t" anchorCtr="0">
                <a:noAutofit/>
              </a:bodyPr>
              <a:lstStyle/>
              <a:p>
                <a:pPr marL="0" marR="0" lvl="0" indent="0" algn="l" defTabSz="121911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Tx/>
                  <a:buNone/>
                  <a:tabLst/>
                  <a:defRPr/>
                </a:pPr>
                <a:endParaRPr kumimoji="0" sz="2400" b="0" i="0" u="none" strike="noStrike" kern="0" cap="none" spc="0" normalizeH="0" baseline="0" noProof="0">
                  <a:ln>
                    <a:noFill/>
                  </a:ln>
                  <a:solidFill>
                    <a:srgbClr val="282828"/>
                  </a:solidFill>
                  <a:effectLst/>
                  <a:uLnTx/>
                  <a:uFillTx/>
                  <a:latin typeface="CiscoSansTT ExtraLight" panose="020B0303020201020303" pitchFamily="34" charset="0"/>
                  <a:ea typeface="ＭＳ Ｐゴシック" charset="0"/>
                  <a:cs typeface="CiscoSansTT ExtraLight" panose="020B0303020201020303" pitchFamily="34" charset="0"/>
                  <a:sym typeface="Arial"/>
                </a:endParaRPr>
              </a:p>
            </p:txBody>
          </p:sp>
          <p:sp>
            <p:nvSpPr>
              <p:cNvPr id="97" name="Google Shape;1442;p198">
                <a:extLst>
                  <a:ext uri="{FF2B5EF4-FFF2-40B4-BE49-F238E27FC236}">
                    <a16:creationId xmlns:a16="http://schemas.microsoft.com/office/drawing/2014/main" id="{E3FFF436-855B-4413-8D5F-6CA042B19F57}"/>
                  </a:ext>
                </a:extLst>
              </p:cNvPr>
              <p:cNvSpPr/>
              <p:nvPr/>
            </p:nvSpPr>
            <p:spPr>
              <a:xfrm>
                <a:off x="1299639" y="2938931"/>
                <a:ext cx="503850" cy="1014189"/>
              </a:xfrm>
              <a:custGeom>
                <a:avLst/>
                <a:gdLst/>
                <a:ahLst/>
                <a:cxnLst/>
                <a:rect l="l" t="t" r="r" b="b"/>
                <a:pathLst>
                  <a:path w="132" h="265" extrusionOk="0">
                    <a:moveTo>
                      <a:pt x="0" y="0"/>
                    </a:moveTo>
                    <a:cubicBezTo>
                      <a:pt x="73" y="0"/>
                      <a:pt x="132" y="60"/>
                      <a:pt x="132" y="133"/>
                    </a:cubicBezTo>
                    <a:cubicBezTo>
                      <a:pt x="132" y="206"/>
                      <a:pt x="73" y="265"/>
                      <a:pt x="0" y="265"/>
                    </a:cubicBezTo>
                    <a:cubicBezTo>
                      <a:pt x="0" y="265"/>
                      <a:pt x="0" y="265"/>
                      <a:pt x="0" y="265"/>
                    </a:cubicBezTo>
                  </a:path>
                </a:pathLst>
              </a:custGeom>
              <a:noFill/>
              <a:ln w="50800" cap="rnd" cmpd="sng">
                <a:noFill/>
                <a:prstDash val="solid"/>
                <a:miter lim="800000"/>
                <a:headEnd type="none" w="sm" len="sm"/>
                <a:tailEnd type="none" w="sm" len="sm"/>
              </a:ln>
            </p:spPr>
            <p:txBody>
              <a:bodyPr spcFirstLastPara="1" wrap="square" lIns="121900" tIns="60933" rIns="121900" bIns="60933" anchor="t" anchorCtr="0">
                <a:noAutofit/>
              </a:bodyPr>
              <a:lstStyle/>
              <a:p>
                <a:pPr marL="0" marR="0" lvl="0" indent="0" algn="l" defTabSz="121911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Tx/>
                  <a:buNone/>
                  <a:tabLst/>
                  <a:defRPr/>
                </a:pPr>
                <a:endParaRPr kumimoji="0" sz="2400" b="0" i="0" u="none" strike="noStrike" kern="0" cap="none" spc="0" normalizeH="0" baseline="0" noProof="0">
                  <a:ln>
                    <a:noFill/>
                  </a:ln>
                  <a:solidFill>
                    <a:srgbClr val="282828"/>
                  </a:solidFill>
                  <a:effectLst/>
                  <a:uLnTx/>
                  <a:uFillTx/>
                  <a:latin typeface="CiscoSansTT ExtraLight" panose="020B0303020201020303" pitchFamily="34" charset="0"/>
                  <a:ea typeface="ＭＳ Ｐゴシック" charset="0"/>
                  <a:cs typeface="CiscoSansTT ExtraLight" panose="020B0303020201020303" pitchFamily="34" charset="0"/>
                  <a:sym typeface="Arial"/>
                </a:endParaRPr>
              </a:p>
            </p:txBody>
          </p:sp>
        </p:grpSp>
      </p:grpSp>
      <p:sp>
        <p:nvSpPr>
          <p:cNvPr id="53" name="Triangle 79">
            <a:extLst>
              <a:ext uri="{FF2B5EF4-FFF2-40B4-BE49-F238E27FC236}">
                <a16:creationId xmlns:a16="http://schemas.microsoft.com/office/drawing/2014/main" id="{F6C10151-6513-40CE-8CF7-70B1B5FAF6F6}"/>
              </a:ext>
            </a:extLst>
          </p:cNvPr>
          <p:cNvSpPr/>
          <p:nvPr/>
        </p:nvSpPr>
        <p:spPr>
          <a:xfrm rot="10800000">
            <a:off x="1868189" y="3869739"/>
            <a:ext cx="322656" cy="163514"/>
          </a:xfrm>
          <a:prstGeom prst="triangl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endParaRPr kumimoji="0" lang="en-US" sz="1467" b="0" i="0" u="none" strike="noStrike" kern="1200" cap="none" spc="0" normalizeH="0" baseline="0" noProof="0">
              <a:ln>
                <a:noFill/>
              </a:ln>
              <a:solidFill>
                <a:srgbClr val="14284A"/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cxnSp>
        <p:nvCxnSpPr>
          <p:cNvPr id="54" name="Straight Connector 53">
            <a:extLst>
              <a:ext uri="{FF2B5EF4-FFF2-40B4-BE49-F238E27FC236}">
                <a16:creationId xmlns:a16="http://schemas.microsoft.com/office/drawing/2014/main" id="{A728EB8D-AD72-4924-ACFB-851AE0CE9E28}"/>
              </a:ext>
            </a:extLst>
          </p:cNvPr>
          <p:cNvCxnSpPr>
            <a:cxnSpLocks/>
          </p:cNvCxnSpPr>
          <p:nvPr/>
        </p:nvCxnSpPr>
        <p:spPr>
          <a:xfrm>
            <a:off x="769517" y="3868152"/>
            <a:ext cx="2520000" cy="0"/>
          </a:xfrm>
          <a:prstGeom prst="line">
            <a:avLst/>
          </a:prstGeom>
          <a:ln w="12700" cap="rnd">
            <a:solidFill>
              <a:schemeClr val="bg2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Triangle 79">
            <a:extLst>
              <a:ext uri="{FF2B5EF4-FFF2-40B4-BE49-F238E27FC236}">
                <a16:creationId xmlns:a16="http://schemas.microsoft.com/office/drawing/2014/main" id="{361887C1-BF24-44C9-BCFD-5F05C092DAFA}"/>
              </a:ext>
            </a:extLst>
          </p:cNvPr>
          <p:cNvSpPr/>
          <p:nvPr/>
        </p:nvSpPr>
        <p:spPr>
          <a:xfrm rot="10800000">
            <a:off x="7287568" y="3869739"/>
            <a:ext cx="322656" cy="163514"/>
          </a:xfrm>
          <a:prstGeom prst="triangl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endParaRPr kumimoji="0" lang="en-US" sz="1467" b="0" i="0" u="none" strike="noStrike" kern="1200" cap="none" spc="0" normalizeH="0" baseline="0" noProof="0">
              <a:ln>
                <a:noFill/>
              </a:ln>
              <a:solidFill>
                <a:srgbClr val="14284A"/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cxnSp>
        <p:nvCxnSpPr>
          <p:cNvPr id="56" name="Straight Connector 55">
            <a:extLst>
              <a:ext uri="{FF2B5EF4-FFF2-40B4-BE49-F238E27FC236}">
                <a16:creationId xmlns:a16="http://schemas.microsoft.com/office/drawing/2014/main" id="{B0F02430-CCCF-432D-BFA1-1604A6241097}"/>
              </a:ext>
            </a:extLst>
          </p:cNvPr>
          <p:cNvCxnSpPr>
            <a:cxnSpLocks/>
          </p:cNvCxnSpPr>
          <p:nvPr/>
        </p:nvCxnSpPr>
        <p:spPr>
          <a:xfrm>
            <a:off x="6131071" y="3868152"/>
            <a:ext cx="2520000" cy="0"/>
          </a:xfrm>
          <a:prstGeom prst="line">
            <a:avLst/>
          </a:prstGeom>
          <a:ln w="12700" cap="rnd">
            <a:solidFill>
              <a:schemeClr val="bg2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Triangle 79">
            <a:extLst>
              <a:ext uri="{FF2B5EF4-FFF2-40B4-BE49-F238E27FC236}">
                <a16:creationId xmlns:a16="http://schemas.microsoft.com/office/drawing/2014/main" id="{B2370E18-075C-4EB2-9126-3BF9DD4CFA6D}"/>
              </a:ext>
            </a:extLst>
          </p:cNvPr>
          <p:cNvSpPr/>
          <p:nvPr/>
        </p:nvSpPr>
        <p:spPr>
          <a:xfrm rot="10800000">
            <a:off x="4548967" y="3869739"/>
            <a:ext cx="322656" cy="163514"/>
          </a:xfrm>
          <a:prstGeom prst="triangl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endParaRPr kumimoji="0" lang="en-US" sz="1467" b="0" i="0" u="none" strike="noStrike" kern="1200" cap="none" spc="0" normalizeH="0" baseline="0" noProof="0">
              <a:ln>
                <a:noFill/>
              </a:ln>
              <a:solidFill>
                <a:srgbClr val="14284A"/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cxnSp>
        <p:nvCxnSpPr>
          <p:cNvPr id="59" name="Straight Connector 58">
            <a:extLst>
              <a:ext uri="{FF2B5EF4-FFF2-40B4-BE49-F238E27FC236}">
                <a16:creationId xmlns:a16="http://schemas.microsoft.com/office/drawing/2014/main" id="{374D8C5D-86AC-4FC0-8FB8-84579916D023}"/>
              </a:ext>
            </a:extLst>
          </p:cNvPr>
          <p:cNvCxnSpPr>
            <a:cxnSpLocks/>
          </p:cNvCxnSpPr>
          <p:nvPr/>
        </p:nvCxnSpPr>
        <p:spPr>
          <a:xfrm>
            <a:off x="3450294" y="3868152"/>
            <a:ext cx="2520000" cy="0"/>
          </a:xfrm>
          <a:prstGeom prst="line">
            <a:avLst/>
          </a:prstGeom>
          <a:ln w="12700" cap="rnd">
            <a:solidFill>
              <a:schemeClr val="bg2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4" name="Triangle 79">
            <a:extLst>
              <a:ext uri="{FF2B5EF4-FFF2-40B4-BE49-F238E27FC236}">
                <a16:creationId xmlns:a16="http://schemas.microsoft.com/office/drawing/2014/main" id="{C6CD9D73-271C-402E-99A8-7C1F93A7082A}"/>
              </a:ext>
            </a:extLst>
          </p:cNvPr>
          <p:cNvSpPr/>
          <p:nvPr/>
        </p:nvSpPr>
        <p:spPr>
          <a:xfrm rot="10800000">
            <a:off x="9910519" y="3869739"/>
            <a:ext cx="322656" cy="163514"/>
          </a:xfrm>
          <a:prstGeom prst="triangl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endParaRPr kumimoji="0" lang="en-US" sz="1467" b="0" i="0" u="none" strike="noStrike" kern="1200" cap="none" spc="0" normalizeH="0" baseline="0" noProof="0">
              <a:ln>
                <a:noFill/>
              </a:ln>
              <a:solidFill>
                <a:srgbClr val="14284A"/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cxnSp>
        <p:nvCxnSpPr>
          <p:cNvPr id="66" name="Straight Connector 65">
            <a:extLst>
              <a:ext uri="{FF2B5EF4-FFF2-40B4-BE49-F238E27FC236}">
                <a16:creationId xmlns:a16="http://schemas.microsoft.com/office/drawing/2014/main" id="{10B2C301-4BAD-4A63-9BAE-8529EE98B36A}"/>
              </a:ext>
            </a:extLst>
          </p:cNvPr>
          <p:cNvCxnSpPr>
            <a:cxnSpLocks/>
          </p:cNvCxnSpPr>
          <p:nvPr/>
        </p:nvCxnSpPr>
        <p:spPr>
          <a:xfrm>
            <a:off x="8811847" y="3868152"/>
            <a:ext cx="2520000" cy="0"/>
          </a:xfrm>
          <a:prstGeom prst="line">
            <a:avLst/>
          </a:prstGeom>
          <a:ln w="12700" cap="rnd">
            <a:solidFill>
              <a:schemeClr val="bg2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4" name="Group 43">
            <a:extLst>
              <a:ext uri="{FF2B5EF4-FFF2-40B4-BE49-F238E27FC236}">
                <a16:creationId xmlns:a16="http://schemas.microsoft.com/office/drawing/2014/main" id="{22968398-FEC2-0C40-973F-89DFDC0EF355}"/>
              </a:ext>
            </a:extLst>
          </p:cNvPr>
          <p:cNvGrpSpPr>
            <a:grpSpLocks noChangeAspect="1"/>
          </p:cNvGrpSpPr>
          <p:nvPr/>
        </p:nvGrpSpPr>
        <p:grpSpPr>
          <a:xfrm>
            <a:off x="3067775" y="2309281"/>
            <a:ext cx="546435" cy="543136"/>
            <a:chOff x="1579728" y="2192901"/>
            <a:chExt cx="496986" cy="493986"/>
          </a:xfrm>
        </p:grpSpPr>
        <p:sp>
          <p:nvSpPr>
            <p:cNvPr id="51" name="Freeform 664">
              <a:extLst>
                <a:ext uri="{FF2B5EF4-FFF2-40B4-BE49-F238E27FC236}">
                  <a16:creationId xmlns:a16="http://schemas.microsoft.com/office/drawing/2014/main" id="{F7F816F5-FE7F-E246-9EEF-A6120E77CD9A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1759722" y="2192901"/>
              <a:ext cx="134996" cy="493986"/>
            </a:xfrm>
            <a:custGeom>
              <a:avLst/>
              <a:gdLst>
                <a:gd name="T0" fmla="*/ 29 w 57"/>
                <a:gd name="T1" fmla="*/ 209 h 209"/>
                <a:gd name="T2" fmla="*/ 29 w 57"/>
                <a:gd name="T3" fmla="*/ 209 h 209"/>
                <a:gd name="T4" fmla="*/ 0 w 57"/>
                <a:gd name="T5" fmla="*/ 181 h 209"/>
                <a:gd name="T6" fmla="*/ 0 w 57"/>
                <a:gd name="T7" fmla="*/ 28 h 209"/>
                <a:gd name="T8" fmla="*/ 29 w 57"/>
                <a:gd name="T9" fmla="*/ 0 h 209"/>
                <a:gd name="T10" fmla="*/ 57 w 57"/>
                <a:gd name="T11" fmla="*/ 28 h 209"/>
                <a:gd name="T12" fmla="*/ 57 w 57"/>
                <a:gd name="T13" fmla="*/ 181 h 209"/>
                <a:gd name="T14" fmla="*/ 29 w 57"/>
                <a:gd name="T15" fmla="*/ 209 h 2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7" h="209">
                  <a:moveTo>
                    <a:pt x="29" y="209"/>
                  </a:moveTo>
                  <a:cubicBezTo>
                    <a:pt x="29" y="209"/>
                    <a:pt x="29" y="209"/>
                    <a:pt x="29" y="209"/>
                  </a:cubicBezTo>
                  <a:cubicBezTo>
                    <a:pt x="13" y="209"/>
                    <a:pt x="0" y="196"/>
                    <a:pt x="0" y="181"/>
                  </a:cubicBezTo>
                  <a:cubicBezTo>
                    <a:pt x="0" y="28"/>
                    <a:pt x="0" y="28"/>
                    <a:pt x="0" y="28"/>
                  </a:cubicBezTo>
                  <a:cubicBezTo>
                    <a:pt x="0" y="13"/>
                    <a:pt x="13" y="0"/>
                    <a:pt x="29" y="0"/>
                  </a:cubicBezTo>
                  <a:cubicBezTo>
                    <a:pt x="45" y="0"/>
                    <a:pt x="57" y="13"/>
                    <a:pt x="57" y="28"/>
                  </a:cubicBezTo>
                  <a:cubicBezTo>
                    <a:pt x="57" y="181"/>
                    <a:pt x="57" y="181"/>
                    <a:pt x="57" y="181"/>
                  </a:cubicBezTo>
                  <a:cubicBezTo>
                    <a:pt x="57" y="196"/>
                    <a:pt x="45" y="209"/>
                    <a:pt x="29" y="209"/>
                  </a:cubicBezTo>
                </a:path>
              </a:pathLst>
            </a:custGeom>
            <a:solidFill>
              <a:schemeClr val="accent3"/>
            </a:solidFill>
            <a:ln>
              <a:solidFill>
                <a:schemeClr val="accent3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2F446B"/>
                </a:solidFill>
                <a:effectLst/>
                <a:uLnTx/>
                <a:uFillTx/>
                <a:latin typeface="CiscoSansTT ExtraLight"/>
                <a:ea typeface="+mn-ea"/>
                <a:cs typeface="+mn-cs"/>
              </a:endParaRPr>
            </a:p>
          </p:txBody>
        </p:sp>
        <p:sp>
          <p:nvSpPr>
            <p:cNvPr id="52" name="Freeform 665">
              <a:extLst>
                <a:ext uri="{FF2B5EF4-FFF2-40B4-BE49-F238E27FC236}">
                  <a16:creationId xmlns:a16="http://schemas.microsoft.com/office/drawing/2014/main" id="{043CB070-FDA1-AD4A-8815-AFE4E63C2FC6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1579728" y="2368943"/>
              <a:ext cx="496986" cy="134996"/>
            </a:xfrm>
            <a:custGeom>
              <a:avLst/>
              <a:gdLst>
                <a:gd name="T0" fmla="*/ 0 w 210"/>
                <a:gd name="T1" fmla="*/ 28 h 57"/>
                <a:gd name="T2" fmla="*/ 0 w 210"/>
                <a:gd name="T3" fmla="*/ 28 h 57"/>
                <a:gd name="T4" fmla="*/ 29 w 210"/>
                <a:gd name="T5" fmla="*/ 0 h 57"/>
                <a:gd name="T6" fmla="*/ 181 w 210"/>
                <a:gd name="T7" fmla="*/ 0 h 57"/>
                <a:gd name="T8" fmla="*/ 210 w 210"/>
                <a:gd name="T9" fmla="*/ 28 h 57"/>
                <a:gd name="T10" fmla="*/ 181 w 210"/>
                <a:gd name="T11" fmla="*/ 57 h 57"/>
                <a:gd name="T12" fmla="*/ 29 w 210"/>
                <a:gd name="T13" fmla="*/ 57 h 57"/>
                <a:gd name="T14" fmla="*/ 0 w 210"/>
                <a:gd name="T15" fmla="*/ 28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10" h="57">
                  <a:moveTo>
                    <a:pt x="0" y="28"/>
                  </a:moveTo>
                  <a:cubicBezTo>
                    <a:pt x="0" y="28"/>
                    <a:pt x="0" y="28"/>
                    <a:pt x="0" y="28"/>
                  </a:cubicBezTo>
                  <a:cubicBezTo>
                    <a:pt x="0" y="13"/>
                    <a:pt x="13" y="0"/>
                    <a:pt x="29" y="0"/>
                  </a:cubicBezTo>
                  <a:cubicBezTo>
                    <a:pt x="181" y="0"/>
                    <a:pt x="181" y="0"/>
                    <a:pt x="181" y="0"/>
                  </a:cubicBezTo>
                  <a:cubicBezTo>
                    <a:pt x="197" y="0"/>
                    <a:pt x="210" y="13"/>
                    <a:pt x="210" y="28"/>
                  </a:cubicBezTo>
                  <a:cubicBezTo>
                    <a:pt x="210" y="44"/>
                    <a:pt x="197" y="57"/>
                    <a:pt x="181" y="57"/>
                  </a:cubicBezTo>
                  <a:cubicBezTo>
                    <a:pt x="29" y="57"/>
                    <a:pt x="29" y="57"/>
                    <a:pt x="29" y="57"/>
                  </a:cubicBezTo>
                  <a:cubicBezTo>
                    <a:pt x="13" y="57"/>
                    <a:pt x="0" y="44"/>
                    <a:pt x="0" y="28"/>
                  </a:cubicBezTo>
                </a:path>
              </a:pathLst>
            </a:custGeom>
            <a:solidFill>
              <a:schemeClr val="accent3"/>
            </a:solidFill>
            <a:ln>
              <a:solidFill>
                <a:schemeClr val="accent3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2F446B"/>
                </a:solidFill>
                <a:effectLst/>
                <a:uLnTx/>
                <a:uFillTx/>
                <a:latin typeface="CiscoSansTT ExtraLight"/>
                <a:ea typeface="+mn-ea"/>
                <a:cs typeface="+mn-cs"/>
              </a:endParaRPr>
            </a:p>
          </p:txBody>
        </p:sp>
        <p:sp>
          <p:nvSpPr>
            <p:cNvPr id="71" name="Rectangle 70">
              <a:extLst>
                <a:ext uri="{FF2B5EF4-FFF2-40B4-BE49-F238E27FC236}">
                  <a16:creationId xmlns:a16="http://schemas.microsoft.com/office/drawing/2014/main" id="{D6F9C9B9-C7D6-BA4F-87A6-B9E379EB87A2}"/>
                </a:ext>
              </a:extLst>
            </p:cNvPr>
            <p:cNvSpPr/>
            <p:nvPr/>
          </p:nvSpPr>
          <p:spPr>
            <a:xfrm>
              <a:off x="1759636" y="2367857"/>
              <a:ext cx="137160" cy="137160"/>
            </a:xfrm>
            <a:prstGeom prst="rect">
              <a:avLst/>
            </a:prstGeom>
            <a:solidFill>
              <a:schemeClr val="accent3">
                <a:lumMod val="75000"/>
              </a:schemeClr>
            </a:solidFill>
            <a:ln w="3175">
              <a:solidFill>
                <a:schemeClr val="accent3">
                  <a:lumMod val="75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iscoSansTT ExtraLight"/>
                <a:ea typeface="+mn-ea"/>
                <a:cs typeface="+mn-cs"/>
              </a:endParaRPr>
            </a:p>
          </p:txBody>
        </p:sp>
      </p:grpSp>
      <p:grpSp>
        <p:nvGrpSpPr>
          <p:cNvPr id="72" name="Group 71">
            <a:extLst>
              <a:ext uri="{FF2B5EF4-FFF2-40B4-BE49-F238E27FC236}">
                <a16:creationId xmlns:a16="http://schemas.microsoft.com/office/drawing/2014/main" id="{D67451CB-6C44-084B-9FD3-A8056C3BA08A}"/>
              </a:ext>
            </a:extLst>
          </p:cNvPr>
          <p:cNvGrpSpPr>
            <a:grpSpLocks noChangeAspect="1"/>
          </p:cNvGrpSpPr>
          <p:nvPr/>
        </p:nvGrpSpPr>
        <p:grpSpPr>
          <a:xfrm>
            <a:off x="5704136" y="2309281"/>
            <a:ext cx="546435" cy="543136"/>
            <a:chOff x="1579728" y="2192901"/>
            <a:chExt cx="496986" cy="493986"/>
          </a:xfrm>
        </p:grpSpPr>
        <p:sp>
          <p:nvSpPr>
            <p:cNvPr id="73" name="Freeform 664">
              <a:extLst>
                <a:ext uri="{FF2B5EF4-FFF2-40B4-BE49-F238E27FC236}">
                  <a16:creationId xmlns:a16="http://schemas.microsoft.com/office/drawing/2014/main" id="{F43D309B-71B8-4646-8D8A-B9D17A5A30FB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1759722" y="2192901"/>
              <a:ext cx="134996" cy="493986"/>
            </a:xfrm>
            <a:custGeom>
              <a:avLst/>
              <a:gdLst>
                <a:gd name="T0" fmla="*/ 29 w 57"/>
                <a:gd name="T1" fmla="*/ 209 h 209"/>
                <a:gd name="T2" fmla="*/ 29 w 57"/>
                <a:gd name="T3" fmla="*/ 209 h 209"/>
                <a:gd name="T4" fmla="*/ 0 w 57"/>
                <a:gd name="T5" fmla="*/ 181 h 209"/>
                <a:gd name="T6" fmla="*/ 0 w 57"/>
                <a:gd name="T7" fmla="*/ 28 h 209"/>
                <a:gd name="T8" fmla="*/ 29 w 57"/>
                <a:gd name="T9" fmla="*/ 0 h 209"/>
                <a:gd name="T10" fmla="*/ 57 w 57"/>
                <a:gd name="T11" fmla="*/ 28 h 209"/>
                <a:gd name="T12" fmla="*/ 57 w 57"/>
                <a:gd name="T13" fmla="*/ 181 h 209"/>
                <a:gd name="T14" fmla="*/ 29 w 57"/>
                <a:gd name="T15" fmla="*/ 209 h 2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7" h="209">
                  <a:moveTo>
                    <a:pt x="29" y="209"/>
                  </a:moveTo>
                  <a:cubicBezTo>
                    <a:pt x="29" y="209"/>
                    <a:pt x="29" y="209"/>
                    <a:pt x="29" y="209"/>
                  </a:cubicBezTo>
                  <a:cubicBezTo>
                    <a:pt x="13" y="209"/>
                    <a:pt x="0" y="196"/>
                    <a:pt x="0" y="181"/>
                  </a:cubicBezTo>
                  <a:cubicBezTo>
                    <a:pt x="0" y="28"/>
                    <a:pt x="0" y="28"/>
                    <a:pt x="0" y="28"/>
                  </a:cubicBezTo>
                  <a:cubicBezTo>
                    <a:pt x="0" y="13"/>
                    <a:pt x="13" y="0"/>
                    <a:pt x="29" y="0"/>
                  </a:cubicBezTo>
                  <a:cubicBezTo>
                    <a:pt x="45" y="0"/>
                    <a:pt x="57" y="13"/>
                    <a:pt x="57" y="28"/>
                  </a:cubicBezTo>
                  <a:cubicBezTo>
                    <a:pt x="57" y="181"/>
                    <a:pt x="57" y="181"/>
                    <a:pt x="57" y="181"/>
                  </a:cubicBezTo>
                  <a:cubicBezTo>
                    <a:pt x="57" y="196"/>
                    <a:pt x="45" y="209"/>
                    <a:pt x="29" y="209"/>
                  </a:cubicBezTo>
                </a:path>
              </a:pathLst>
            </a:custGeom>
            <a:solidFill>
              <a:schemeClr val="accent3"/>
            </a:solidFill>
            <a:ln>
              <a:solidFill>
                <a:schemeClr val="accent3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2F446B"/>
                </a:solidFill>
                <a:effectLst/>
                <a:uLnTx/>
                <a:uFillTx/>
                <a:latin typeface="CiscoSansTT ExtraLight"/>
                <a:ea typeface="+mn-ea"/>
                <a:cs typeface="+mn-cs"/>
              </a:endParaRPr>
            </a:p>
          </p:txBody>
        </p:sp>
        <p:sp>
          <p:nvSpPr>
            <p:cNvPr id="74" name="Freeform 665">
              <a:extLst>
                <a:ext uri="{FF2B5EF4-FFF2-40B4-BE49-F238E27FC236}">
                  <a16:creationId xmlns:a16="http://schemas.microsoft.com/office/drawing/2014/main" id="{823775EC-3397-7B41-AA48-49415C995833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1579728" y="2368943"/>
              <a:ext cx="496986" cy="134996"/>
            </a:xfrm>
            <a:custGeom>
              <a:avLst/>
              <a:gdLst>
                <a:gd name="T0" fmla="*/ 0 w 210"/>
                <a:gd name="T1" fmla="*/ 28 h 57"/>
                <a:gd name="T2" fmla="*/ 0 w 210"/>
                <a:gd name="T3" fmla="*/ 28 h 57"/>
                <a:gd name="T4" fmla="*/ 29 w 210"/>
                <a:gd name="T5" fmla="*/ 0 h 57"/>
                <a:gd name="T6" fmla="*/ 181 w 210"/>
                <a:gd name="T7" fmla="*/ 0 h 57"/>
                <a:gd name="T8" fmla="*/ 210 w 210"/>
                <a:gd name="T9" fmla="*/ 28 h 57"/>
                <a:gd name="T10" fmla="*/ 181 w 210"/>
                <a:gd name="T11" fmla="*/ 57 h 57"/>
                <a:gd name="T12" fmla="*/ 29 w 210"/>
                <a:gd name="T13" fmla="*/ 57 h 57"/>
                <a:gd name="T14" fmla="*/ 0 w 210"/>
                <a:gd name="T15" fmla="*/ 28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10" h="57">
                  <a:moveTo>
                    <a:pt x="0" y="28"/>
                  </a:moveTo>
                  <a:cubicBezTo>
                    <a:pt x="0" y="28"/>
                    <a:pt x="0" y="28"/>
                    <a:pt x="0" y="28"/>
                  </a:cubicBezTo>
                  <a:cubicBezTo>
                    <a:pt x="0" y="13"/>
                    <a:pt x="13" y="0"/>
                    <a:pt x="29" y="0"/>
                  </a:cubicBezTo>
                  <a:cubicBezTo>
                    <a:pt x="181" y="0"/>
                    <a:pt x="181" y="0"/>
                    <a:pt x="181" y="0"/>
                  </a:cubicBezTo>
                  <a:cubicBezTo>
                    <a:pt x="197" y="0"/>
                    <a:pt x="210" y="13"/>
                    <a:pt x="210" y="28"/>
                  </a:cubicBezTo>
                  <a:cubicBezTo>
                    <a:pt x="210" y="44"/>
                    <a:pt x="197" y="57"/>
                    <a:pt x="181" y="57"/>
                  </a:cubicBezTo>
                  <a:cubicBezTo>
                    <a:pt x="29" y="57"/>
                    <a:pt x="29" y="57"/>
                    <a:pt x="29" y="57"/>
                  </a:cubicBezTo>
                  <a:cubicBezTo>
                    <a:pt x="13" y="57"/>
                    <a:pt x="0" y="44"/>
                    <a:pt x="0" y="28"/>
                  </a:cubicBezTo>
                </a:path>
              </a:pathLst>
            </a:custGeom>
            <a:solidFill>
              <a:schemeClr val="accent3"/>
            </a:solidFill>
            <a:ln>
              <a:solidFill>
                <a:schemeClr val="accent3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2F446B"/>
                </a:solidFill>
                <a:effectLst/>
                <a:uLnTx/>
                <a:uFillTx/>
                <a:latin typeface="CiscoSansTT ExtraLight"/>
                <a:ea typeface="+mn-ea"/>
                <a:cs typeface="+mn-cs"/>
              </a:endParaRPr>
            </a:p>
          </p:txBody>
        </p:sp>
        <p:sp>
          <p:nvSpPr>
            <p:cNvPr id="75" name="Rectangle 74">
              <a:extLst>
                <a:ext uri="{FF2B5EF4-FFF2-40B4-BE49-F238E27FC236}">
                  <a16:creationId xmlns:a16="http://schemas.microsoft.com/office/drawing/2014/main" id="{11216E2F-5DAF-434D-88BD-7161946F5446}"/>
                </a:ext>
              </a:extLst>
            </p:cNvPr>
            <p:cNvSpPr/>
            <p:nvPr/>
          </p:nvSpPr>
          <p:spPr>
            <a:xfrm>
              <a:off x="1759636" y="2367857"/>
              <a:ext cx="137160" cy="137160"/>
            </a:xfrm>
            <a:prstGeom prst="rect">
              <a:avLst/>
            </a:prstGeom>
            <a:solidFill>
              <a:schemeClr val="accent3">
                <a:lumMod val="75000"/>
              </a:schemeClr>
            </a:solidFill>
            <a:ln w="3175">
              <a:solidFill>
                <a:schemeClr val="accent3">
                  <a:lumMod val="75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iscoSansTT ExtraLight"/>
                <a:ea typeface="+mn-ea"/>
                <a:cs typeface="+mn-cs"/>
              </a:endParaRPr>
            </a:p>
          </p:txBody>
        </p:sp>
      </p:grpSp>
      <p:grpSp>
        <p:nvGrpSpPr>
          <p:cNvPr id="5" name="Group 4">
            <a:extLst>
              <a:ext uri="{FF2B5EF4-FFF2-40B4-BE49-F238E27FC236}">
                <a16:creationId xmlns:a16="http://schemas.microsoft.com/office/drawing/2014/main" id="{37EE1885-B4F7-E743-847F-A1FCA6C294A1}"/>
              </a:ext>
            </a:extLst>
          </p:cNvPr>
          <p:cNvGrpSpPr/>
          <p:nvPr/>
        </p:nvGrpSpPr>
        <p:grpSpPr>
          <a:xfrm>
            <a:off x="8437392" y="2397157"/>
            <a:ext cx="546435" cy="346175"/>
            <a:chOff x="8429662" y="2506020"/>
            <a:chExt cx="546435" cy="346175"/>
          </a:xfrm>
        </p:grpSpPr>
        <p:sp>
          <p:nvSpPr>
            <p:cNvPr id="78" name="Freeform 665">
              <a:extLst>
                <a:ext uri="{FF2B5EF4-FFF2-40B4-BE49-F238E27FC236}">
                  <a16:creationId xmlns:a16="http://schemas.microsoft.com/office/drawing/2014/main" id="{8A5A3774-AC34-D046-B73F-72349D89CB8B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8429662" y="2506020"/>
              <a:ext cx="546435" cy="148428"/>
            </a:xfrm>
            <a:custGeom>
              <a:avLst/>
              <a:gdLst>
                <a:gd name="T0" fmla="*/ 0 w 210"/>
                <a:gd name="T1" fmla="*/ 28 h 57"/>
                <a:gd name="T2" fmla="*/ 0 w 210"/>
                <a:gd name="T3" fmla="*/ 28 h 57"/>
                <a:gd name="T4" fmla="*/ 29 w 210"/>
                <a:gd name="T5" fmla="*/ 0 h 57"/>
                <a:gd name="T6" fmla="*/ 181 w 210"/>
                <a:gd name="T7" fmla="*/ 0 h 57"/>
                <a:gd name="T8" fmla="*/ 210 w 210"/>
                <a:gd name="T9" fmla="*/ 28 h 57"/>
                <a:gd name="T10" fmla="*/ 181 w 210"/>
                <a:gd name="T11" fmla="*/ 57 h 57"/>
                <a:gd name="T12" fmla="*/ 29 w 210"/>
                <a:gd name="T13" fmla="*/ 57 h 57"/>
                <a:gd name="T14" fmla="*/ 0 w 210"/>
                <a:gd name="T15" fmla="*/ 28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10" h="57">
                  <a:moveTo>
                    <a:pt x="0" y="28"/>
                  </a:moveTo>
                  <a:cubicBezTo>
                    <a:pt x="0" y="28"/>
                    <a:pt x="0" y="28"/>
                    <a:pt x="0" y="28"/>
                  </a:cubicBezTo>
                  <a:cubicBezTo>
                    <a:pt x="0" y="13"/>
                    <a:pt x="13" y="0"/>
                    <a:pt x="29" y="0"/>
                  </a:cubicBezTo>
                  <a:cubicBezTo>
                    <a:pt x="181" y="0"/>
                    <a:pt x="181" y="0"/>
                    <a:pt x="181" y="0"/>
                  </a:cubicBezTo>
                  <a:cubicBezTo>
                    <a:pt x="197" y="0"/>
                    <a:pt x="210" y="13"/>
                    <a:pt x="210" y="28"/>
                  </a:cubicBezTo>
                  <a:cubicBezTo>
                    <a:pt x="210" y="44"/>
                    <a:pt x="197" y="57"/>
                    <a:pt x="181" y="57"/>
                  </a:cubicBezTo>
                  <a:cubicBezTo>
                    <a:pt x="29" y="57"/>
                    <a:pt x="29" y="57"/>
                    <a:pt x="29" y="57"/>
                  </a:cubicBezTo>
                  <a:cubicBezTo>
                    <a:pt x="13" y="57"/>
                    <a:pt x="0" y="44"/>
                    <a:pt x="0" y="28"/>
                  </a:cubicBezTo>
                </a:path>
              </a:pathLst>
            </a:custGeom>
            <a:solidFill>
              <a:schemeClr val="accent3"/>
            </a:solidFill>
            <a:ln>
              <a:solidFill>
                <a:schemeClr val="accent3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2F446B"/>
                </a:solidFill>
                <a:effectLst/>
                <a:uLnTx/>
                <a:uFillTx/>
                <a:latin typeface="CiscoSansTT ExtraLight"/>
                <a:ea typeface="+mn-ea"/>
                <a:cs typeface="+mn-cs"/>
              </a:endParaRPr>
            </a:p>
          </p:txBody>
        </p:sp>
        <p:sp>
          <p:nvSpPr>
            <p:cNvPr id="81" name="Freeform 665">
              <a:extLst>
                <a:ext uri="{FF2B5EF4-FFF2-40B4-BE49-F238E27FC236}">
                  <a16:creationId xmlns:a16="http://schemas.microsoft.com/office/drawing/2014/main" id="{89FBAA44-26CB-604E-94BB-577784B757C6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8429662" y="2703767"/>
              <a:ext cx="546435" cy="148428"/>
            </a:xfrm>
            <a:custGeom>
              <a:avLst/>
              <a:gdLst>
                <a:gd name="T0" fmla="*/ 0 w 210"/>
                <a:gd name="T1" fmla="*/ 28 h 57"/>
                <a:gd name="T2" fmla="*/ 0 w 210"/>
                <a:gd name="T3" fmla="*/ 28 h 57"/>
                <a:gd name="T4" fmla="*/ 29 w 210"/>
                <a:gd name="T5" fmla="*/ 0 h 57"/>
                <a:gd name="T6" fmla="*/ 181 w 210"/>
                <a:gd name="T7" fmla="*/ 0 h 57"/>
                <a:gd name="T8" fmla="*/ 210 w 210"/>
                <a:gd name="T9" fmla="*/ 28 h 57"/>
                <a:gd name="T10" fmla="*/ 181 w 210"/>
                <a:gd name="T11" fmla="*/ 57 h 57"/>
                <a:gd name="T12" fmla="*/ 29 w 210"/>
                <a:gd name="T13" fmla="*/ 57 h 57"/>
                <a:gd name="T14" fmla="*/ 0 w 210"/>
                <a:gd name="T15" fmla="*/ 28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10" h="57">
                  <a:moveTo>
                    <a:pt x="0" y="28"/>
                  </a:moveTo>
                  <a:cubicBezTo>
                    <a:pt x="0" y="28"/>
                    <a:pt x="0" y="28"/>
                    <a:pt x="0" y="28"/>
                  </a:cubicBezTo>
                  <a:cubicBezTo>
                    <a:pt x="0" y="13"/>
                    <a:pt x="13" y="0"/>
                    <a:pt x="29" y="0"/>
                  </a:cubicBezTo>
                  <a:cubicBezTo>
                    <a:pt x="181" y="0"/>
                    <a:pt x="181" y="0"/>
                    <a:pt x="181" y="0"/>
                  </a:cubicBezTo>
                  <a:cubicBezTo>
                    <a:pt x="197" y="0"/>
                    <a:pt x="210" y="13"/>
                    <a:pt x="210" y="28"/>
                  </a:cubicBezTo>
                  <a:cubicBezTo>
                    <a:pt x="210" y="44"/>
                    <a:pt x="197" y="57"/>
                    <a:pt x="181" y="57"/>
                  </a:cubicBezTo>
                  <a:cubicBezTo>
                    <a:pt x="29" y="57"/>
                    <a:pt x="29" y="57"/>
                    <a:pt x="29" y="57"/>
                  </a:cubicBezTo>
                  <a:cubicBezTo>
                    <a:pt x="13" y="57"/>
                    <a:pt x="0" y="44"/>
                    <a:pt x="0" y="28"/>
                  </a:cubicBezTo>
                </a:path>
              </a:pathLst>
            </a:custGeom>
            <a:solidFill>
              <a:schemeClr val="accent3"/>
            </a:solidFill>
            <a:ln>
              <a:solidFill>
                <a:schemeClr val="accent3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2F446B"/>
                </a:solidFill>
                <a:effectLst/>
                <a:uLnTx/>
                <a:uFillTx/>
                <a:latin typeface="CiscoSansTT ExtraLight"/>
                <a:ea typeface="+mn-ea"/>
                <a:cs typeface="+mn-cs"/>
              </a:endParaRPr>
            </a:p>
          </p:txBody>
        </p:sp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C5D2B413-0CDF-CC45-A883-F662DBBC95A4}"/>
              </a:ext>
            </a:extLst>
          </p:cNvPr>
          <p:cNvGrpSpPr/>
          <p:nvPr/>
        </p:nvGrpSpPr>
        <p:grpSpPr>
          <a:xfrm>
            <a:off x="1476258" y="2014120"/>
            <a:ext cx="1095173" cy="1081338"/>
            <a:chOff x="1476258" y="2014120"/>
            <a:chExt cx="1095173" cy="1081338"/>
          </a:xfrm>
        </p:grpSpPr>
        <p:pic>
          <p:nvPicPr>
            <p:cNvPr id="7" name="Graphic 6">
              <a:extLst>
                <a:ext uri="{FF2B5EF4-FFF2-40B4-BE49-F238E27FC236}">
                  <a16:creationId xmlns:a16="http://schemas.microsoft.com/office/drawing/2014/main" id="{BA32F31B-769E-4E27-83B0-288CC3EA1867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1595717" y="2120990"/>
              <a:ext cx="867600" cy="867600"/>
            </a:xfrm>
            <a:prstGeom prst="rect">
              <a:avLst/>
            </a:prstGeom>
          </p:spPr>
        </p:pic>
        <p:sp>
          <p:nvSpPr>
            <p:cNvPr id="89" name="Freeform 24">
              <a:extLst>
                <a:ext uri="{FF2B5EF4-FFF2-40B4-BE49-F238E27FC236}">
                  <a16:creationId xmlns:a16="http://schemas.microsoft.com/office/drawing/2014/main" id="{5030EE5B-2B86-414B-A6C2-76BFC2485057}"/>
                </a:ext>
              </a:extLst>
            </p:cNvPr>
            <p:cNvSpPr>
              <a:spLocks/>
            </p:cNvSpPr>
            <p:nvPr/>
          </p:nvSpPr>
          <p:spPr bwMode="auto">
            <a:xfrm>
              <a:off x="1476258" y="2014120"/>
              <a:ext cx="1095173" cy="1081338"/>
            </a:xfrm>
            <a:custGeom>
              <a:avLst/>
              <a:gdLst>
                <a:gd name="T0" fmla="*/ 132 w 265"/>
                <a:gd name="T1" fmla="*/ 0 h 265"/>
                <a:gd name="T2" fmla="*/ 265 w 265"/>
                <a:gd name="T3" fmla="*/ 132 h 265"/>
                <a:gd name="T4" fmla="*/ 132 w 265"/>
                <a:gd name="T5" fmla="*/ 265 h 265"/>
                <a:gd name="T6" fmla="*/ 0 w 265"/>
                <a:gd name="T7" fmla="*/ 132 h 265"/>
                <a:gd name="T8" fmla="*/ 132 w 265"/>
                <a:gd name="T9" fmla="*/ 0 h 265"/>
                <a:gd name="T10" fmla="*/ 132 w 265"/>
                <a:gd name="T11" fmla="*/ 0 h 2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5" h="265">
                  <a:moveTo>
                    <a:pt x="132" y="0"/>
                  </a:moveTo>
                  <a:cubicBezTo>
                    <a:pt x="206" y="0"/>
                    <a:pt x="265" y="59"/>
                    <a:pt x="265" y="132"/>
                  </a:cubicBezTo>
                  <a:cubicBezTo>
                    <a:pt x="265" y="205"/>
                    <a:pt x="206" y="265"/>
                    <a:pt x="132" y="265"/>
                  </a:cubicBezTo>
                  <a:cubicBezTo>
                    <a:pt x="59" y="265"/>
                    <a:pt x="0" y="205"/>
                    <a:pt x="0" y="132"/>
                  </a:cubicBezTo>
                  <a:cubicBezTo>
                    <a:pt x="0" y="59"/>
                    <a:pt x="59" y="0"/>
                    <a:pt x="132" y="0"/>
                  </a:cubicBezTo>
                  <a:cubicBezTo>
                    <a:pt x="132" y="0"/>
                    <a:pt x="132" y="0"/>
                    <a:pt x="132" y="0"/>
                  </a:cubicBezTo>
                </a:path>
              </a:pathLst>
            </a:custGeom>
            <a:noFill/>
            <a:ln w="50800" cap="rnd">
              <a:solidFill>
                <a:schemeClr val="tx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2F446B"/>
                </a:solidFill>
                <a:effectLst/>
                <a:uLnTx/>
                <a:uFillTx/>
                <a:latin typeface="CiscoSansTT ExtraLight"/>
                <a:ea typeface="+mn-ea"/>
                <a:cs typeface="+mn-cs"/>
              </a:endParaRPr>
            </a:p>
          </p:txBody>
        </p:sp>
      </p:grpSp>
      <p:grpSp>
        <p:nvGrpSpPr>
          <p:cNvPr id="9" name="Group 8">
            <a:extLst>
              <a:ext uri="{FF2B5EF4-FFF2-40B4-BE49-F238E27FC236}">
                <a16:creationId xmlns:a16="http://schemas.microsoft.com/office/drawing/2014/main" id="{E1A5AA1E-63FE-CF4F-B16C-8D6767A03196}"/>
              </a:ext>
            </a:extLst>
          </p:cNvPr>
          <p:cNvGrpSpPr/>
          <p:nvPr/>
        </p:nvGrpSpPr>
        <p:grpSpPr>
          <a:xfrm>
            <a:off x="4154416" y="2029576"/>
            <a:ext cx="1095173" cy="1081338"/>
            <a:chOff x="4154416" y="2029576"/>
            <a:chExt cx="1095173" cy="1081338"/>
          </a:xfrm>
        </p:grpSpPr>
        <p:pic>
          <p:nvPicPr>
            <p:cNvPr id="68" name="Picture 67">
              <a:extLst>
                <a:ext uri="{FF2B5EF4-FFF2-40B4-BE49-F238E27FC236}">
                  <a16:creationId xmlns:a16="http://schemas.microsoft.com/office/drawing/2014/main" id="{AD2AD894-EA00-4EF8-B991-EE71FD596647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277272" y="2142730"/>
              <a:ext cx="866045" cy="866045"/>
            </a:xfrm>
            <a:prstGeom prst="rect">
              <a:avLst/>
            </a:prstGeom>
          </p:spPr>
        </p:pic>
        <p:sp>
          <p:nvSpPr>
            <p:cNvPr id="95" name="Freeform 24">
              <a:extLst>
                <a:ext uri="{FF2B5EF4-FFF2-40B4-BE49-F238E27FC236}">
                  <a16:creationId xmlns:a16="http://schemas.microsoft.com/office/drawing/2014/main" id="{892C9952-2C52-F34D-9C37-A092EEB86479}"/>
                </a:ext>
              </a:extLst>
            </p:cNvPr>
            <p:cNvSpPr>
              <a:spLocks/>
            </p:cNvSpPr>
            <p:nvPr/>
          </p:nvSpPr>
          <p:spPr bwMode="auto">
            <a:xfrm>
              <a:off x="4154416" y="2029576"/>
              <a:ext cx="1095173" cy="1081338"/>
            </a:xfrm>
            <a:custGeom>
              <a:avLst/>
              <a:gdLst>
                <a:gd name="T0" fmla="*/ 132 w 265"/>
                <a:gd name="T1" fmla="*/ 0 h 265"/>
                <a:gd name="T2" fmla="*/ 265 w 265"/>
                <a:gd name="T3" fmla="*/ 132 h 265"/>
                <a:gd name="T4" fmla="*/ 132 w 265"/>
                <a:gd name="T5" fmla="*/ 265 h 265"/>
                <a:gd name="T6" fmla="*/ 0 w 265"/>
                <a:gd name="T7" fmla="*/ 132 h 265"/>
                <a:gd name="T8" fmla="*/ 132 w 265"/>
                <a:gd name="T9" fmla="*/ 0 h 265"/>
                <a:gd name="T10" fmla="*/ 132 w 265"/>
                <a:gd name="T11" fmla="*/ 0 h 2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5" h="265">
                  <a:moveTo>
                    <a:pt x="132" y="0"/>
                  </a:moveTo>
                  <a:cubicBezTo>
                    <a:pt x="206" y="0"/>
                    <a:pt x="265" y="59"/>
                    <a:pt x="265" y="132"/>
                  </a:cubicBezTo>
                  <a:cubicBezTo>
                    <a:pt x="265" y="205"/>
                    <a:pt x="206" y="265"/>
                    <a:pt x="132" y="265"/>
                  </a:cubicBezTo>
                  <a:cubicBezTo>
                    <a:pt x="59" y="265"/>
                    <a:pt x="0" y="205"/>
                    <a:pt x="0" y="132"/>
                  </a:cubicBezTo>
                  <a:cubicBezTo>
                    <a:pt x="0" y="59"/>
                    <a:pt x="59" y="0"/>
                    <a:pt x="132" y="0"/>
                  </a:cubicBezTo>
                  <a:cubicBezTo>
                    <a:pt x="132" y="0"/>
                    <a:pt x="132" y="0"/>
                    <a:pt x="132" y="0"/>
                  </a:cubicBezTo>
                </a:path>
              </a:pathLst>
            </a:custGeom>
            <a:noFill/>
            <a:ln w="50800" cap="rnd">
              <a:solidFill>
                <a:schemeClr val="tx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2F446B"/>
                </a:solidFill>
                <a:effectLst/>
                <a:uLnTx/>
                <a:uFillTx/>
                <a:latin typeface="CiscoSansTT ExtraLight"/>
                <a:ea typeface="+mn-ea"/>
                <a:cs typeface="+mn-cs"/>
              </a:endParaRPr>
            </a:p>
          </p:txBody>
        </p:sp>
      </p:grpSp>
      <p:grpSp>
        <p:nvGrpSpPr>
          <p:cNvPr id="10" name="Group 9">
            <a:extLst>
              <a:ext uri="{FF2B5EF4-FFF2-40B4-BE49-F238E27FC236}">
                <a16:creationId xmlns:a16="http://schemas.microsoft.com/office/drawing/2014/main" id="{8292F6A8-9EBD-234B-8E0A-9BA17998E8FF}"/>
              </a:ext>
            </a:extLst>
          </p:cNvPr>
          <p:cNvGrpSpPr/>
          <p:nvPr/>
        </p:nvGrpSpPr>
        <p:grpSpPr>
          <a:xfrm>
            <a:off x="6898381" y="2024911"/>
            <a:ext cx="1095173" cy="1081338"/>
            <a:chOff x="6898381" y="2024911"/>
            <a:chExt cx="1095173" cy="1081338"/>
          </a:xfrm>
        </p:grpSpPr>
        <p:pic>
          <p:nvPicPr>
            <p:cNvPr id="100" name="Graphic 99">
              <a:extLst>
                <a:ext uri="{FF2B5EF4-FFF2-40B4-BE49-F238E27FC236}">
                  <a16:creationId xmlns:a16="http://schemas.microsoft.com/office/drawing/2014/main" id="{6C5A3B2D-1483-4860-84B4-1A2576F1D647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7015083" y="2136445"/>
              <a:ext cx="867624" cy="867600"/>
            </a:xfrm>
            <a:prstGeom prst="rect">
              <a:avLst/>
            </a:prstGeom>
          </p:spPr>
        </p:pic>
        <p:sp>
          <p:nvSpPr>
            <p:cNvPr id="96" name="Freeform 24">
              <a:extLst>
                <a:ext uri="{FF2B5EF4-FFF2-40B4-BE49-F238E27FC236}">
                  <a16:creationId xmlns:a16="http://schemas.microsoft.com/office/drawing/2014/main" id="{1706AF19-54A8-BA49-BD91-1FBD6A4EB03F}"/>
                </a:ext>
              </a:extLst>
            </p:cNvPr>
            <p:cNvSpPr>
              <a:spLocks/>
            </p:cNvSpPr>
            <p:nvPr/>
          </p:nvSpPr>
          <p:spPr bwMode="auto">
            <a:xfrm>
              <a:off x="6898381" y="2024911"/>
              <a:ext cx="1095173" cy="1081338"/>
            </a:xfrm>
            <a:custGeom>
              <a:avLst/>
              <a:gdLst>
                <a:gd name="T0" fmla="*/ 132 w 265"/>
                <a:gd name="T1" fmla="*/ 0 h 265"/>
                <a:gd name="T2" fmla="*/ 265 w 265"/>
                <a:gd name="T3" fmla="*/ 132 h 265"/>
                <a:gd name="T4" fmla="*/ 132 w 265"/>
                <a:gd name="T5" fmla="*/ 265 h 265"/>
                <a:gd name="T6" fmla="*/ 0 w 265"/>
                <a:gd name="T7" fmla="*/ 132 h 265"/>
                <a:gd name="T8" fmla="*/ 132 w 265"/>
                <a:gd name="T9" fmla="*/ 0 h 265"/>
                <a:gd name="T10" fmla="*/ 132 w 265"/>
                <a:gd name="T11" fmla="*/ 0 h 2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5" h="265">
                  <a:moveTo>
                    <a:pt x="132" y="0"/>
                  </a:moveTo>
                  <a:cubicBezTo>
                    <a:pt x="206" y="0"/>
                    <a:pt x="265" y="59"/>
                    <a:pt x="265" y="132"/>
                  </a:cubicBezTo>
                  <a:cubicBezTo>
                    <a:pt x="265" y="205"/>
                    <a:pt x="206" y="265"/>
                    <a:pt x="132" y="265"/>
                  </a:cubicBezTo>
                  <a:cubicBezTo>
                    <a:pt x="59" y="265"/>
                    <a:pt x="0" y="205"/>
                    <a:pt x="0" y="132"/>
                  </a:cubicBezTo>
                  <a:cubicBezTo>
                    <a:pt x="0" y="59"/>
                    <a:pt x="59" y="0"/>
                    <a:pt x="132" y="0"/>
                  </a:cubicBezTo>
                  <a:cubicBezTo>
                    <a:pt x="132" y="0"/>
                    <a:pt x="132" y="0"/>
                    <a:pt x="132" y="0"/>
                  </a:cubicBezTo>
                </a:path>
              </a:pathLst>
            </a:custGeom>
            <a:noFill/>
            <a:ln w="50800" cap="rnd">
              <a:solidFill>
                <a:schemeClr val="tx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2F446B"/>
                </a:solidFill>
                <a:effectLst/>
                <a:uLnTx/>
                <a:uFillTx/>
                <a:latin typeface="CiscoSansTT ExtraLight"/>
                <a:ea typeface="+mn-ea"/>
                <a:cs typeface="+mn-cs"/>
              </a:endParaRPr>
            </a:p>
          </p:txBody>
        </p:sp>
      </p:grpSp>
      <p:grpSp>
        <p:nvGrpSpPr>
          <p:cNvPr id="11" name="Group 10">
            <a:extLst>
              <a:ext uri="{FF2B5EF4-FFF2-40B4-BE49-F238E27FC236}">
                <a16:creationId xmlns:a16="http://schemas.microsoft.com/office/drawing/2014/main" id="{BA16D323-225A-6148-8421-F1F96E5E9424}"/>
              </a:ext>
            </a:extLst>
          </p:cNvPr>
          <p:cNvGrpSpPr/>
          <p:nvPr/>
        </p:nvGrpSpPr>
        <p:grpSpPr>
          <a:xfrm>
            <a:off x="9517670" y="2013337"/>
            <a:ext cx="1095173" cy="1081338"/>
            <a:chOff x="9517670" y="2013337"/>
            <a:chExt cx="1095173" cy="1081338"/>
          </a:xfrm>
        </p:grpSpPr>
        <p:pic>
          <p:nvPicPr>
            <p:cNvPr id="4" name="Picture 3">
              <a:extLst>
                <a:ext uri="{FF2B5EF4-FFF2-40B4-BE49-F238E27FC236}">
                  <a16:creationId xmlns:a16="http://schemas.microsoft.com/office/drawing/2014/main" id="{46DC1F96-5809-4A38-A2DA-FB46E5AAC141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638047" y="2123124"/>
              <a:ext cx="867600" cy="863331"/>
            </a:xfrm>
            <a:prstGeom prst="rect">
              <a:avLst/>
            </a:prstGeom>
          </p:spPr>
        </p:pic>
        <p:sp>
          <p:nvSpPr>
            <p:cNvPr id="98" name="Freeform 24">
              <a:extLst>
                <a:ext uri="{FF2B5EF4-FFF2-40B4-BE49-F238E27FC236}">
                  <a16:creationId xmlns:a16="http://schemas.microsoft.com/office/drawing/2014/main" id="{41C1970D-0627-C24D-BE2E-CC2AD2E3C084}"/>
                </a:ext>
              </a:extLst>
            </p:cNvPr>
            <p:cNvSpPr>
              <a:spLocks/>
            </p:cNvSpPr>
            <p:nvPr/>
          </p:nvSpPr>
          <p:spPr bwMode="auto">
            <a:xfrm>
              <a:off x="9517670" y="2013337"/>
              <a:ext cx="1095173" cy="1081338"/>
            </a:xfrm>
            <a:custGeom>
              <a:avLst/>
              <a:gdLst>
                <a:gd name="T0" fmla="*/ 132 w 265"/>
                <a:gd name="T1" fmla="*/ 0 h 265"/>
                <a:gd name="T2" fmla="*/ 265 w 265"/>
                <a:gd name="T3" fmla="*/ 132 h 265"/>
                <a:gd name="T4" fmla="*/ 132 w 265"/>
                <a:gd name="T5" fmla="*/ 265 h 265"/>
                <a:gd name="T6" fmla="*/ 0 w 265"/>
                <a:gd name="T7" fmla="*/ 132 h 265"/>
                <a:gd name="T8" fmla="*/ 132 w 265"/>
                <a:gd name="T9" fmla="*/ 0 h 265"/>
                <a:gd name="T10" fmla="*/ 132 w 265"/>
                <a:gd name="T11" fmla="*/ 0 h 2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5" h="265">
                  <a:moveTo>
                    <a:pt x="132" y="0"/>
                  </a:moveTo>
                  <a:cubicBezTo>
                    <a:pt x="206" y="0"/>
                    <a:pt x="265" y="59"/>
                    <a:pt x="265" y="132"/>
                  </a:cubicBezTo>
                  <a:cubicBezTo>
                    <a:pt x="265" y="205"/>
                    <a:pt x="206" y="265"/>
                    <a:pt x="132" y="265"/>
                  </a:cubicBezTo>
                  <a:cubicBezTo>
                    <a:pt x="59" y="265"/>
                    <a:pt x="0" y="205"/>
                    <a:pt x="0" y="132"/>
                  </a:cubicBezTo>
                  <a:cubicBezTo>
                    <a:pt x="0" y="59"/>
                    <a:pt x="59" y="0"/>
                    <a:pt x="132" y="0"/>
                  </a:cubicBezTo>
                  <a:cubicBezTo>
                    <a:pt x="132" y="0"/>
                    <a:pt x="132" y="0"/>
                    <a:pt x="132" y="0"/>
                  </a:cubicBezTo>
                </a:path>
              </a:pathLst>
            </a:custGeom>
            <a:noFill/>
            <a:ln w="50800" cap="rnd">
              <a:solidFill>
                <a:schemeClr val="tx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2F446B"/>
                </a:solidFill>
                <a:effectLst/>
                <a:uLnTx/>
                <a:uFillTx/>
                <a:latin typeface="CiscoSansTT ExtraLight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744583824"/>
      </p:ext>
    </p:extLst>
  </p:cSld>
  <p:clrMapOvr>
    <a:masterClrMapping/>
  </p:clrMapOvr>
  <p:transition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3" name="Group 22">
            <a:extLst>
              <a:ext uri="{FF2B5EF4-FFF2-40B4-BE49-F238E27FC236}">
                <a16:creationId xmlns:a16="http://schemas.microsoft.com/office/drawing/2014/main" id="{F8DD72EC-ADA5-4934-9B01-2BCC3B29A6D9}"/>
              </a:ext>
            </a:extLst>
          </p:cNvPr>
          <p:cNvGrpSpPr/>
          <p:nvPr/>
        </p:nvGrpSpPr>
        <p:grpSpPr>
          <a:xfrm>
            <a:off x="8216436" y="-187762"/>
            <a:ext cx="959781" cy="7779841"/>
            <a:chOff x="7532537" y="-69232"/>
            <a:chExt cx="959781" cy="7004652"/>
          </a:xfrm>
          <a:solidFill>
            <a:schemeClr val="accent4"/>
          </a:solidFill>
        </p:grpSpPr>
        <p:sp>
          <p:nvSpPr>
            <p:cNvPr id="24" name="Rectangle: Top Corners Rounded 23">
              <a:extLst>
                <a:ext uri="{FF2B5EF4-FFF2-40B4-BE49-F238E27FC236}">
                  <a16:creationId xmlns:a16="http://schemas.microsoft.com/office/drawing/2014/main" id="{99722051-A8DD-4DCA-9436-930277D5BCB7}"/>
                </a:ext>
              </a:extLst>
            </p:cNvPr>
            <p:cNvSpPr/>
            <p:nvPr/>
          </p:nvSpPr>
          <p:spPr>
            <a:xfrm>
              <a:off x="7532537" y="0"/>
              <a:ext cx="959781" cy="6518874"/>
            </a:xfrm>
            <a:prstGeom prst="round2SameRect">
              <a:avLst>
                <a:gd name="adj1" fmla="val 0"/>
                <a:gd name="adj2" fmla="val 5000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iscoSansTT ExtraLight"/>
                <a:ea typeface="+mn-ea"/>
                <a:cs typeface="+mn-cs"/>
                <a:sym typeface="Arial"/>
              </a:endParaRPr>
            </a:p>
          </p:txBody>
        </p:sp>
        <p:grpSp>
          <p:nvGrpSpPr>
            <p:cNvPr id="25" name="Group 24">
              <a:extLst>
                <a:ext uri="{FF2B5EF4-FFF2-40B4-BE49-F238E27FC236}">
                  <a16:creationId xmlns:a16="http://schemas.microsoft.com/office/drawing/2014/main" id="{38BF5766-B197-4A6A-AAC6-E059E99236B6}"/>
                </a:ext>
              </a:extLst>
            </p:cNvPr>
            <p:cNvGrpSpPr/>
            <p:nvPr/>
          </p:nvGrpSpPr>
          <p:grpSpPr>
            <a:xfrm>
              <a:off x="7683305" y="-69232"/>
              <a:ext cx="658244" cy="7004652"/>
              <a:chOff x="9417985" y="5100986"/>
              <a:chExt cx="658244" cy="7004652"/>
            </a:xfrm>
            <a:grpFill/>
          </p:grpSpPr>
          <p:sp>
            <p:nvSpPr>
              <p:cNvPr id="26" name="Rectangle: Rounded Corners 25">
                <a:extLst>
                  <a:ext uri="{FF2B5EF4-FFF2-40B4-BE49-F238E27FC236}">
                    <a16:creationId xmlns:a16="http://schemas.microsoft.com/office/drawing/2014/main" id="{41A90BA3-54CA-4419-8ED4-CE6BDE92E1FE}"/>
                  </a:ext>
                </a:extLst>
              </p:cNvPr>
              <p:cNvSpPr/>
              <p:nvPr/>
            </p:nvSpPr>
            <p:spPr>
              <a:xfrm rot="5400000">
                <a:off x="6541528" y="8217259"/>
                <a:ext cx="6411158" cy="178611"/>
              </a:xfrm>
              <a:prstGeom prst="roundRect">
                <a:avLst>
                  <a:gd name="adj" fmla="val 50000"/>
                </a:avLst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10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iscoSansTT ExtraLight"/>
                  <a:ea typeface="+mn-ea"/>
                  <a:cs typeface="CiscoSansTT ExtraLight" panose="020B0303020201020303" pitchFamily="34" charset="0"/>
                  <a:sym typeface="Arial"/>
                </a:endParaRPr>
              </a:p>
            </p:txBody>
          </p:sp>
          <p:sp>
            <p:nvSpPr>
              <p:cNvPr id="27" name="Graphic 5">
                <a:extLst>
                  <a:ext uri="{FF2B5EF4-FFF2-40B4-BE49-F238E27FC236}">
                    <a16:creationId xmlns:a16="http://schemas.microsoft.com/office/drawing/2014/main" id="{C8A3AAE9-9BAF-4572-8EAE-E734B8491FDF}"/>
                  </a:ext>
                </a:extLst>
              </p:cNvPr>
              <p:cNvSpPr/>
              <p:nvPr/>
            </p:nvSpPr>
            <p:spPr>
              <a:xfrm rot="5400000">
                <a:off x="9573450" y="11602859"/>
                <a:ext cx="347314" cy="658244"/>
              </a:xfrm>
              <a:custGeom>
                <a:avLst/>
                <a:gdLst>
                  <a:gd name="connsiteX0" fmla="*/ 56424 w 1000125"/>
                  <a:gd name="connsiteY0" fmla="*/ 1642336 h 1895475"/>
                  <a:gd name="connsiteX1" fmla="*/ 74520 w 1000125"/>
                  <a:gd name="connsiteY1" fmla="*/ 1866173 h 1895475"/>
                  <a:gd name="connsiteX2" fmla="*/ 299311 w 1000125"/>
                  <a:gd name="connsiteY2" fmla="*/ 1848076 h 1895475"/>
                  <a:gd name="connsiteX3" fmla="*/ 971775 w 1000125"/>
                  <a:gd name="connsiteY3" fmla="*/ 1060358 h 1895475"/>
                  <a:gd name="connsiteX4" fmla="*/ 970824 w 1000125"/>
                  <a:gd name="connsiteY4" fmla="*/ 854618 h 1895475"/>
                  <a:gd name="connsiteX5" fmla="*/ 280261 w 1000125"/>
                  <a:gd name="connsiteY5" fmla="*/ 55470 h 1895475"/>
                  <a:gd name="connsiteX6" fmla="*/ 55470 w 1000125"/>
                  <a:gd name="connsiteY6" fmla="*/ 38326 h 1895475"/>
                  <a:gd name="connsiteX7" fmla="*/ 38326 w 1000125"/>
                  <a:gd name="connsiteY7" fmla="*/ 262163 h 1895475"/>
                  <a:gd name="connsiteX8" fmla="*/ 639353 w 1000125"/>
                  <a:gd name="connsiteY8" fmla="*/ 958441 h 1895475"/>
                  <a:gd name="connsiteX9" fmla="*/ 56424 w 1000125"/>
                  <a:gd name="connsiteY9" fmla="*/ 1642336 h 18954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000125" h="1895475">
                    <a:moveTo>
                      <a:pt x="56424" y="1642336"/>
                    </a:moveTo>
                    <a:cubicBezTo>
                      <a:pt x="-726" y="1709011"/>
                      <a:pt x="7845" y="1809023"/>
                      <a:pt x="74520" y="1866173"/>
                    </a:cubicBezTo>
                    <a:cubicBezTo>
                      <a:pt x="142149" y="1923323"/>
                      <a:pt x="242161" y="1914751"/>
                      <a:pt x="299311" y="1848076"/>
                    </a:cubicBezTo>
                    <a:lnTo>
                      <a:pt x="971775" y="1060358"/>
                    </a:lnTo>
                    <a:cubicBezTo>
                      <a:pt x="1022258" y="1001303"/>
                      <a:pt x="1022258" y="913673"/>
                      <a:pt x="970824" y="854618"/>
                    </a:cubicBezTo>
                    <a:lnTo>
                      <a:pt x="280261" y="55470"/>
                    </a:lnTo>
                    <a:cubicBezTo>
                      <a:pt x="223111" y="-11205"/>
                      <a:pt x="122145" y="-18824"/>
                      <a:pt x="55470" y="38326"/>
                    </a:cubicBezTo>
                    <a:cubicBezTo>
                      <a:pt x="-11205" y="95476"/>
                      <a:pt x="-18824" y="195488"/>
                      <a:pt x="38326" y="262163"/>
                    </a:cubicBezTo>
                    <a:lnTo>
                      <a:pt x="639353" y="958441"/>
                    </a:lnTo>
                    <a:lnTo>
                      <a:pt x="56424" y="1642336"/>
                    </a:lnTo>
                    <a:close/>
                  </a:path>
                </a:pathLst>
              </a:custGeom>
              <a:grpFill/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2F446B"/>
                  </a:solidFill>
                  <a:effectLst/>
                  <a:uLnTx/>
                  <a:uFillTx/>
                  <a:latin typeface="CiscoSansTT Light" panose="020B0503020201020303" pitchFamily="34" charset="0"/>
                  <a:ea typeface="+mn-ea"/>
                  <a:cs typeface="CiscoSansTT Light" panose="020B0503020201020303" pitchFamily="34" charset="0"/>
                  <a:sym typeface="Arial"/>
                </a:endParaRPr>
              </a:p>
            </p:txBody>
          </p:sp>
        </p:grpSp>
      </p:grpSp>
      <p:sp>
        <p:nvSpPr>
          <p:cNvPr id="66" name="TextBox 65">
            <a:extLst>
              <a:ext uri="{FF2B5EF4-FFF2-40B4-BE49-F238E27FC236}">
                <a16:creationId xmlns:a16="http://schemas.microsoft.com/office/drawing/2014/main" id="{B40F58F4-5AFA-4175-A966-34F5E73269E9}"/>
              </a:ext>
            </a:extLst>
          </p:cNvPr>
          <p:cNvSpPr txBox="1"/>
          <p:nvPr/>
        </p:nvSpPr>
        <p:spPr>
          <a:xfrm>
            <a:off x="5482590" y="2492194"/>
            <a:ext cx="2000675" cy="709444"/>
          </a:xfrm>
          <a:prstGeom prst="rect">
            <a:avLst/>
          </a:prstGeom>
          <a:noFill/>
          <a:ln w="25400">
            <a:noFill/>
          </a:ln>
        </p:spPr>
        <p:txBody>
          <a:bodyPr wrap="square" lIns="0" tIns="0" rIns="0" bIns="0" rtlCol="0" anchor="ctr" anchorCtr="0">
            <a:noAutofit/>
          </a:bodyPr>
          <a:lstStyle/>
          <a:p>
            <a:pPr marL="0" marR="0" lvl="0" indent="0" algn="r" defTabSz="609555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282828"/>
              </a:buClr>
              <a:buSzPts val="1200"/>
              <a:buFont typeface="Arial"/>
              <a:buNone/>
              <a:tabLst/>
              <a:defRPr/>
            </a:pPr>
            <a:r>
              <a: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6EBE4A"/>
                </a:solidFill>
                <a:effectLst/>
                <a:uLnTx/>
                <a:uFillTx/>
                <a:latin typeface="CiscoSansTT Light" panose="020B0503020201020303" pitchFamily="34" charset="0"/>
                <a:ea typeface="ＭＳ Ｐゴシック" charset="0"/>
                <a:cs typeface="CiscoSansTT Light" panose="020B0503020201020303" pitchFamily="34" charset="0"/>
                <a:sym typeface="Arial"/>
              </a:rPr>
              <a:t>Countries with capacity issues</a:t>
            </a: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6EBE4A"/>
              </a:solidFill>
              <a:effectLst/>
              <a:uLnTx/>
              <a:uFillTx/>
              <a:latin typeface="CiscoSansTT Light" panose="020B0503020201020303" pitchFamily="34" charset="0"/>
              <a:ea typeface="ＭＳ Ｐゴシック" charset="0"/>
              <a:cs typeface="CiscoSansTT Light" panose="020B0503020201020303" pitchFamily="34" charset="0"/>
              <a:sym typeface="Arial"/>
            </a:endParaRPr>
          </a:p>
        </p:txBody>
      </p:sp>
      <p:sp>
        <p:nvSpPr>
          <p:cNvPr id="67" name="TextBox 66">
            <a:extLst>
              <a:ext uri="{FF2B5EF4-FFF2-40B4-BE49-F238E27FC236}">
                <a16:creationId xmlns:a16="http://schemas.microsoft.com/office/drawing/2014/main" id="{0894F933-CD19-4915-8C5E-11210CA58876}"/>
              </a:ext>
            </a:extLst>
          </p:cNvPr>
          <p:cNvSpPr txBox="1"/>
          <p:nvPr/>
        </p:nvSpPr>
        <p:spPr>
          <a:xfrm>
            <a:off x="5181600" y="4438370"/>
            <a:ext cx="2301665" cy="583071"/>
          </a:xfrm>
          <a:prstGeom prst="rect">
            <a:avLst/>
          </a:prstGeom>
          <a:noFill/>
          <a:ln w="25400">
            <a:noFill/>
          </a:ln>
        </p:spPr>
        <p:txBody>
          <a:bodyPr wrap="square" lIns="0" tIns="0" rIns="0" bIns="0" rtlCol="0" anchor="ctr" anchorCtr="0">
            <a:noAutofit/>
          </a:bodyPr>
          <a:lstStyle/>
          <a:p>
            <a:pPr marL="0" marR="0" lvl="0" indent="0" algn="r" defTabSz="609555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282828"/>
              </a:buClr>
              <a:buSzPts val="1200"/>
              <a:buFont typeface="Arial"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BAB18"/>
                </a:solidFill>
                <a:effectLst/>
                <a:uLnTx/>
                <a:uFillTx/>
                <a:latin typeface="CiscoSansTT Light" panose="020B0503020201020303" pitchFamily="34" charset="0"/>
                <a:ea typeface="ＭＳ Ｐゴシック" charset="0"/>
                <a:cs typeface="CiscoSansTT Light" panose="020B0503020201020303" pitchFamily="34" charset="0"/>
                <a:sym typeface="Arial"/>
              </a:rPr>
              <a:t>Tech-related business disruptions </a:t>
            </a:r>
          </a:p>
        </p:txBody>
      </p:sp>
      <p:sp>
        <p:nvSpPr>
          <p:cNvPr id="8" name="Rectangle: Single Corner Rounded 7">
            <a:extLst>
              <a:ext uri="{FF2B5EF4-FFF2-40B4-BE49-F238E27FC236}">
                <a16:creationId xmlns:a16="http://schemas.microsoft.com/office/drawing/2014/main" id="{663B93F5-34C6-422E-9CBB-ED5EB37F634D}"/>
              </a:ext>
            </a:extLst>
          </p:cNvPr>
          <p:cNvSpPr/>
          <p:nvPr/>
        </p:nvSpPr>
        <p:spPr>
          <a:xfrm rot="10800000" flipH="1">
            <a:off x="0" y="0"/>
            <a:ext cx="4845051" cy="6858000"/>
          </a:xfrm>
          <a:prstGeom prst="round1Rect">
            <a:avLst>
              <a:gd name="adj" fmla="val 17217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/>
              <a:buNone/>
              <a:tabLst/>
              <a:defRPr/>
            </a:pP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iscoSansTT ExtraLight"/>
              <a:ea typeface="+mn-ea"/>
              <a:cs typeface="+mn-cs"/>
              <a:sym typeface="Arial"/>
            </a:endParaRP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E5681519-3A3D-4AC8-9E45-65C897750C1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139" y="1496330"/>
            <a:ext cx="3101023" cy="906463"/>
          </a:xfrm>
        </p:spPr>
        <p:txBody>
          <a:bodyPr/>
          <a:lstStyle/>
          <a:p>
            <a:r>
              <a:rPr lang="en-US">
                <a:solidFill>
                  <a:schemeClr val="bg1"/>
                </a:solidFill>
              </a:rPr>
              <a:t>Your top IT challenges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3A514284-3DD0-48DB-90ED-02F1FAC0AD81}"/>
              </a:ext>
            </a:extLst>
          </p:cNvPr>
          <p:cNvSpPr txBox="1"/>
          <p:nvPr/>
        </p:nvSpPr>
        <p:spPr>
          <a:xfrm>
            <a:off x="719138" y="3853058"/>
            <a:ext cx="3527743" cy="1724495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 marL="180970" marR="0" lvl="0" indent="-180970" algn="l" defTabSz="914377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800"/>
              </a:spcAft>
              <a:buClr>
                <a:srgbClr val="FFFFFF"/>
              </a:buClr>
              <a:buSzPct val="75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6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iscoSansTT ExtraLight"/>
                <a:ea typeface="+mn-ea"/>
                <a:cs typeface="Arial"/>
                <a:sym typeface="Arial"/>
              </a:rPr>
              <a:t>&lt;Insert customer challenge #1&gt; </a:t>
            </a:r>
          </a:p>
          <a:p>
            <a:pPr marL="180970" marR="0" lvl="0" indent="-180970" algn="l" defTabSz="914377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800"/>
              </a:spcAft>
              <a:buClr>
                <a:srgbClr val="FFFFFF"/>
              </a:buClr>
              <a:buSzPct val="75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6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iscoSansTT ExtraLight"/>
                <a:ea typeface="+mn-ea"/>
                <a:cs typeface="Arial"/>
                <a:sym typeface="Arial"/>
              </a:rPr>
              <a:t>&lt;Insert customer challenge # 2&gt; </a:t>
            </a:r>
          </a:p>
          <a:p>
            <a:pPr marL="180970" marR="0" lvl="0" indent="-180970" algn="l" defTabSz="914377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800"/>
              </a:spcAft>
              <a:buClr>
                <a:srgbClr val="FFFFFF"/>
              </a:buClr>
              <a:buSzPct val="75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6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iscoSansTT ExtraLight"/>
                <a:ea typeface="+mn-ea"/>
                <a:cs typeface="Arial"/>
                <a:sym typeface="Arial"/>
              </a:rPr>
              <a:t>&lt;Insert customer challenge # 3&gt;</a:t>
            </a:r>
          </a:p>
          <a:p>
            <a:pPr marL="0" marR="0" lvl="0" indent="0" algn="l" defTabSz="914377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80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GB" sz="16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iscoSansTT ExtraLight"/>
              <a:ea typeface="+mn-ea"/>
              <a:cs typeface="Arial"/>
              <a:sym typeface="Arial"/>
            </a:endParaRP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F048129C-403E-47CF-821A-FE5747124B36}"/>
              </a:ext>
            </a:extLst>
          </p:cNvPr>
          <p:cNvSpPr txBox="1"/>
          <p:nvPr/>
        </p:nvSpPr>
        <p:spPr>
          <a:xfrm>
            <a:off x="9909102" y="1613886"/>
            <a:ext cx="1767492" cy="583071"/>
          </a:xfrm>
          <a:prstGeom prst="rect">
            <a:avLst/>
          </a:prstGeom>
          <a:noFill/>
          <a:ln w="25400">
            <a:noFill/>
          </a:ln>
        </p:spPr>
        <p:txBody>
          <a:bodyPr wrap="square" lIns="0" tIns="0" rIns="0" bIns="0" rtlCol="0" anchor="ctr" anchorCtr="0">
            <a:noAutofit/>
          </a:bodyPr>
          <a:lstStyle/>
          <a:p>
            <a:pPr marL="0" marR="0" lvl="0" indent="0" algn="l" defTabSz="609555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282828"/>
              </a:buClr>
              <a:buSzPts val="1200"/>
              <a:buFont typeface="Arial"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BAB18"/>
                </a:solidFill>
                <a:effectLst/>
                <a:uLnTx/>
                <a:uFillTx/>
                <a:latin typeface="CiscoSansTT Light" panose="020B0503020201020303" pitchFamily="34" charset="0"/>
                <a:ea typeface="ＭＳ Ｐゴシック" charset="0"/>
                <a:cs typeface="CiscoSansTT Light" panose="020B0503020201020303" pitchFamily="34" charset="0"/>
                <a:sym typeface="Arial"/>
              </a:rPr>
              <a:t>Cyberattacks past </a:t>
            </a: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BAB18"/>
                </a:solidFill>
                <a:effectLst/>
                <a:uLnTx/>
                <a:uFillTx/>
                <a:latin typeface="CiscoSansTT Light" panose="020B0503020201020303" pitchFamily="34" charset="0"/>
                <a:ea typeface="ＭＳ Ｐゴシック" charset="0"/>
                <a:cs typeface="CiscoSansTT Light" panose="020B0503020201020303" pitchFamily="34" charset="0"/>
                <a:sym typeface="Arial"/>
              </a:rPr>
              <a:t>2 years</a:t>
            </a: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BAB18"/>
              </a:solidFill>
              <a:effectLst/>
              <a:uLnTx/>
              <a:uFillTx/>
              <a:latin typeface="CiscoSansTT Light" panose="020B0503020201020303" pitchFamily="34" charset="0"/>
              <a:ea typeface="ＭＳ Ｐゴシック" charset="0"/>
              <a:cs typeface="CiscoSansTT Light" panose="020B0503020201020303" pitchFamily="34" charset="0"/>
              <a:sym typeface="Arial"/>
            </a:endParaRPr>
          </a:p>
        </p:txBody>
      </p:sp>
      <p:sp>
        <p:nvSpPr>
          <p:cNvPr id="64" name="TextBox 63">
            <a:extLst>
              <a:ext uri="{FF2B5EF4-FFF2-40B4-BE49-F238E27FC236}">
                <a16:creationId xmlns:a16="http://schemas.microsoft.com/office/drawing/2014/main" id="{FEDDA470-CDA9-4B74-9F81-4065FFD12481}"/>
              </a:ext>
            </a:extLst>
          </p:cNvPr>
          <p:cNvSpPr txBox="1"/>
          <p:nvPr/>
        </p:nvSpPr>
        <p:spPr>
          <a:xfrm>
            <a:off x="9909102" y="3496875"/>
            <a:ext cx="1612053" cy="583071"/>
          </a:xfrm>
          <a:prstGeom prst="rect">
            <a:avLst/>
          </a:prstGeom>
          <a:noFill/>
          <a:ln w="25400">
            <a:noFill/>
          </a:ln>
        </p:spPr>
        <p:txBody>
          <a:bodyPr wrap="square" lIns="0" tIns="0" rIns="0" bIns="0" rtlCol="0" anchor="ctr" anchorCtr="0">
            <a:noAutofit/>
          </a:bodyPr>
          <a:lstStyle/>
          <a:p>
            <a:pPr marL="0" marR="0" lvl="0" indent="0" algn="l" defTabSz="609555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282828"/>
              </a:buClr>
              <a:buSzPts val="1200"/>
              <a:buFont typeface="Arial"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BCEB"/>
                </a:solidFill>
                <a:effectLst/>
                <a:uLnTx/>
                <a:uFillTx/>
                <a:latin typeface="CiscoSansTT Light" panose="020B0503020201020303" pitchFamily="34" charset="0"/>
                <a:ea typeface="ＭＳ Ｐゴシック" charset="0"/>
                <a:cs typeface="CiscoSansTT Light" panose="020B0503020201020303" pitchFamily="34" charset="0"/>
                <a:sym typeface="Arial"/>
              </a:rPr>
              <a:t>Legacy system need updating</a:t>
            </a:r>
          </a:p>
        </p:txBody>
      </p:sp>
      <p:sp>
        <p:nvSpPr>
          <p:cNvPr id="65" name="TextBox 64">
            <a:extLst>
              <a:ext uri="{FF2B5EF4-FFF2-40B4-BE49-F238E27FC236}">
                <a16:creationId xmlns:a16="http://schemas.microsoft.com/office/drawing/2014/main" id="{BFFDBE3A-CF79-498C-A2EC-364E70F0BB02}"/>
              </a:ext>
            </a:extLst>
          </p:cNvPr>
          <p:cNvSpPr txBox="1"/>
          <p:nvPr/>
        </p:nvSpPr>
        <p:spPr>
          <a:xfrm>
            <a:off x="9909102" y="5379866"/>
            <a:ext cx="1814905" cy="583071"/>
          </a:xfrm>
          <a:prstGeom prst="rect">
            <a:avLst/>
          </a:prstGeom>
          <a:noFill/>
          <a:ln w="25400">
            <a:noFill/>
          </a:ln>
        </p:spPr>
        <p:txBody>
          <a:bodyPr wrap="square" lIns="0" tIns="0" rIns="0" bIns="0" rtlCol="0" anchor="ctr" anchorCtr="0">
            <a:noAutofit/>
          </a:bodyPr>
          <a:lstStyle/>
          <a:p>
            <a:pPr marL="0" marR="0" lvl="0" indent="0" algn="l" defTabSz="609555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282828"/>
              </a:buClr>
              <a:buSzPts val="1200"/>
              <a:buFont typeface="Arial"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6EBE4A"/>
                </a:solidFill>
                <a:effectLst/>
                <a:uLnTx/>
                <a:uFillTx/>
                <a:latin typeface="CiscoSansTT Light" panose="020B0503020201020303" pitchFamily="34" charset="0"/>
                <a:ea typeface="ＭＳ Ｐゴシック" charset="0"/>
                <a:cs typeface="CiscoSansTT Light" panose="020B0503020201020303" pitchFamily="34" charset="0"/>
                <a:sym typeface="Arial"/>
              </a:rPr>
              <a:t>Experiencing skills gap 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CC933DFF-1ADB-410A-9EDE-8F659CA81C51}"/>
              </a:ext>
            </a:extLst>
          </p:cNvPr>
          <p:cNvSpPr txBox="1"/>
          <p:nvPr/>
        </p:nvSpPr>
        <p:spPr>
          <a:xfrm>
            <a:off x="8925887" y="1496330"/>
            <a:ext cx="818183" cy="818183"/>
          </a:xfrm>
          <a:prstGeom prst="ellipse">
            <a:avLst/>
          </a:prstGeom>
          <a:solidFill>
            <a:schemeClr val="accent5"/>
          </a:solidFill>
          <a:ln w="28575">
            <a:solidFill>
              <a:schemeClr val="bg1"/>
            </a:solidFill>
          </a:ln>
        </p:spPr>
        <p:txBody>
          <a:bodyPr wrap="none" lIns="0" tIns="0" rIns="0" bIns="0" rtlCol="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defPPr>
            <a:lvl1pPr marL="0" indent="0" algn="ctr" defTabSz="609570" eaLnBrk="1" fontAlgn="base" latinLnBrk="0" hangingPunct="1">
              <a:lnSpc>
                <a:spcPct val="85000"/>
              </a:lnSpc>
              <a:buClr>
                <a:srgbClr val="282828"/>
              </a:buClr>
              <a:buSzPts val="1200"/>
              <a:buFontTx/>
              <a:buNone/>
              <a:tabLst/>
              <a:defRPr kumimoji="0" sz="2400" kern="1200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iscoSansTT ExtraLight"/>
                <a:ea typeface="ＭＳ Ｐゴシック" charset="0"/>
                <a:cs typeface="+mn-cs"/>
              </a:defRPr>
            </a:lvl1pPr>
            <a:lvl2pPr marL="457200" defTabSz="91440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defTabSz="91440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defTabSz="91440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defTabSz="91440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defTabSz="91440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defTabSz="91440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defTabSz="91440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defTabSz="91440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609555" rtl="0" eaLnBrk="1" fontAlgn="base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rgbClr val="282828"/>
              </a:buClr>
              <a:buSzPts val="1200"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iscoSansTT ExtraLight"/>
                <a:ea typeface="ＭＳ Ｐゴシック" charset="0"/>
                <a:cs typeface="+mn-cs"/>
                <a:sym typeface="Arial"/>
              </a:rPr>
              <a:t>400</a:t>
            </a: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iscoSansTT ExtraLight"/>
                <a:ea typeface="ＭＳ Ｐゴシック" charset="0"/>
                <a:cs typeface="+mn-cs"/>
                <a:sym typeface="Arial"/>
              </a:rPr>
              <a:t>%</a:t>
            </a:r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7499DC85-4F24-4414-A60C-D833DDE9F728}"/>
              </a:ext>
            </a:extLst>
          </p:cNvPr>
          <p:cNvSpPr txBox="1"/>
          <p:nvPr/>
        </p:nvSpPr>
        <p:spPr>
          <a:xfrm>
            <a:off x="8925887" y="3379319"/>
            <a:ext cx="818183" cy="818183"/>
          </a:xfrm>
          <a:prstGeom prst="ellipse">
            <a:avLst/>
          </a:prstGeom>
          <a:solidFill>
            <a:schemeClr val="accent1"/>
          </a:solidFill>
          <a:ln w="28575">
            <a:solidFill>
              <a:schemeClr val="bg1"/>
            </a:solidFill>
          </a:ln>
        </p:spPr>
        <p:txBody>
          <a:bodyPr wrap="none" lIns="0" tIns="0" rIns="0" bIns="0" rtlCol="0" anchor="ctr" anchorCtr="0">
            <a:noAutofit/>
          </a:bodyPr>
          <a:lstStyle>
            <a:defPPr>
              <a:defRPr lang="en-US"/>
            </a:defPPr>
            <a:lvl1pPr marL="0" indent="0" algn="ctr" defTabSz="609570" eaLnBrk="1" fontAlgn="base" latinLnBrk="0" hangingPunct="1">
              <a:lnSpc>
                <a:spcPct val="85000"/>
              </a:lnSpc>
              <a:buClr>
                <a:srgbClr val="282828"/>
              </a:buClr>
              <a:buSzPts val="1200"/>
              <a:buFontTx/>
              <a:buNone/>
              <a:tabLst/>
              <a:defRPr kumimoji="0" sz="4800" kern="1200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iscoSansTT ExtraLight"/>
                <a:ea typeface="ＭＳ Ｐゴシック" charset="0"/>
                <a:cs typeface="+mn-cs"/>
              </a:defRPr>
            </a:lvl1pPr>
            <a:lvl2pPr marL="457200" defTabSz="91440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defTabSz="91440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defTabSz="91440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defTabSz="91440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defTabSz="91440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defTabSz="91440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defTabSz="91440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defTabSz="91440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609555" rtl="0" eaLnBrk="1" fontAlgn="base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rgbClr val="282828"/>
              </a:buClr>
              <a:buSzPts val="1200"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iscoSansTT ExtraLight"/>
                <a:ea typeface="ＭＳ Ｐゴシック" charset="0"/>
                <a:cs typeface="+mn-cs"/>
                <a:sym typeface="Arial"/>
              </a:rPr>
              <a:t>90</a:t>
            </a: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iscoSansTT ExtraLight"/>
                <a:ea typeface="ＭＳ Ｐゴシック" charset="0"/>
                <a:cs typeface="+mn-cs"/>
                <a:sym typeface="Arial"/>
              </a:rPr>
              <a:t>%</a:t>
            </a: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C8F84DB6-BEE1-4974-9879-00871C59CE48}"/>
              </a:ext>
            </a:extLst>
          </p:cNvPr>
          <p:cNvSpPr txBox="1"/>
          <p:nvPr/>
        </p:nvSpPr>
        <p:spPr>
          <a:xfrm>
            <a:off x="8925887" y="5262310"/>
            <a:ext cx="818183" cy="818183"/>
          </a:xfrm>
          <a:prstGeom prst="ellipse">
            <a:avLst/>
          </a:prstGeom>
          <a:solidFill>
            <a:schemeClr val="accent2"/>
          </a:solidFill>
          <a:ln w="28575">
            <a:solidFill>
              <a:schemeClr val="bg1"/>
            </a:solidFill>
          </a:ln>
        </p:spPr>
        <p:txBody>
          <a:bodyPr wrap="none" lIns="0" tIns="0" rIns="0" bIns="0" rtlCol="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defPPr>
            <a:lvl1pPr marL="0" indent="0" algn="ctr" defTabSz="609570" eaLnBrk="1" fontAlgn="base" latinLnBrk="0" hangingPunct="1">
              <a:lnSpc>
                <a:spcPct val="85000"/>
              </a:lnSpc>
              <a:buClr>
                <a:srgbClr val="282828"/>
              </a:buClr>
              <a:buSzPts val="1200"/>
              <a:buFontTx/>
              <a:buNone/>
              <a:tabLst/>
              <a:defRPr kumimoji="0" sz="2400" kern="1200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iscoSansTT ExtraLight"/>
                <a:ea typeface="ＭＳ Ｐゴシック" charset="0"/>
                <a:cs typeface="+mn-cs"/>
              </a:defRPr>
            </a:lvl1pPr>
            <a:lvl2pPr marL="457200" defTabSz="91440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defTabSz="91440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defTabSz="91440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defTabSz="91440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defTabSz="91440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defTabSz="91440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defTabSz="91440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defTabSz="91440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609555" rtl="0" eaLnBrk="1" fontAlgn="base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rgbClr val="282828"/>
              </a:buClr>
              <a:buSzPts val="1200"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iscoSansTT ExtraLight"/>
                <a:ea typeface="ＭＳ Ｐゴシック" charset="0"/>
                <a:cs typeface="+mn-cs"/>
                <a:sym typeface="Arial"/>
              </a:rPr>
              <a:t>76</a:t>
            </a: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iscoSansTT ExtraLight"/>
                <a:ea typeface="ＭＳ Ｐゴシック" charset="0"/>
                <a:cs typeface="+mn-cs"/>
                <a:sym typeface="Arial"/>
              </a:rPr>
              <a:t>%</a:t>
            </a:r>
          </a:p>
        </p:txBody>
      </p:sp>
      <p:sp>
        <p:nvSpPr>
          <p:cNvPr id="62" name="TextBox 61">
            <a:extLst>
              <a:ext uri="{FF2B5EF4-FFF2-40B4-BE49-F238E27FC236}">
                <a16:creationId xmlns:a16="http://schemas.microsoft.com/office/drawing/2014/main" id="{D0DC5FB6-B03E-4F90-B390-E067C7FEA53C}"/>
              </a:ext>
            </a:extLst>
          </p:cNvPr>
          <p:cNvSpPr txBox="1"/>
          <p:nvPr/>
        </p:nvSpPr>
        <p:spPr>
          <a:xfrm>
            <a:off x="7620962" y="2437825"/>
            <a:ext cx="818183" cy="818183"/>
          </a:xfrm>
          <a:prstGeom prst="ellipse">
            <a:avLst/>
          </a:prstGeom>
          <a:solidFill>
            <a:schemeClr val="accent2"/>
          </a:solidFill>
          <a:ln w="28575">
            <a:solidFill>
              <a:schemeClr val="bg1"/>
            </a:solidFill>
          </a:ln>
        </p:spPr>
        <p:txBody>
          <a:bodyPr wrap="none" lIns="0" tIns="0" rIns="0" bIns="0" rtlCol="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0" indent="0" algn="ctr" defTabSz="609570" eaLnBrk="1" fontAlgn="base" latinLnBrk="0" hangingPunct="1">
              <a:lnSpc>
                <a:spcPct val="85000"/>
              </a:lnSpc>
              <a:buClr>
                <a:srgbClr val="282828"/>
              </a:buClr>
              <a:buSzPts val="1200"/>
              <a:buFontTx/>
              <a:buNone/>
              <a:tabLst/>
              <a:defRPr kumimoji="0" sz="2400" kern="1200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iscoSansTT ExtraLight"/>
                <a:ea typeface="ＭＳ Ｐゴシック" charset="0"/>
                <a:cs typeface="+mn-cs"/>
              </a:defRPr>
            </a:lvl1pPr>
            <a:lvl2pPr marL="457200" defTabSz="91440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defTabSz="91440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defTabSz="91440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defTabSz="91440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defTabSz="91440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defTabSz="91440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defTabSz="91440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defTabSz="91440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609555" rtl="0" eaLnBrk="1" fontAlgn="base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rgbClr val="282828"/>
              </a:buClr>
              <a:buSzPts val="1200"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iscoSansTT ExtraLight"/>
                <a:ea typeface="ＭＳ Ｐゴシック" charset="0"/>
                <a:cs typeface="+mn-cs"/>
                <a:sym typeface="Arial"/>
              </a:rPr>
              <a:t>75</a:t>
            </a: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iscoSansTT ExtraLight"/>
                <a:ea typeface="ＭＳ Ｐゴシック" charset="0"/>
                <a:cs typeface="+mn-cs"/>
                <a:sym typeface="Arial"/>
              </a:rPr>
              <a:t>%</a:t>
            </a:r>
          </a:p>
        </p:txBody>
      </p:sp>
      <p:sp>
        <p:nvSpPr>
          <p:cNvPr id="63" name="TextBox 62">
            <a:extLst>
              <a:ext uri="{FF2B5EF4-FFF2-40B4-BE49-F238E27FC236}">
                <a16:creationId xmlns:a16="http://schemas.microsoft.com/office/drawing/2014/main" id="{5F601DD8-26EA-4FB4-8A20-230486DC2FAF}"/>
              </a:ext>
            </a:extLst>
          </p:cNvPr>
          <p:cNvSpPr txBox="1"/>
          <p:nvPr/>
        </p:nvSpPr>
        <p:spPr>
          <a:xfrm>
            <a:off x="7620962" y="4320814"/>
            <a:ext cx="818183" cy="818183"/>
          </a:xfrm>
          <a:prstGeom prst="ellipse">
            <a:avLst/>
          </a:prstGeom>
          <a:solidFill>
            <a:schemeClr val="accent5"/>
          </a:solidFill>
          <a:ln w="28575">
            <a:solidFill>
              <a:schemeClr val="bg1"/>
            </a:solidFill>
          </a:ln>
        </p:spPr>
        <p:txBody>
          <a:bodyPr wrap="none" lIns="0" tIns="0" rIns="0" bIns="0" rtlCol="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defPPr>
            <a:lvl1pPr marL="0" indent="0" algn="ctr" defTabSz="609570" eaLnBrk="1" fontAlgn="base" latinLnBrk="0" hangingPunct="1">
              <a:lnSpc>
                <a:spcPct val="85000"/>
              </a:lnSpc>
              <a:buClr>
                <a:srgbClr val="282828"/>
              </a:buClr>
              <a:buSzPts val="1200"/>
              <a:buFontTx/>
              <a:buNone/>
              <a:tabLst/>
              <a:defRPr kumimoji="0" sz="2400" kern="1200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iscoSansTT ExtraLight"/>
                <a:ea typeface="ＭＳ Ｐゴシック" charset="0"/>
                <a:cs typeface="+mn-cs"/>
              </a:defRPr>
            </a:lvl1pPr>
            <a:lvl2pPr marL="457200" defTabSz="91440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defTabSz="91440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defTabSz="91440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defTabSz="91440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defTabSz="91440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defTabSz="91440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defTabSz="91440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defTabSz="91440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609555" rtl="0" eaLnBrk="1" fontAlgn="base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rgbClr val="282828"/>
              </a:buClr>
              <a:buSzPts val="1200"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iscoSansTT ExtraLight"/>
                <a:ea typeface="ＭＳ Ｐゴシック" charset="0"/>
                <a:cs typeface="+mn-cs"/>
                <a:sym typeface="Arial"/>
              </a:rPr>
              <a:t>91</a:t>
            </a: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iscoSansTT ExtraLight"/>
                <a:ea typeface="ＭＳ Ｐゴシック" charset="0"/>
                <a:cs typeface="+mn-cs"/>
                <a:sym typeface="Arial"/>
              </a:rPr>
              <a:t>%</a:t>
            </a:r>
          </a:p>
        </p:txBody>
      </p:sp>
      <p:sp>
        <p:nvSpPr>
          <p:cNvPr id="16" name="Title 4">
            <a:extLst>
              <a:ext uri="{FF2B5EF4-FFF2-40B4-BE49-F238E27FC236}">
                <a16:creationId xmlns:a16="http://schemas.microsoft.com/office/drawing/2014/main" id="{E64D9E63-1105-4980-ACEF-A5AA1539C43E}"/>
              </a:ext>
            </a:extLst>
          </p:cNvPr>
          <p:cNvSpPr txBox="1">
            <a:spLocks/>
          </p:cNvSpPr>
          <p:nvPr/>
        </p:nvSpPr>
        <p:spPr>
          <a:xfrm>
            <a:off x="719139" y="2960688"/>
            <a:ext cx="3579812" cy="68968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4000" b="0" i="0" u="none" strike="noStrike" cap="none">
                <a:solidFill>
                  <a:schemeClr val="bg2"/>
                </a:solidFill>
                <a:latin typeface="+mj-lt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iscoSansTT ExtraLight"/>
                <a:cs typeface="Arial"/>
                <a:sym typeface="Arial"/>
              </a:rPr>
              <a:t>&lt;</a:t>
            </a: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iscoSansTT ExtraLight"/>
                <a:cs typeface="Arial"/>
                <a:sym typeface="Arial"/>
              </a:rPr>
              <a:t>Place your customer’s top IT challenges here&gt;</a:t>
            </a:r>
          </a:p>
        </p:txBody>
      </p:sp>
      <p:sp>
        <p:nvSpPr>
          <p:cNvPr id="3" name="Rectangle: Rounded Corners 2">
            <a:extLst>
              <a:ext uri="{FF2B5EF4-FFF2-40B4-BE49-F238E27FC236}">
                <a16:creationId xmlns:a16="http://schemas.microsoft.com/office/drawing/2014/main" id="{22D54C50-5270-4C7B-A293-E3A960779FEB}"/>
              </a:ext>
            </a:extLst>
          </p:cNvPr>
          <p:cNvSpPr/>
          <p:nvPr/>
        </p:nvSpPr>
        <p:spPr>
          <a:xfrm>
            <a:off x="6061798" y="711995"/>
            <a:ext cx="5269057" cy="543560"/>
          </a:xfrm>
          <a:prstGeom prst="roundRect">
            <a:avLst>
              <a:gd name="adj" fmla="val 50000"/>
            </a:avLst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AU" sz="11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iscoSansTT ExtraLight"/>
              <a:ea typeface="+mn-ea"/>
              <a:cs typeface="+mn-cs"/>
              <a:sym typeface="Arial"/>
            </a:endParaRPr>
          </a:p>
        </p:txBody>
      </p:sp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019831FE-24BD-4E23-9B4C-F7B3D88C11C3}"/>
              </a:ext>
            </a:extLst>
          </p:cNvPr>
          <p:cNvSpPr/>
          <p:nvPr/>
        </p:nvSpPr>
        <p:spPr>
          <a:xfrm>
            <a:off x="6040070" y="704057"/>
            <a:ext cx="5312514" cy="559436"/>
          </a:xfrm>
          <a:prstGeom prst="roundRect">
            <a:avLst>
              <a:gd name="adj" fmla="val 50000"/>
            </a:avLst>
          </a:prstGeom>
          <a:noFill/>
          <a:ln w="285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rtlCol="0" anchor="ctr"/>
          <a:lstStyle/>
          <a:p>
            <a:pPr marL="0" marR="0" lvl="0" indent="0" algn="ctr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2000" b="0" i="0" u="none" strike="noStrike" kern="0" cap="none" spc="0" normalizeH="0" baseline="0" noProof="0">
                <a:ln>
                  <a:noFill/>
                </a:ln>
                <a:solidFill>
                  <a:srgbClr val="14284A"/>
                </a:solidFill>
                <a:effectLst/>
                <a:uLnTx/>
                <a:uFillTx/>
                <a:latin typeface="CiscoSansTT Light" panose="020B0503020201020303" pitchFamily="34" charset="0"/>
                <a:ea typeface="+mn-ea"/>
                <a:cs typeface="CiscoSansTT Light" panose="020B0503020201020303" pitchFamily="34" charset="0"/>
                <a:sym typeface="Arial"/>
              </a:rPr>
              <a:t>Common industry IT challenges 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30B8DC3E-3E41-4512-8B4F-BB99A235FF5C}"/>
              </a:ext>
            </a:extLst>
          </p:cNvPr>
          <p:cNvSpPr/>
          <p:nvPr/>
        </p:nvSpPr>
        <p:spPr>
          <a:xfrm>
            <a:off x="402463" y="198430"/>
            <a:ext cx="4200800" cy="1000800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wrap="square" lIns="0" tIns="0" rIns="0" bIns="0" rtlCol="0" anchor="t" anchorCtr="0">
            <a:noAutofit/>
          </a:bodyPr>
          <a:lstStyle/>
          <a:p>
            <a:pPr defTabSz="609570" fontAlgn="base">
              <a:lnSpc>
                <a:spcPct val="110000"/>
              </a:lnSpc>
              <a:spcAft>
                <a:spcPts val="600"/>
              </a:spcAft>
              <a:buClr>
                <a:srgbClr val="000000"/>
              </a:buClr>
              <a:defRPr/>
            </a:pPr>
            <a:r>
              <a:rPr lang="en-US" sz="2000" kern="0">
                <a:solidFill>
                  <a:srgbClr val="FF0000"/>
                </a:solidFill>
                <a:latin typeface="CiscoSansTT ExtraLight"/>
                <a:ea typeface="ＭＳ Ｐゴシック" charset="0"/>
                <a:cs typeface="CiscoSansTT Light" panose="020B0503020201020303" pitchFamily="34" charset="0"/>
                <a:sym typeface="Arial"/>
              </a:rPr>
              <a:t>Use this slide if you know your customer’s IT challenges. Then hide/delete slide 4. </a:t>
            </a:r>
          </a:p>
        </p:txBody>
      </p:sp>
    </p:spTree>
    <p:extLst>
      <p:ext uri="{BB962C8B-B14F-4D97-AF65-F5344CB8AC3E}">
        <p14:creationId xmlns:p14="http://schemas.microsoft.com/office/powerpoint/2010/main" val="1302342604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" fill="hold">
                            <p:stCondLst>
                              <p:cond delay="1000"/>
                            </p:stCondLst>
                            <p:childTnLst>
                              <p:par>
                                <p:cTn id="16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1500"/>
                            </p:stCondLst>
                            <p:childTnLst>
                              <p:par>
                                <p:cTn id="23" presetID="2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5" dur="25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25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7" presetID="2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9" dur="250" fill="hold"/>
                                        <p:tgtEl>
                                          <p:spTgt spid="6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0" dur="250" fill="hold"/>
                                        <p:tgtEl>
                                          <p:spTgt spid="6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1" presetID="2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3" dur="250" fill="hold"/>
                                        <p:tgtEl>
                                          <p:spTgt spid="5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4" dur="250" fill="hold"/>
                                        <p:tgtEl>
                                          <p:spTgt spid="5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5" presetID="2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7" dur="250" fill="hold"/>
                                        <p:tgtEl>
                                          <p:spTgt spid="5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8" dur="250" fill="hold"/>
                                        <p:tgtEl>
                                          <p:spTgt spid="5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9" presetID="2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1" dur="250" fill="hold"/>
                                        <p:tgtEl>
                                          <p:spTgt spid="6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2" dur="250" fill="hold"/>
                                        <p:tgtEl>
                                          <p:spTgt spid="6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3" presetID="6" presetClass="emph" presetSubtype="0" autoRev="1" fill="hold" grpId="1" nodeType="withEffect">
                                  <p:stCondLst>
                                    <p:cond delay="200"/>
                                  </p:stCondLst>
                                  <p:childTnLst>
                                    <p:animScale>
                                      <p:cBhvr>
                                        <p:cTn id="44" dur="100" fill="hold"/>
                                        <p:tgtEl>
                                          <p:spTgt spid="37"/>
                                        </p:tgtEl>
                                      </p:cBhvr>
                                      <p:by x="115000" y="115000"/>
                                    </p:animScale>
                                  </p:childTnLst>
                                </p:cTn>
                              </p:par>
                              <p:par>
                                <p:cTn id="45" presetID="6" presetClass="emph" presetSubtype="0" autoRev="1" fill="hold" grpId="1" nodeType="withEffect">
                                  <p:stCondLst>
                                    <p:cond delay="200"/>
                                  </p:stCondLst>
                                  <p:childTnLst>
                                    <p:animScale>
                                      <p:cBhvr>
                                        <p:cTn id="46" dur="100" fill="hold"/>
                                        <p:tgtEl>
                                          <p:spTgt spid="62"/>
                                        </p:tgtEl>
                                      </p:cBhvr>
                                      <p:by x="115000" y="115000"/>
                                    </p:animScale>
                                  </p:childTnLst>
                                </p:cTn>
                              </p:par>
                              <p:par>
                                <p:cTn id="47" presetID="6" presetClass="emph" presetSubtype="0" autoRev="1" fill="hold" grpId="1" nodeType="withEffect">
                                  <p:stCondLst>
                                    <p:cond delay="200"/>
                                  </p:stCondLst>
                                  <p:childTnLst>
                                    <p:animScale>
                                      <p:cBhvr>
                                        <p:cTn id="48" dur="100" fill="hold"/>
                                        <p:tgtEl>
                                          <p:spTgt spid="55"/>
                                        </p:tgtEl>
                                      </p:cBhvr>
                                      <p:by x="115000" y="115000"/>
                                    </p:animScale>
                                  </p:childTnLst>
                                </p:cTn>
                              </p:par>
                              <p:par>
                                <p:cTn id="49" presetID="6" presetClass="emph" presetSubtype="0" autoRev="1" fill="hold" grpId="1" nodeType="withEffect">
                                  <p:stCondLst>
                                    <p:cond delay="200"/>
                                  </p:stCondLst>
                                  <p:childTnLst>
                                    <p:animScale>
                                      <p:cBhvr>
                                        <p:cTn id="50" dur="100" fill="hold"/>
                                        <p:tgtEl>
                                          <p:spTgt spid="56"/>
                                        </p:tgtEl>
                                      </p:cBhvr>
                                      <p:by x="115000" y="115000"/>
                                    </p:animScale>
                                  </p:childTnLst>
                                </p:cTn>
                              </p:par>
                              <p:par>
                                <p:cTn id="51" presetID="6" presetClass="emph" presetSubtype="0" autoRev="1" fill="hold" grpId="1" nodeType="withEffect">
                                  <p:stCondLst>
                                    <p:cond delay="200"/>
                                  </p:stCondLst>
                                  <p:childTnLst>
                                    <p:animScale>
                                      <p:cBhvr>
                                        <p:cTn id="52" dur="100" fill="hold"/>
                                        <p:tgtEl>
                                          <p:spTgt spid="63"/>
                                        </p:tgtEl>
                                      </p:cBhvr>
                                      <p:by x="115000" y="115000"/>
                                    </p:animScale>
                                  </p:childTnLst>
                                </p:cTn>
                              </p:par>
                              <p:par>
                                <p:cTn id="53" presetID="2" presetClass="entr" presetSubtype="1" decel="100000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5" dur="75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6" dur="75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7" fill="hold">
                            <p:stCondLst>
                              <p:cond delay="2450"/>
                            </p:stCondLst>
                            <p:childTnLst>
                              <p:par>
                                <p:cTn id="58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0" dur="1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1" presetID="63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17994 2.22222E-6 L 3.75E-6 2.22222E-6 " pathEditMode="relative" rAng="0" ptsTypes="AA">
                                      <p:cBhvr>
                                        <p:cTn id="62" dur="5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8997" y="0"/>
                                    </p:animMotion>
                                  </p:childTnLst>
                                </p:cTn>
                              </p:par>
                              <p:par>
                                <p:cTn id="6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5" dur="10"/>
                                        <p:tgtEl>
                                          <p:spTgt spid="6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6" presetID="63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17929 -4.81481E-6 L 3.95833E-6 -4.81481E-6 " pathEditMode="relative" rAng="0" ptsTypes="AA">
                                      <p:cBhvr>
                                        <p:cTn id="67" dur="500" fill="hold"/>
                                        <p:tgtEl>
                                          <p:spTgt spid="6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8971" y="0"/>
                                    </p:animMotion>
                                  </p:childTnLst>
                                </p:cTn>
                              </p:par>
                              <p:par>
                                <p:cTn id="6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0" dur="10"/>
                                        <p:tgtEl>
                                          <p:spTgt spid="6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1" presetID="63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17995 -1.85185E-6 L 6.25E-7 -1.85185E-6 " pathEditMode="relative" rAng="0" ptsTypes="AA">
                                      <p:cBhvr>
                                        <p:cTn id="72" dur="500" fill="hold"/>
                                        <p:tgtEl>
                                          <p:spTgt spid="6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8997" y="0"/>
                                    </p:animMotion>
                                  </p:childTnLst>
                                </p:cTn>
                              </p:par>
                              <p:par>
                                <p:cTn id="7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5" dur="10"/>
                                        <p:tgtEl>
                                          <p:spTgt spid="6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6" presetID="63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18216 3.7037E-6 L -8.33333E-7 3.7037E-6 " pathEditMode="relative" rAng="0" ptsTypes="AA">
                                      <p:cBhvr>
                                        <p:cTn id="77" dur="500" fill="hold"/>
                                        <p:tgtEl>
                                          <p:spTgt spid="6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9102" y="0"/>
                                    </p:animMotion>
                                  </p:childTnLst>
                                </p:cTn>
                              </p:par>
                              <p:par>
                                <p:cTn id="7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0" dur="10"/>
                                        <p:tgtEl>
                                          <p:spTgt spid="6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1" presetID="63" presetClass="path" presetSubtype="0" decel="100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18164 -3.33333E-6 L -1.04167E-6 -3.33333E-6 " pathEditMode="relative" rAng="0" ptsTypes="AA">
                                      <p:cBhvr>
                                        <p:cTn id="82" dur="500" fill="hold"/>
                                        <p:tgtEl>
                                          <p:spTgt spid="6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9076" y="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6" grpId="0"/>
      <p:bldP spid="66" grpId="1"/>
      <p:bldP spid="67" grpId="0"/>
      <p:bldP spid="67" grpId="1"/>
      <p:bldP spid="5" grpId="0"/>
      <p:bldP spid="6" grpId="0"/>
      <p:bldP spid="40" grpId="0"/>
      <p:bldP spid="40" grpId="1"/>
      <p:bldP spid="64" grpId="0"/>
      <p:bldP spid="64" grpId="1"/>
      <p:bldP spid="65" grpId="0"/>
      <p:bldP spid="65" grpId="1"/>
      <p:bldP spid="37" grpId="0" animBg="1"/>
      <p:bldP spid="37" grpId="1" animBg="1"/>
      <p:bldP spid="55" grpId="0" animBg="1"/>
      <p:bldP spid="55" grpId="1" animBg="1"/>
      <p:bldP spid="56" grpId="0" animBg="1"/>
      <p:bldP spid="56" grpId="1" animBg="1"/>
      <p:bldP spid="62" grpId="0" animBg="1"/>
      <p:bldP spid="62" grpId="1" animBg="1"/>
      <p:bldP spid="63" grpId="0" animBg="1"/>
      <p:bldP spid="63" grpId="1" animBg="1"/>
      <p:bldP spid="16" grpId="0"/>
      <p:bldP spid="3" grpId="0" animBg="1"/>
      <p:bldP spid="9" grpId="0" animBg="1"/>
    </p:bld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1409FC5-DD10-4EB8-B922-B0CBC1FC4D5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667" y="709084"/>
            <a:ext cx="10752667" cy="1378132"/>
          </a:xfrm>
        </p:spPr>
        <p:txBody>
          <a:bodyPr/>
          <a:lstStyle/>
          <a:p>
            <a:r>
              <a:rPr lang="en-US" sz="2000">
                <a:solidFill>
                  <a:schemeClr val="accent1"/>
                </a:solidFill>
              </a:rPr>
              <a:t>Essentials use case</a:t>
            </a:r>
            <a:br>
              <a:rPr lang="en-US"/>
            </a:br>
            <a:r>
              <a:rPr lang="en-US"/>
              <a:t>Business Critical Services</a:t>
            </a:r>
            <a:br>
              <a:rPr lang="en-US"/>
            </a:br>
            <a:r>
              <a:rPr lang="en-GB" sz="2400">
                <a:solidFill>
                  <a:schemeClr val="accent1"/>
                </a:solidFill>
              </a:rPr>
              <a:t>Stabilize and enhance performance</a:t>
            </a:r>
            <a:endParaRPr lang="en-US" sz="2400">
              <a:solidFill>
                <a:schemeClr val="accent1"/>
              </a:solidFill>
            </a:endParaRPr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957CF852-7977-4C9E-8289-607DBA2D8006}"/>
              </a:ext>
            </a:extLst>
          </p:cNvPr>
          <p:cNvSpPr/>
          <p:nvPr/>
        </p:nvSpPr>
        <p:spPr>
          <a:xfrm>
            <a:off x="8946330" y="709085"/>
            <a:ext cx="3245670" cy="1361016"/>
          </a:xfrm>
          <a:prstGeom prst="rect">
            <a:avLst/>
          </a:prstGeom>
          <a:solidFill>
            <a:srgbClr val="F4F7FA"/>
          </a:solidFill>
          <a:ln>
            <a:noFill/>
          </a:ln>
          <a:effectLst>
            <a:outerShdw dist="38100" dir="10800000" algn="l" rotWithShape="0">
              <a:schemeClr val="accent1"/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6000" tIns="48000" rIns="96000" bIns="48000" rtlCol="0" anchor="ctr"/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endParaRPr kumimoji="0" lang="en-US" sz="1067" b="0" i="0" u="none" strike="noStrike" kern="1200" cap="none" spc="0" normalizeH="0" baseline="0" noProof="0">
              <a:ln>
                <a:noFill/>
              </a:ln>
              <a:solidFill>
                <a:srgbClr val="14284A"/>
              </a:solidFill>
              <a:effectLst/>
              <a:uLnTx/>
              <a:uFillTx/>
              <a:latin typeface="CiscoSansTT ExtraLight"/>
              <a:ea typeface="+mn-ea"/>
              <a:cs typeface="+mn-cs"/>
            </a:endParaRP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A794302E-F2DA-470C-805E-C9992BF8E5F0}"/>
              </a:ext>
            </a:extLst>
          </p:cNvPr>
          <p:cNvSpPr txBox="1"/>
          <p:nvPr/>
        </p:nvSpPr>
        <p:spPr>
          <a:xfrm>
            <a:off x="9293755" y="824015"/>
            <a:ext cx="582443" cy="209879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00BCEB"/>
                </a:solidFill>
                <a:effectLst/>
                <a:uLnTx/>
                <a:uFillTx/>
                <a:latin typeface="CiscoSansTT ExtraLight"/>
                <a:ea typeface="+mn-ea"/>
                <a:cs typeface="+mn-cs"/>
              </a:rPr>
              <a:t>Legend</a:t>
            </a:r>
          </a:p>
        </p:txBody>
      </p:sp>
      <p:pic>
        <p:nvPicPr>
          <p:cNvPr id="47" name="Graphic 46">
            <a:extLst>
              <a:ext uri="{FF2B5EF4-FFF2-40B4-BE49-F238E27FC236}">
                <a16:creationId xmlns:a16="http://schemas.microsoft.com/office/drawing/2014/main" id="{57690D28-BB21-4C25-AD51-C76000C1334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9247468" y="1165624"/>
            <a:ext cx="243883" cy="243171"/>
          </a:xfrm>
          <a:prstGeom prst="rect">
            <a:avLst/>
          </a:prstGeom>
        </p:spPr>
      </p:pic>
      <p:pic>
        <p:nvPicPr>
          <p:cNvPr id="48" name="Graphic 47">
            <a:extLst>
              <a:ext uri="{FF2B5EF4-FFF2-40B4-BE49-F238E27FC236}">
                <a16:creationId xmlns:a16="http://schemas.microsoft.com/office/drawing/2014/main" id="{13F385B5-A995-4E72-8BFE-49C69DBCC4B9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616139" y="1176724"/>
            <a:ext cx="220976" cy="220971"/>
          </a:xfrm>
          <a:prstGeom prst="rect">
            <a:avLst/>
          </a:prstGeom>
        </p:spPr>
      </p:pic>
      <p:pic>
        <p:nvPicPr>
          <p:cNvPr id="50" name="Graphic 49">
            <a:extLst>
              <a:ext uri="{FF2B5EF4-FFF2-40B4-BE49-F238E27FC236}">
                <a16:creationId xmlns:a16="http://schemas.microsoft.com/office/drawing/2014/main" id="{32EC020F-FFE6-41EF-97B0-A3C2A85D32E8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9247468" y="1642420"/>
            <a:ext cx="220976" cy="220971"/>
          </a:xfrm>
          <a:prstGeom prst="rect">
            <a:avLst/>
          </a:prstGeom>
        </p:spPr>
      </p:pic>
      <p:pic>
        <p:nvPicPr>
          <p:cNvPr id="52" name="Graphic 51">
            <a:extLst>
              <a:ext uri="{FF2B5EF4-FFF2-40B4-BE49-F238E27FC236}">
                <a16:creationId xmlns:a16="http://schemas.microsoft.com/office/drawing/2014/main" id="{289C0DF2-97C7-4B80-B98B-F31C7CEE495A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0616139" y="1642420"/>
            <a:ext cx="220976" cy="220971"/>
          </a:xfrm>
          <a:prstGeom prst="rect">
            <a:avLst/>
          </a:prstGeom>
        </p:spPr>
      </p:pic>
      <p:sp>
        <p:nvSpPr>
          <p:cNvPr id="54" name="TextBox 53">
            <a:extLst>
              <a:ext uri="{FF2B5EF4-FFF2-40B4-BE49-F238E27FC236}">
                <a16:creationId xmlns:a16="http://schemas.microsoft.com/office/drawing/2014/main" id="{78B19405-0A0F-4F39-AFF3-A61DC580CCD6}"/>
              </a:ext>
            </a:extLst>
          </p:cNvPr>
          <p:cNvSpPr txBox="1"/>
          <p:nvPr/>
        </p:nvSpPr>
        <p:spPr>
          <a:xfrm>
            <a:off x="9563237" y="1135075"/>
            <a:ext cx="1017149" cy="304268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-13" normalizeH="0" baseline="0" noProof="0">
                <a:ln>
                  <a:noFill/>
                </a:ln>
                <a:solidFill>
                  <a:srgbClr val="2F446B"/>
                </a:solidFill>
                <a:effectLst/>
                <a:uLnTx/>
                <a:uFillTx/>
                <a:latin typeface="CiscoSansTT ExtraLight"/>
                <a:ea typeface="+mn-ea"/>
                <a:cs typeface="CiscoSansTT Light" panose="020B0503020201020303" pitchFamily="34" charset="0"/>
              </a:rPr>
              <a:t>Operational Insights Review</a:t>
            </a:r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B8A7C574-27CD-4184-BE41-A552704E9412}"/>
              </a:ext>
            </a:extLst>
          </p:cNvPr>
          <p:cNvSpPr txBox="1"/>
          <p:nvPr/>
        </p:nvSpPr>
        <p:spPr>
          <a:xfrm>
            <a:off x="10907955" y="1135075"/>
            <a:ext cx="1017149" cy="304268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-13" normalizeH="0" baseline="0" noProof="0">
                <a:ln>
                  <a:noFill/>
                </a:ln>
                <a:solidFill>
                  <a:srgbClr val="2F446B"/>
                </a:solidFill>
                <a:effectLst/>
                <a:uLnTx/>
                <a:uFillTx/>
                <a:latin typeface="CiscoSansTT ExtraLight"/>
                <a:ea typeface="+mn-ea"/>
                <a:cs typeface="CiscoSansTT Light" panose="020B0503020201020303" pitchFamily="34" charset="0"/>
              </a:rPr>
              <a:t>Change Window Support</a:t>
            </a:r>
          </a:p>
        </p:txBody>
      </p:sp>
      <p:sp>
        <p:nvSpPr>
          <p:cNvPr id="73" name="TextBox 72">
            <a:extLst>
              <a:ext uri="{FF2B5EF4-FFF2-40B4-BE49-F238E27FC236}">
                <a16:creationId xmlns:a16="http://schemas.microsoft.com/office/drawing/2014/main" id="{10E1B4FE-BEA2-4A77-B9E1-029451C6863E}"/>
              </a:ext>
            </a:extLst>
          </p:cNvPr>
          <p:cNvSpPr txBox="1"/>
          <p:nvPr/>
        </p:nvSpPr>
        <p:spPr>
          <a:xfrm>
            <a:off x="9563237" y="1600771"/>
            <a:ext cx="1017149" cy="304268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-13" normalizeH="0" baseline="0" noProof="0">
                <a:ln>
                  <a:noFill/>
                </a:ln>
                <a:solidFill>
                  <a:srgbClr val="2F446B"/>
                </a:solidFill>
                <a:effectLst/>
                <a:uLnTx/>
                <a:uFillTx/>
                <a:latin typeface="CiscoSansTT ExtraLight"/>
                <a:ea typeface="+mn-ea"/>
                <a:cs typeface="CiscoSansTT Light" panose="020B0503020201020303" pitchFamily="34" charset="0"/>
              </a:rPr>
              <a:t>Ask the </a:t>
            </a:r>
            <a:br>
              <a:rPr kumimoji="0" lang="en-US" sz="1000" b="0" i="0" u="none" strike="noStrike" kern="1200" cap="none" spc="-13" normalizeH="0" baseline="0" noProof="0">
                <a:ln>
                  <a:noFill/>
                </a:ln>
                <a:solidFill>
                  <a:srgbClr val="2F446B"/>
                </a:solidFill>
                <a:effectLst/>
                <a:uLnTx/>
                <a:uFillTx/>
                <a:latin typeface="CiscoSansTT ExtraLight"/>
                <a:ea typeface="+mn-ea"/>
                <a:cs typeface="CiscoSansTT Light" panose="020B0503020201020303" pitchFamily="34" charset="0"/>
              </a:rPr>
            </a:br>
            <a:r>
              <a:rPr kumimoji="0" lang="en-US" sz="1000" b="0" i="0" u="none" strike="noStrike" kern="1200" cap="none" spc="-13" normalizeH="0" baseline="0" noProof="0">
                <a:ln>
                  <a:noFill/>
                </a:ln>
                <a:solidFill>
                  <a:srgbClr val="2F446B"/>
                </a:solidFill>
                <a:effectLst/>
                <a:uLnTx/>
                <a:uFillTx/>
                <a:latin typeface="CiscoSansTT ExtraLight"/>
                <a:ea typeface="+mn-ea"/>
                <a:cs typeface="CiscoSansTT Light" panose="020B0503020201020303" pitchFamily="34" charset="0"/>
              </a:rPr>
              <a:t>Experts</a:t>
            </a:r>
          </a:p>
        </p:txBody>
      </p:sp>
      <p:sp>
        <p:nvSpPr>
          <p:cNvPr id="74" name="TextBox 73">
            <a:extLst>
              <a:ext uri="{FF2B5EF4-FFF2-40B4-BE49-F238E27FC236}">
                <a16:creationId xmlns:a16="http://schemas.microsoft.com/office/drawing/2014/main" id="{A0574F7A-316A-4BF7-9622-54433935D8D5}"/>
              </a:ext>
            </a:extLst>
          </p:cNvPr>
          <p:cNvSpPr txBox="1"/>
          <p:nvPr/>
        </p:nvSpPr>
        <p:spPr>
          <a:xfrm>
            <a:off x="10907955" y="1600771"/>
            <a:ext cx="1017149" cy="304268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-13" normalizeH="0" baseline="0" noProof="0">
                <a:ln>
                  <a:noFill/>
                </a:ln>
                <a:solidFill>
                  <a:srgbClr val="2F446B"/>
                </a:solidFill>
                <a:effectLst/>
                <a:uLnTx/>
                <a:uFillTx/>
                <a:latin typeface="CiscoSansTT ExtraLight"/>
                <a:ea typeface="+mn-ea"/>
                <a:cs typeface="CiscoSansTT Light" panose="020B0503020201020303" pitchFamily="34" charset="0"/>
              </a:rPr>
              <a:t>Expert </a:t>
            </a:r>
            <a:br>
              <a:rPr kumimoji="0" lang="en-US" sz="1000" b="0" i="0" u="none" strike="noStrike" kern="1200" cap="none" spc="-13" normalizeH="0" baseline="0" noProof="0">
                <a:ln>
                  <a:noFill/>
                </a:ln>
                <a:solidFill>
                  <a:srgbClr val="2F446B"/>
                </a:solidFill>
                <a:effectLst/>
                <a:uLnTx/>
                <a:uFillTx/>
                <a:latin typeface="CiscoSansTT ExtraLight"/>
                <a:ea typeface="+mn-ea"/>
                <a:cs typeface="CiscoSansTT Light" panose="020B0503020201020303" pitchFamily="34" charset="0"/>
              </a:rPr>
            </a:br>
            <a:r>
              <a:rPr kumimoji="0" lang="en-US" sz="1000" b="0" i="0" u="none" strike="noStrike" kern="1200" cap="none" spc="-13" normalizeH="0" baseline="0" noProof="0">
                <a:ln>
                  <a:noFill/>
                </a:ln>
                <a:solidFill>
                  <a:srgbClr val="2F446B"/>
                </a:solidFill>
                <a:effectLst/>
                <a:uLnTx/>
                <a:uFillTx/>
                <a:latin typeface="CiscoSansTT ExtraLight"/>
                <a:ea typeface="+mn-ea"/>
                <a:cs typeface="CiscoSansTT Light" panose="020B0503020201020303" pitchFamily="34" charset="0"/>
              </a:rPr>
              <a:t>Review Workshop</a:t>
            </a:r>
          </a:p>
        </p:txBody>
      </p:sp>
      <p:sp>
        <p:nvSpPr>
          <p:cNvPr id="80" name="Triangle 79">
            <a:extLst>
              <a:ext uri="{FF2B5EF4-FFF2-40B4-BE49-F238E27FC236}">
                <a16:creationId xmlns:a16="http://schemas.microsoft.com/office/drawing/2014/main" id="{8D907A66-3B23-1046-8664-2CEB913EB0BE}"/>
              </a:ext>
            </a:extLst>
          </p:cNvPr>
          <p:cNvSpPr/>
          <p:nvPr/>
        </p:nvSpPr>
        <p:spPr>
          <a:xfrm rot="10800000">
            <a:off x="1740414" y="4347949"/>
            <a:ext cx="322656" cy="163514"/>
          </a:xfrm>
          <a:prstGeom prst="triangl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endParaRPr kumimoji="0" lang="en-US" sz="1467" b="0" i="0" u="none" strike="noStrike" kern="1200" cap="none" spc="0" normalizeH="0" baseline="0" noProof="0">
              <a:ln>
                <a:noFill/>
              </a:ln>
              <a:solidFill>
                <a:srgbClr val="005073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81" name="TextBox 80">
            <a:extLst>
              <a:ext uri="{FF2B5EF4-FFF2-40B4-BE49-F238E27FC236}">
                <a16:creationId xmlns:a16="http://schemas.microsoft.com/office/drawing/2014/main" id="{9135BA1C-4359-7E4F-A711-1816A95943B9}"/>
              </a:ext>
            </a:extLst>
          </p:cNvPr>
          <p:cNvSpPr txBox="1"/>
          <p:nvPr/>
        </p:nvSpPr>
        <p:spPr>
          <a:xfrm>
            <a:off x="821742" y="4577033"/>
            <a:ext cx="2160000" cy="155781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lvl="0">
              <a:lnSpc>
                <a:spcPct val="110000"/>
              </a:lnSpc>
              <a:spcAft>
                <a:spcPts val="600"/>
              </a:spcAft>
              <a:buClr>
                <a:srgbClr val="000000"/>
              </a:buClr>
              <a:buSzPts val="1400"/>
              <a:defRPr/>
            </a:pPr>
            <a:r>
              <a:rPr lang="en-US" sz="1200">
                <a:solidFill>
                  <a:schemeClr val="bg2"/>
                </a:solidFill>
                <a:latin typeface="CiscoSansTT ExtraLight" panose="020B0303020201020303" pitchFamily="34" charset="0"/>
                <a:ea typeface="Helvetica Neue Light"/>
                <a:cs typeface="CiscoSansTT ExtraLight" panose="020B0303020201020303" pitchFamily="34" charset="0"/>
                <a:sym typeface="Helvetica Neue Light"/>
              </a:rPr>
              <a:t>Identified and addressed root causes and security alerts</a:t>
            </a:r>
          </a:p>
          <a:p>
            <a:pPr marL="179388" lvl="0" indent="-179388" defTabSz="609570" fontAlgn="base">
              <a:lnSpc>
                <a:spcPct val="110000"/>
              </a:lnSpc>
              <a:spcAft>
                <a:spcPts val="600"/>
              </a:spcAft>
              <a:buClr>
                <a:schemeClr val="accent1"/>
              </a:buClr>
              <a:buSzPts val="1400"/>
              <a:buFont typeface="Arial" panose="020B0604020202020204" pitchFamily="34" charset="0"/>
              <a:buChar char="•"/>
              <a:defRPr/>
            </a:pPr>
            <a:r>
              <a:rPr lang="en-US" sz="1200">
                <a:solidFill>
                  <a:schemeClr val="bg2"/>
                </a:solidFill>
                <a:latin typeface="CiscoSansTT ExtraLight" panose="020B0303020201020303" pitchFamily="34" charset="0"/>
                <a:ea typeface="ＭＳ Ｐゴシック" charset="0"/>
                <a:cs typeface="CiscoSansTT ExtraLight" panose="020B0303020201020303" pitchFamily="34" charset="0"/>
                <a:sym typeface="Helvetica Neue Light"/>
              </a:rPr>
              <a:t>30% improved staff utilization</a:t>
            </a:r>
          </a:p>
          <a:p>
            <a:pPr marL="179388" lvl="0" indent="-179388" defTabSz="609570" fontAlgn="base">
              <a:lnSpc>
                <a:spcPct val="110000"/>
              </a:lnSpc>
              <a:spcAft>
                <a:spcPts val="600"/>
              </a:spcAft>
              <a:buClr>
                <a:schemeClr val="accent1"/>
              </a:buClr>
              <a:buSzPts val="1400"/>
              <a:buFont typeface="Arial" panose="020B0604020202020204" pitchFamily="34" charset="0"/>
              <a:buChar char="•"/>
              <a:defRPr/>
            </a:pPr>
            <a:r>
              <a:rPr lang="en-US" sz="1200">
                <a:solidFill>
                  <a:schemeClr val="bg2"/>
                </a:solidFill>
                <a:latin typeface="CiscoSansTT ExtraLight" panose="020B0303020201020303" pitchFamily="34" charset="0"/>
                <a:ea typeface="ＭＳ Ｐゴシック" charset="0"/>
                <a:cs typeface="CiscoSansTT ExtraLight" panose="020B0303020201020303" pitchFamily="34" charset="0"/>
                <a:sym typeface="Helvetica Neue Light"/>
              </a:rPr>
              <a:t>Reduced P1 and </a:t>
            </a:r>
            <a:br>
              <a:rPr lang="en-US" sz="1200">
                <a:solidFill>
                  <a:schemeClr val="bg2"/>
                </a:solidFill>
                <a:latin typeface="CiscoSansTT ExtraLight" panose="020B0303020201020303" pitchFamily="34" charset="0"/>
                <a:ea typeface="ＭＳ Ｐゴシック" charset="0"/>
                <a:cs typeface="CiscoSansTT ExtraLight" panose="020B0303020201020303" pitchFamily="34" charset="0"/>
                <a:sym typeface="Helvetica Neue Light"/>
              </a:rPr>
            </a:br>
            <a:r>
              <a:rPr lang="en-US" sz="1200">
                <a:solidFill>
                  <a:schemeClr val="bg2"/>
                </a:solidFill>
                <a:latin typeface="CiscoSansTT ExtraLight" panose="020B0303020201020303" pitchFamily="34" charset="0"/>
                <a:ea typeface="ＭＳ Ｐゴシック" charset="0"/>
                <a:cs typeface="CiscoSansTT ExtraLight" panose="020B0303020201020303" pitchFamily="34" charset="0"/>
                <a:sym typeface="Helvetica Neue Light"/>
              </a:rPr>
              <a:t>P2 cases by 20%</a:t>
            </a:r>
          </a:p>
          <a:p>
            <a:pPr marL="228589" lvl="0" indent="-228589" defTabSz="609570" fontAlgn="base">
              <a:lnSpc>
                <a:spcPct val="110000"/>
              </a:lnSpc>
              <a:spcAft>
                <a:spcPts val="600"/>
              </a:spcAft>
              <a:buClr>
                <a:schemeClr val="accent1"/>
              </a:buClr>
              <a:buSzPts val="1400"/>
              <a:buFont typeface="Arial" panose="020B0604020202020204" pitchFamily="34" charset="0"/>
              <a:buChar char="•"/>
              <a:defRPr/>
            </a:pPr>
            <a:endParaRPr lang="en-US" sz="1200">
              <a:solidFill>
                <a:schemeClr val="bg2"/>
              </a:solidFill>
              <a:latin typeface="CiscoSansTT ExtraLight" panose="020B0303020201020303" pitchFamily="34" charset="0"/>
              <a:ea typeface="ＭＳ Ｐゴシック" charset="0"/>
              <a:cs typeface="CiscoSansTT ExtraLight" panose="020B0303020201020303" pitchFamily="34" charset="0"/>
              <a:sym typeface="Helvetica Neue Light"/>
            </a:endParaRPr>
          </a:p>
        </p:txBody>
      </p:sp>
      <p:sp>
        <p:nvSpPr>
          <p:cNvPr id="82" name="Rectangle 81">
            <a:extLst>
              <a:ext uri="{FF2B5EF4-FFF2-40B4-BE49-F238E27FC236}">
                <a16:creationId xmlns:a16="http://schemas.microsoft.com/office/drawing/2014/main" id="{F9B27C17-4AE2-4E4F-ABA2-862978773150}"/>
              </a:ext>
            </a:extLst>
          </p:cNvPr>
          <p:cNvSpPr/>
          <p:nvPr/>
        </p:nvSpPr>
        <p:spPr>
          <a:xfrm>
            <a:off x="1333317" y="2426279"/>
            <a:ext cx="1136850" cy="37965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b="1" kern="0">
                <a:solidFill>
                  <a:schemeClr val="accent1"/>
                </a:solidFill>
                <a:latin typeface="CiscoSansTT ExtraLight" panose="020B0303020201020303" pitchFamily="34" charset="0"/>
                <a:ea typeface="ＭＳ Ｐゴシック" charset="0"/>
                <a:cs typeface="CiscoSansTT ExtraLight" panose="020B0303020201020303" pitchFamily="34" charset="0"/>
              </a:rPr>
              <a:t>Phase 1 </a:t>
            </a:r>
          </a:p>
        </p:txBody>
      </p:sp>
      <p:sp>
        <p:nvSpPr>
          <p:cNvPr id="85" name="TextBox 84">
            <a:extLst>
              <a:ext uri="{FF2B5EF4-FFF2-40B4-BE49-F238E27FC236}">
                <a16:creationId xmlns:a16="http://schemas.microsoft.com/office/drawing/2014/main" id="{BBDAA76F-A2CD-1847-B0B1-1FF44C9F4DE9}"/>
              </a:ext>
            </a:extLst>
          </p:cNvPr>
          <p:cNvSpPr txBox="1"/>
          <p:nvPr/>
        </p:nvSpPr>
        <p:spPr>
          <a:xfrm>
            <a:off x="3617538" y="4591101"/>
            <a:ext cx="2160000" cy="155781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110000"/>
              </a:lnSpc>
              <a:spcAft>
                <a:spcPts val="600"/>
              </a:spcAft>
              <a:buClr>
                <a:srgbClr val="000000"/>
              </a:buClr>
              <a:buSzPts val="1400"/>
              <a:defRPr/>
            </a:pPr>
            <a:r>
              <a:rPr lang="en-US" sz="1200">
                <a:solidFill>
                  <a:schemeClr val="bg2"/>
                </a:solidFill>
                <a:latin typeface="CiscoSansTT ExtraLight" panose="020B0303020201020303" pitchFamily="34" charset="0"/>
                <a:ea typeface="Helvetica Neue Light"/>
                <a:cs typeface="CiscoSansTT ExtraLight" panose="020B0303020201020303" pitchFamily="34" charset="0"/>
                <a:sym typeface="Helvetica Neue Light"/>
              </a:rPr>
              <a:t>Improved configuration and software compliance done during planned downtime</a:t>
            </a:r>
          </a:p>
          <a:p>
            <a:pPr marL="179388" lvl="0" indent="-179388" defTabSz="609570" fontAlgn="base">
              <a:lnSpc>
                <a:spcPct val="110000"/>
              </a:lnSpc>
              <a:spcAft>
                <a:spcPts val="600"/>
              </a:spcAft>
              <a:buClr>
                <a:schemeClr val="bg2"/>
              </a:buClr>
              <a:buSzPts val="1400"/>
              <a:buFont typeface="Arial" panose="020B0604020202020204" pitchFamily="34" charset="0"/>
              <a:buChar char="•"/>
              <a:defRPr/>
            </a:pPr>
            <a:r>
              <a:rPr lang="en-US" sz="1200">
                <a:solidFill>
                  <a:schemeClr val="bg2"/>
                </a:solidFill>
                <a:latin typeface="CiscoSansTT ExtraLight" panose="020B0303020201020303" pitchFamily="34" charset="0"/>
                <a:ea typeface="ＭＳ Ｐゴシック" charset="0"/>
                <a:cs typeface="CiscoSansTT ExtraLight" panose="020B0303020201020303" pitchFamily="34" charset="0"/>
                <a:sym typeface="Helvetica Neue Light"/>
              </a:rPr>
              <a:t>65% of configurations </a:t>
            </a:r>
            <a:br>
              <a:rPr lang="en-US" sz="1200">
                <a:solidFill>
                  <a:schemeClr val="bg2"/>
                </a:solidFill>
                <a:latin typeface="CiscoSansTT ExtraLight" panose="020B0303020201020303" pitchFamily="34" charset="0"/>
                <a:ea typeface="ＭＳ Ｐゴシック" charset="0"/>
                <a:cs typeface="CiscoSansTT ExtraLight" panose="020B0303020201020303" pitchFamily="34" charset="0"/>
                <a:sym typeface="Helvetica Neue Light"/>
              </a:rPr>
            </a:br>
            <a:r>
              <a:rPr lang="en-US" sz="1200">
                <a:solidFill>
                  <a:schemeClr val="bg2"/>
                </a:solidFill>
                <a:latin typeface="CiscoSansTT ExtraLight" panose="020B0303020201020303" pitchFamily="34" charset="0"/>
                <a:ea typeface="ＭＳ Ｐゴシック" charset="0"/>
                <a:cs typeface="CiscoSansTT ExtraLight" panose="020B0303020201020303" pitchFamily="34" charset="0"/>
                <a:sym typeface="Helvetica Neue Light"/>
              </a:rPr>
              <a:t>were resolved</a:t>
            </a:r>
          </a:p>
          <a:p>
            <a:pPr marL="179388" lvl="0" indent="-179388" defTabSz="609570" fontAlgn="base">
              <a:lnSpc>
                <a:spcPct val="110000"/>
              </a:lnSpc>
              <a:spcAft>
                <a:spcPts val="600"/>
              </a:spcAft>
              <a:buClr>
                <a:schemeClr val="bg2"/>
              </a:buClr>
              <a:buSzPts val="1400"/>
              <a:buFont typeface="Arial" panose="020B0604020202020204" pitchFamily="34" charset="0"/>
              <a:buChar char="•"/>
              <a:defRPr/>
            </a:pPr>
            <a:r>
              <a:rPr lang="en-US" sz="1200">
                <a:solidFill>
                  <a:schemeClr val="bg2"/>
                </a:solidFill>
                <a:latin typeface="CiscoSansTT ExtraLight" panose="020B0303020201020303" pitchFamily="34" charset="0"/>
                <a:ea typeface="ＭＳ Ｐゴシック" charset="0"/>
                <a:cs typeface="CiscoSansTT ExtraLight" panose="020B0303020201020303" pitchFamily="34" charset="0"/>
                <a:sym typeface="Helvetica Neue Light"/>
              </a:rPr>
              <a:t>70% of software </a:t>
            </a:r>
            <a:br>
              <a:rPr lang="en-US" sz="1200">
                <a:solidFill>
                  <a:schemeClr val="bg2"/>
                </a:solidFill>
                <a:latin typeface="CiscoSansTT ExtraLight" panose="020B0303020201020303" pitchFamily="34" charset="0"/>
                <a:ea typeface="ＭＳ Ｐゴシック" charset="0"/>
                <a:cs typeface="CiscoSansTT ExtraLight" panose="020B0303020201020303" pitchFamily="34" charset="0"/>
                <a:sym typeface="Helvetica Neue Light"/>
              </a:rPr>
            </a:br>
            <a:r>
              <a:rPr lang="en-US" sz="1200">
                <a:solidFill>
                  <a:schemeClr val="bg2"/>
                </a:solidFill>
                <a:latin typeface="CiscoSansTT ExtraLight" panose="020B0303020201020303" pitchFamily="34" charset="0"/>
                <a:ea typeface="ＭＳ Ｐゴシック" charset="0"/>
                <a:cs typeface="CiscoSansTT ExtraLight" panose="020B0303020201020303" pitchFamily="34" charset="0"/>
                <a:sym typeface="Helvetica Neue Light"/>
              </a:rPr>
              <a:t>upgrades completed</a:t>
            </a:r>
          </a:p>
        </p:txBody>
      </p:sp>
      <p:sp>
        <p:nvSpPr>
          <p:cNvPr id="86" name="Rectangle 85">
            <a:extLst>
              <a:ext uri="{FF2B5EF4-FFF2-40B4-BE49-F238E27FC236}">
                <a16:creationId xmlns:a16="http://schemas.microsoft.com/office/drawing/2014/main" id="{B9BB561E-F480-114F-A174-363B016DBBDF}"/>
              </a:ext>
            </a:extLst>
          </p:cNvPr>
          <p:cNvSpPr/>
          <p:nvPr/>
        </p:nvSpPr>
        <p:spPr>
          <a:xfrm>
            <a:off x="4129113" y="2426279"/>
            <a:ext cx="1136850" cy="37965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b="1" kern="0">
                <a:solidFill>
                  <a:schemeClr val="bg2"/>
                </a:solidFill>
                <a:latin typeface="CiscoSansTT ExtraLight" panose="020B0303020201020303" pitchFamily="34" charset="0"/>
                <a:ea typeface="ＭＳ Ｐゴシック" charset="0"/>
                <a:cs typeface="CiscoSansTT ExtraLight" panose="020B0303020201020303" pitchFamily="34" charset="0"/>
              </a:rPr>
              <a:t>Phase 2 </a:t>
            </a:r>
          </a:p>
        </p:txBody>
      </p:sp>
      <p:sp>
        <p:nvSpPr>
          <p:cNvPr id="87" name="Triangle 86">
            <a:extLst>
              <a:ext uri="{FF2B5EF4-FFF2-40B4-BE49-F238E27FC236}">
                <a16:creationId xmlns:a16="http://schemas.microsoft.com/office/drawing/2014/main" id="{FDC922A0-0668-C94C-A48B-B7E2BB7CBFD3}"/>
              </a:ext>
            </a:extLst>
          </p:cNvPr>
          <p:cNvSpPr/>
          <p:nvPr/>
        </p:nvSpPr>
        <p:spPr>
          <a:xfrm rot="10800000">
            <a:off x="4536211" y="4347949"/>
            <a:ext cx="322656" cy="163514"/>
          </a:xfrm>
          <a:prstGeom prst="triangl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endParaRPr kumimoji="0" lang="en-US" sz="1467" u="none" strike="noStrike" kern="1200" cap="none" spc="0" normalizeH="0" baseline="0" noProof="0">
              <a:ln>
                <a:noFill/>
              </a:ln>
              <a:solidFill>
                <a:srgbClr val="005073"/>
              </a:solidFill>
              <a:effectLst/>
              <a:uLnTx/>
              <a:uFillTx/>
              <a:latin typeface="CiscoSansTT ExtraLight" panose="020B0303020201020303" pitchFamily="34" charset="0"/>
              <a:cs typeface="CiscoSansTT ExtraLight" panose="020B0303020201020303" pitchFamily="34" charset="0"/>
            </a:endParaRPr>
          </a:p>
        </p:txBody>
      </p:sp>
      <p:sp>
        <p:nvSpPr>
          <p:cNvPr id="90" name="TextBox 89">
            <a:extLst>
              <a:ext uri="{FF2B5EF4-FFF2-40B4-BE49-F238E27FC236}">
                <a16:creationId xmlns:a16="http://schemas.microsoft.com/office/drawing/2014/main" id="{82C587E4-367B-C34B-B7BE-DF561A08E12D}"/>
              </a:ext>
            </a:extLst>
          </p:cNvPr>
          <p:cNvSpPr txBox="1"/>
          <p:nvPr/>
        </p:nvSpPr>
        <p:spPr>
          <a:xfrm>
            <a:off x="6413334" y="4591101"/>
            <a:ext cx="2160000" cy="155781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110000"/>
              </a:lnSpc>
              <a:spcAft>
                <a:spcPts val="600"/>
              </a:spcAft>
              <a:buClr>
                <a:srgbClr val="000000"/>
              </a:buClr>
              <a:buSzPts val="1400"/>
              <a:defRPr/>
            </a:pPr>
            <a:r>
              <a:rPr lang="en-US" sz="1200">
                <a:solidFill>
                  <a:schemeClr val="bg2"/>
                </a:solidFill>
                <a:latin typeface="CiscoSansTT ExtraLight" panose="020B0303020201020303" pitchFamily="34" charset="0"/>
                <a:ea typeface="Helvetica Neue Light"/>
                <a:cs typeface="CiscoSansTT ExtraLight" panose="020B0303020201020303" pitchFamily="34" charset="0"/>
                <a:sym typeface="Helvetica Neue Light"/>
              </a:rPr>
              <a:t>Resolved root cause, field notice, and risk mitigation Issues </a:t>
            </a:r>
          </a:p>
          <a:p>
            <a:pPr marL="179388" lvl="0" indent="-179388" defTabSz="609570" fontAlgn="base">
              <a:lnSpc>
                <a:spcPct val="110000"/>
              </a:lnSpc>
              <a:spcAft>
                <a:spcPts val="600"/>
              </a:spcAft>
              <a:buClr>
                <a:schemeClr val="accent2"/>
              </a:buClr>
              <a:buSzPts val="1400"/>
              <a:buFont typeface="Arial" panose="020B0604020202020204" pitchFamily="34" charset="0"/>
              <a:buChar char="•"/>
              <a:defRPr/>
            </a:pPr>
            <a:r>
              <a:rPr lang="en-US" sz="1200">
                <a:solidFill>
                  <a:schemeClr val="bg2"/>
                </a:solidFill>
                <a:latin typeface="CiscoSansTT ExtraLight" panose="020B0303020201020303" pitchFamily="34" charset="0"/>
                <a:ea typeface="ＭＳ Ｐゴシック" charset="0"/>
                <a:cs typeface="CiscoSansTT ExtraLight" panose="020B0303020201020303" pitchFamily="34" charset="0"/>
                <a:sym typeface="Helvetica Neue Light"/>
              </a:rPr>
              <a:t>20% increased stability</a:t>
            </a:r>
          </a:p>
          <a:p>
            <a:pPr marL="179388" lvl="0" indent="-179388" defTabSz="609570" fontAlgn="base">
              <a:lnSpc>
                <a:spcPct val="110000"/>
              </a:lnSpc>
              <a:spcAft>
                <a:spcPts val="600"/>
              </a:spcAft>
              <a:buClr>
                <a:schemeClr val="accent2"/>
              </a:buClr>
              <a:buSzPts val="1400"/>
              <a:buFont typeface="Arial" panose="020B0604020202020204" pitchFamily="34" charset="0"/>
              <a:buChar char="•"/>
              <a:defRPr/>
            </a:pPr>
            <a:r>
              <a:rPr lang="en-US" sz="1200">
                <a:solidFill>
                  <a:schemeClr val="bg2"/>
                </a:solidFill>
                <a:latin typeface="CiscoSansTT ExtraLight" panose="020B0303020201020303" pitchFamily="34" charset="0"/>
                <a:ea typeface="ＭＳ Ｐゴシック" charset="0"/>
                <a:cs typeface="CiscoSansTT ExtraLight" panose="020B0303020201020303" pitchFamily="34" charset="0"/>
                <a:sym typeface="Helvetica Neue Light"/>
              </a:rPr>
              <a:t>100% security compliance</a:t>
            </a:r>
          </a:p>
        </p:txBody>
      </p:sp>
      <p:sp>
        <p:nvSpPr>
          <p:cNvPr id="91" name="Rectangle 90">
            <a:extLst>
              <a:ext uri="{FF2B5EF4-FFF2-40B4-BE49-F238E27FC236}">
                <a16:creationId xmlns:a16="http://schemas.microsoft.com/office/drawing/2014/main" id="{52B9F414-4E65-DB46-8052-33BAF91251D4}"/>
              </a:ext>
            </a:extLst>
          </p:cNvPr>
          <p:cNvSpPr/>
          <p:nvPr/>
        </p:nvSpPr>
        <p:spPr>
          <a:xfrm>
            <a:off x="6924909" y="2440347"/>
            <a:ext cx="1136850" cy="37965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b="1" kern="0">
                <a:solidFill>
                  <a:schemeClr val="accent2"/>
                </a:solidFill>
                <a:latin typeface="CiscoSansTT ExtraLight" panose="020B0303020201020303" pitchFamily="34" charset="0"/>
                <a:ea typeface="ＭＳ Ｐゴシック" charset="0"/>
                <a:cs typeface="CiscoSansTT ExtraLight" panose="020B0303020201020303" pitchFamily="34" charset="0"/>
              </a:rPr>
              <a:t>Phase 3 </a:t>
            </a:r>
          </a:p>
        </p:txBody>
      </p:sp>
      <p:sp>
        <p:nvSpPr>
          <p:cNvPr id="92" name="Triangle 91">
            <a:extLst>
              <a:ext uri="{FF2B5EF4-FFF2-40B4-BE49-F238E27FC236}">
                <a16:creationId xmlns:a16="http://schemas.microsoft.com/office/drawing/2014/main" id="{9CFB1894-7031-0A43-AB9D-1211412F12CD}"/>
              </a:ext>
            </a:extLst>
          </p:cNvPr>
          <p:cNvSpPr/>
          <p:nvPr/>
        </p:nvSpPr>
        <p:spPr>
          <a:xfrm rot="10800000">
            <a:off x="7332007" y="4347949"/>
            <a:ext cx="322656" cy="163514"/>
          </a:xfrm>
          <a:prstGeom prst="triangl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endParaRPr kumimoji="0" lang="en-US" sz="1467" u="none" strike="noStrike" kern="1200" cap="none" spc="0" normalizeH="0" baseline="0" noProof="0">
              <a:ln>
                <a:noFill/>
              </a:ln>
              <a:solidFill>
                <a:srgbClr val="005073"/>
              </a:solidFill>
              <a:effectLst/>
              <a:uLnTx/>
              <a:uFillTx/>
              <a:latin typeface="CiscoSansTT ExtraLight" panose="020B0303020201020303" pitchFamily="34" charset="0"/>
              <a:cs typeface="CiscoSansTT ExtraLight" panose="020B0303020201020303" pitchFamily="34" charset="0"/>
            </a:endParaRPr>
          </a:p>
        </p:txBody>
      </p:sp>
      <p:sp>
        <p:nvSpPr>
          <p:cNvPr id="79" name="Rectangle: Rounded Corners 58">
            <a:extLst>
              <a:ext uri="{FF2B5EF4-FFF2-40B4-BE49-F238E27FC236}">
                <a16:creationId xmlns:a16="http://schemas.microsoft.com/office/drawing/2014/main" id="{FA195DF9-AD0D-7A45-94A7-2FA33F97FDA7}"/>
              </a:ext>
            </a:extLst>
          </p:cNvPr>
          <p:cNvSpPr/>
          <p:nvPr/>
        </p:nvSpPr>
        <p:spPr>
          <a:xfrm>
            <a:off x="543702" y="2789077"/>
            <a:ext cx="2716080" cy="394452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lnSpc>
                <a:spcPct val="110000"/>
              </a:lnSpc>
              <a:spcAft>
                <a:spcPts val="800"/>
              </a:spcAft>
              <a:defRPr/>
            </a:pPr>
            <a:r>
              <a:rPr lang="en-US" sz="1300">
                <a:solidFill>
                  <a:srgbClr val="FFFFFF"/>
                </a:solidFill>
                <a:latin typeface="CiscoSansTT ExtraLight"/>
              </a:rPr>
              <a:t>Minimize risk</a:t>
            </a:r>
          </a:p>
        </p:txBody>
      </p:sp>
      <p:sp>
        <p:nvSpPr>
          <p:cNvPr id="84" name="Rectangle: Rounded Corners 77">
            <a:extLst>
              <a:ext uri="{FF2B5EF4-FFF2-40B4-BE49-F238E27FC236}">
                <a16:creationId xmlns:a16="http://schemas.microsoft.com/office/drawing/2014/main" id="{7F1A8A44-5FFD-F642-8D8D-EBCC9A9390F3}"/>
              </a:ext>
            </a:extLst>
          </p:cNvPr>
          <p:cNvSpPr/>
          <p:nvPr/>
        </p:nvSpPr>
        <p:spPr>
          <a:xfrm>
            <a:off x="3339498" y="2789077"/>
            <a:ext cx="2716080" cy="394452"/>
          </a:xfrm>
          <a:prstGeom prst="roundRect">
            <a:avLst>
              <a:gd name="adj" fmla="val 50000"/>
            </a:avLst>
          </a:prstGeom>
          <a:solidFill>
            <a:schemeClr val="bg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lnSpc>
                <a:spcPct val="110000"/>
              </a:lnSpc>
              <a:spcAft>
                <a:spcPts val="800"/>
              </a:spcAft>
              <a:defRPr/>
            </a:pPr>
            <a:r>
              <a:rPr lang="en-US" sz="1300" b="1">
                <a:solidFill>
                  <a:srgbClr val="FFFFFF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rPr>
              <a:t>Upgrade</a:t>
            </a:r>
            <a:endParaRPr kumimoji="0" lang="en-US" sz="1300" b="1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iscoSansTT ExtraLight" panose="020B0303020201020303" pitchFamily="34" charset="0"/>
              <a:cs typeface="CiscoSansTT ExtraLight" panose="020B0303020201020303" pitchFamily="34" charset="0"/>
            </a:endParaRPr>
          </a:p>
        </p:txBody>
      </p:sp>
      <p:sp>
        <p:nvSpPr>
          <p:cNvPr id="89" name="Rectangle: Rounded Corners 92">
            <a:extLst>
              <a:ext uri="{FF2B5EF4-FFF2-40B4-BE49-F238E27FC236}">
                <a16:creationId xmlns:a16="http://schemas.microsoft.com/office/drawing/2014/main" id="{AEE07804-622E-6D42-9396-A8895CC78CDE}"/>
              </a:ext>
            </a:extLst>
          </p:cNvPr>
          <p:cNvSpPr/>
          <p:nvPr/>
        </p:nvSpPr>
        <p:spPr>
          <a:xfrm>
            <a:off x="6135294" y="2789077"/>
            <a:ext cx="2716080" cy="394452"/>
          </a:xfrm>
          <a:prstGeom prst="roundRect">
            <a:avLst>
              <a:gd name="adj" fmla="val 50000"/>
            </a:avLst>
          </a:prstGeom>
          <a:solidFill>
            <a:schemeClr val="accent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lnSpc>
                <a:spcPct val="110000"/>
              </a:lnSpc>
              <a:spcAft>
                <a:spcPts val="800"/>
              </a:spcAft>
              <a:defRPr/>
            </a:pPr>
            <a:r>
              <a:rPr lang="en-US" sz="1300" b="1">
                <a:solidFill>
                  <a:srgbClr val="FFFFFF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rPr>
              <a:t>Crash risk and security alerts</a:t>
            </a:r>
            <a:endParaRPr kumimoji="0" lang="en-US" sz="1300" b="1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iscoSansTT ExtraLight" panose="020B0303020201020303" pitchFamily="34" charset="0"/>
              <a:cs typeface="CiscoSansTT ExtraLight" panose="020B0303020201020303" pitchFamily="34" charset="0"/>
            </a:endParaRPr>
          </a:p>
        </p:txBody>
      </p:sp>
      <p:sp>
        <p:nvSpPr>
          <p:cNvPr id="95" name="Rectangle: Rounded Corners 107">
            <a:extLst>
              <a:ext uri="{FF2B5EF4-FFF2-40B4-BE49-F238E27FC236}">
                <a16:creationId xmlns:a16="http://schemas.microsoft.com/office/drawing/2014/main" id="{C3A62826-F8EB-4642-BAF6-F7FA38A129F5}"/>
              </a:ext>
            </a:extLst>
          </p:cNvPr>
          <p:cNvSpPr/>
          <p:nvPr/>
        </p:nvSpPr>
        <p:spPr>
          <a:xfrm>
            <a:off x="8931090" y="2789077"/>
            <a:ext cx="2716080" cy="394452"/>
          </a:xfrm>
          <a:prstGeom prst="roundRect">
            <a:avLst>
              <a:gd name="adj" fmla="val 50000"/>
            </a:avLst>
          </a:prstGeom>
          <a:solidFill>
            <a:schemeClr val="accent5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lnSpc>
                <a:spcPct val="110000"/>
              </a:lnSpc>
              <a:spcAft>
                <a:spcPts val="800"/>
              </a:spcAft>
              <a:defRPr/>
            </a:pPr>
            <a:r>
              <a:rPr lang="en-US" sz="1400">
                <a:solidFill>
                  <a:srgbClr val="FFFFFF"/>
                </a:solidFill>
                <a:latin typeface="CiscoSansTT ExtraLight"/>
              </a:rPr>
              <a:t>Maintenance</a:t>
            </a:r>
            <a:endParaRPr kumimoji="0" lang="en-US" sz="1400" b="1" u="none" strike="noStrike" kern="1200" cap="none" spc="0" normalizeH="0" baseline="0" noProof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CiscoSansTT ExtraLight" panose="020B0303020201020303" pitchFamily="34" charset="0"/>
              <a:cs typeface="CiscoSansTT ExtraLight" panose="020B0303020201020303" pitchFamily="34" charset="0"/>
            </a:endParaRPr>
          </a:p>
        </p:txBody>
      </p:sp>
      <p:sp>
        <p:nvSpPr>
          <p:cNvPr id="96" name="TextBox 95">
            <a:extLst>
              <a:ext uri="{FF2B5EF4-FFF2-40B4-BE49-F238E27FC236}">
                <a16:creationId xmlns:a16="http://schemas.microsoft.com/office/drawing/2014/main" id="{C71E4C1B-3944-2D48-832D-F8C6CE78EE75}"/>
              </a:ext>
            </a:extLst>
          </p:cNvPr>
          <p:cNvSpPr txBox="1"/>
          <p:nvPr/>
        </p:nvSpPr>
        <p:spPr>
          <a:xfrm>
            <a:off x="9209130" y="4591101"/>
            <a:ext cx="2160000" cy="155781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lvl="0">
              <a:lnSpc>
                <a:spcPct val="110000"/>
              </a:lnSpc>
              <a:spcAft>
                <a:spcPts val="600"/>
              </a:spcAft>
              <a:buClr>
                <a:srgbClr val="000000"/>
              </a:buClr>
              <a:buSzPts val="1400"/>
              <a:defRPr/>
            </a:pPr>
            <a:r>
              <a:rPr lang="en-US" sz="1200">
                <a:solidFill>
                  <a:schemeClr val="bg2"/>
                </a:solidFill>
                <a:latin typeface="CiscoSansTT ExtraLight" panose="020B0303020201020303" pitchFamily="34" charset="0"/>
                <a:ea typeface="Helvetica Neue Light"/>
                <a:cs typeface="CiscoSansTT ExtraLight" panose="020B0303020201020303" pitchFamily="34" charset="0"/>
                <a:sym typeface="Helvetica Neue Light"/>
              </a:rPr>
              <a:t>Identified upcoming EOS hardware, newly published risks, and recent syslog activity to monitor</a:t>
            </a:r>
          </a:p>
          <a:p>
            <a:pPr marL="179388" lvl="0" indent="-179388" defTabSz="609570" fontAlgn="base">
              <a:lnSpc>
                <a:spcPct val="110000"/>
              </a:lnSpc>
              <a:spcAft>
                <a:spcPts val="600"/>
              </a:spcAft>
              <a:buClr>
                <a:schemeClr val="accent5"/>
              </a:buClr>
              <a:buSzPts val="1400"/>
              <a:buFont typeface="Arial" panose="020B0604020202020204" pitchFamily="34" charset="0"/>
              <a:buChar char="•"/>
              <a:defRPr/>
            </a:pPr>
            <a:r>
              <a:rPr lang="en-US" sz="1200">
                <a:solidFill>
                  <a:schemeClr val="bg2"/>
                </a:solidFill>
                <a:latin typeface="CiscoSansTT ExtraLight" panose="020B0303020201020303" pitchFamily="34" charset="0"/>
                <a:ea typeface="ＭＳ Ｐゴシック" charset="0"/>
                <a:cs typeface="CiscoSansTT ExtraLight" panose="020B0303020201020303" pitchFamily="34" charset="0"/>
                <a:sym typeface="Helvetica Neue Light"/>
              </a:rPr>
              <a:t>Reduced P1 and </a:t>
            </a:r>
            <a:br>
              <a:rPr lang="en-US" sz="1200">
                <a:solidFill>
                  <a:schemeClr val="bg2"/>
                </a:solidFill>
                <a:latin typeface="CiscoSansTT ExtraLight" panose="020B0303020201020303" pitchFamily="34" charset="0"/>
                <a:ea typeface="ＭＳ Ｐゴシック" charset="0"/>
                <a:cs typeface="CiscoSansTT ExtraLight" panose="020B0303020201020303" pitchFamily="34" charset="0"/>
                <a:sym typeface="Helvetica Neue Light"/>
              </a:rPr>
            </a:br>
            <a:r>
              <a:rPr lang="en-US" sz="1200">
                <a:solidFill>
                  <a:schemeClr val="bg2"/>
                </a:solidFill>
                <a:latin typeface="CiscoSansTT ExtraLight" panose="020B0303020201020303" pitchFamily="34" charset="0"/>
                <a:ea typeface="ＭＳ Ｐゴシック" charset="0"/>
                <a:cs typeface="CiscoSansTT ExtraLight" panose="020B0303020201020303" pitchFamily="34" charset="0"/>
                <a:sym typeface="Helvetica Neue Light"/>
              </a:rPr>
              <a:t>P2 cases by 60%</a:t>
            </a:r>
          </a:p>
          <a:p>
            <a:pPr marL="179388" lvl="0" indent="-179388" defTabSz="609570" fontAlgn="base">
              <a:lnSpc>
                <a:spcPct val="110000"/>
              </a:lnSpc>
              <a:spcAft>
                <a:spcPts val="600"/>
              </a:spcAft>
              <a:buClr>
                <a:schemeClr val="accent5"/>
              </a:buClr>
              <a:buSzPts val="1400"/>
              <a:buFont typeface="Arial" panose="020B0604020202020204" pitchFamily="34" charset="0"/>
              <a:buChar char="•"/>
              <a:defRPr/>
            </a:pPr>
            <a:r>
              <a:rPr lang="en-US" sz="1200">
                <a:solidFill>
                  <a:schemeClr val="bg2"/>
                </a:solidFill>
                <a:latin typeface="CiscoSansTT ExtraLight" panose="020B0303020201020303" pitchFamily="34" charset="0"/>
                <a:ea typeface="ＭＳ Ｐゴシック" charset="0"/>
                <a:cs typeface="CiscoSansTT ExtraLight" panose="020B0303020201020303" pitchFamily="34" charset="0"/>
                <a:sym typeface="Helvetica Neue Light"/>
              </a:rPr>
              <a:t>Reduced risk of non-covered equipment</a:t>
            </a:r>
          </a:p>
        </p:txBody>
      </p:sp>
      <p:sp>
        <p:nvSpPr>
          <p:cNvPr id="97" name="Rectangle 96">
            <a:extLst>
              <a:ext uri="{FF2B5EF4-FFF2-40B4-BE49-F238E27FC236}">
                <a16:creationId xmlns:a16="http://schemas.microsoft.com/office/drawing/2014/main" id="{C9EC254C-120C-6D48-B152-7EC1455910DD}"/>
              </a:ext>
            </a:extLst>
          </p:cNvPr>
          <p:cNvSpPr/>
          <p:nvPr/>
        </p:nvSpPr>
        <p:spPr>
          <a:xfrm>
            <a:off x="9720705" y="2440347"/>
            <a:ext cx="1136850" cy="37965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defTabSz="1219140">
              <a:buClr>
                <a:srgbClr val="000000"/>
              </a:buClr>
              <a:defRPr/>
            </a:pPr>
            <a:r>
              <a:rPr lang="en-US" b="1" kern="0">
                <a:solidFill>
                  <a:schemeClr val="accent5"/>
                </a:solidFill>
                <a:latin typeface="CiscoSansTT ExtraLight" panose="020B0303020201020303" pitchFamily="34" charset="0"/>
                <a:ea typeface="ＭＳ Ｐゴシック" charset="0"/>
                <a:cs typeface="CiscoSansTT ExtraLight" panose="020B0303020201020303" pitchFamily="34" charset="0"/>
              </a:rPr>
              <a:t>Phase 4 </a:t>
            </a:r>
          </a:p>
        </p:txBody>
      </p:sp>
      <p:sp>
        <p:nvSpPr>
          <p:cNvPr id="98" name="Triangle 97">
            <a:extLst>
              <a:ext uri="{FF2B5EF4-FFF2-40B4-BE49-F238E27FC236}">
                <a16:creationId xmlns:a16="http://schemas.microsoft.com/office/drawing/2014/main" id="{81C9828F-ED2B-8F4F-A479-6311F329C245}"/>
              </a:ext>
            </a:extLst>
          </p:cNvPr>
          <p:cNvSpPr/>
          <p:nvPr/>
        </p:nvSpPr>
        <p:spPr>
          <a:xfrm rot="10800000">
            <a:off x="10127802" y="4347949"/>
            <a:ext cx="322656" cy="163514"/>
          </a:xfrm>
          <a:prstGeom prst="triangl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endParaRPr kumimoji="0" lang="en-US" sz="1467" u="none" strike="noStrike" kern="1200" cap="none" spc="0" normalizeH="0" baseline="0" noProof="0">
              <a:ln>
                <a:noFill/>
              </a:ln>
              <a:solidFill>
                <a:srgbClr val="005073"/>
              </a:solidFill>
              <a:effectLst/>
              <a:uLnTx/>
              <a:uFillTx/>
              <a:latin typeface="CiscoSansTT ExtraLight" panose="020B0303020201020303" pitchFamily="34" charset="0"/>
              <a:cs typeface="CiscoSansTT ExtraLight" panose="020B0303020201020303" pitchFamily="34" charset="0"/>
            </a:endParaRPr>
          </a:p>
        </p:txBody>
      </p:sp>
      <p:grpSp>
        <p:nvGrpSpPr>
          <p:cNvPr id="100" name="Group 99">
            <a:extLst>
              <a:ext uri="{FF2B5EF4-FFF2-40B4-BE49-F238E27FC236}">
                <a16:creationId xmlns:a16="http://schemas.microsoft.com/office/drawing/2014/main" id="{606E3C8B-1764-8E4C-A52D-DAB25F512001}"/>
              </a:ext>
            </a:extLst>
          </p:cNvPr>
          <p:cNvGrpSpPr/>
          <p:nvPr/>
        </p:nvGrpSpPr>
        <p:grpSpPr>
          <a:xfrm>
            <a:off x="1275761" y="3384293"/>
            <a:ext cx="1251962" cy="669390"/>
            <a:chOff x="1196762" y="2142881"/>
            <a:chExt cx="1251962" cy="669390"/>
          </a:xfrm>
        </p:grpSpPr>
        <p:sp>
          <p:nvSpPr>
            <p:cNvPr id="101" name="Rectangle: Rounded Corners 223">
              <a:extLst>
                <a:ext uri="{FF2B5EF4-FFF2-40B4-BE49-F238E27FC236}">
                  <a16:creationId xmlns:a16="http://schemas.microsoft.com/office/drawing/2014/main" id="{B7CA437F-2018-9944-8A19-B0996431C9B1}"/>
                </a:ext>
              </a:extLst>
            </p:cNvPr>
            <p:cNvSpPr/>
            <p:nvPr/>
          </p:nvSpPr>
          <p:spPr>
            <a:xfrm>
              <a:off x="1844334" y="2512335"/>
              <a:ext cx="603887" cy="299936"/>
            </a:xfrm>
            <a:prstGeom prst="roundRect">
              <a:avLst>
                <a:gd name="adj" fmla="val 50000"/>
              </a:avLst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48000" bIns="0" rtlCol="0" anchor="ctr" anchorCtr="0"/>
            <a:lstStyle/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i="0" u="none" strike="noStrike" kern="1200" cap="none" spc="0" normalizeH="0" baseline="0" noProof="0">
                  <a:ln>
                    <a:noFill/>
                  </a:ln>
                  <a:solidFill>
                    <a:srgbClr val="00BCEB"/>
                  </a:solidFill>
                  <a:effectLst/>
                  <a:uLnTx/>
                  <a:uFillTx/>
                  <a:latin typeface="CiscoSansTT ExtraLight"/>
                  <a:ea typeface="+mn-ea"/>
                  <a:cs typeface="+mn-cs"/>
                </a:rPr>
                <a:t>x1</a:t>
              </a:r>
            </a:p>
          </p:txBody>
        </p:sp>
        <p:sp>
          <p:nvSpPr>
            <p:cNvPr id="102" name="Rectangle: Rounded Corners 220">
              <a:extLst>
                <a:ext uri="{FF2B5EF4-FFF2-40B4-BE49-F238E27FC236}">
                  <a16:creationId xmlns:a16="http://schemas.microsoft.com/office/drawing/2014/main" id="{A01D90E1-7562-604A-B20A-0A447836169C}"/>
                </a:ext>
              </a:extLst>
            </p:cNvPr>
            <p:cNvSpPr/>
            <p:nvPr/>
          </p:nvSpPr>
          <p:spPr>
            <a:xfrm>
              <a:off x="1197767" y="2142881"/>
              <a:ext cx="603887" cy="299936"/>
            </a:xfrm>
            <a:prstGeom prst="roundRect">
              <a:avLst>
                <a:gd name="adj" fmla="val 50000"/>
              </a:avLst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48000" bIns="0" rtlCol="0" anchor="ctr" anchorCtr="0"/>
            <a:lstStyle/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i="0" u="none" strike="noStrike" kern="1200" cap="none" spc="0" normalizeH="0" baseline="0" noProof="0">
                  <a:ln>
                    <a:noFill/>
                  </a:ln>
                  <a:solidFill>
                    <a:srgbClr val="00BCEB"/>
                  </a:solidFill>
                  <a:effectLst/>
                  <a:uLnTx/>
                  <a:uFillTx/>
                  <a:latin typeface="CiscoSansTT ExtraLight"/>
                  <a:ea typeface="+mn-ea"/>
                  <a:cs typeface="+mn-cs"/>
                </a:rPr>
                <a:t>x4</a:t>
              </a:r>
            </a:p>
          </p:txBody>
        </p:sp>
        <p:sp>
          <p:nvSpPr>
            <p:cNvPr id="106" name="Rectangle: Rounded Corners 221">
              <a:extLst>
                <a:ext uri="{FF2B5EF4-FFF2-40B4-BE49-F238E27FC236}">
                  <a16:creationId xmlns:a16="http://schemas.microsoft.com/office/drawing/2014/main" id="{F24E6630-7885-864B-8DB7-6D96B5546E79}"/>
                </a:ext>
              </a:extLst>
            </p:cNvPr>
            <p:cNvSpPr/>
            <p:nvPr/>
          </p:nvSpPr>
          <p:spPr>
            <a:xfrm>
              <a:off x="1844837" y="2142881"/>
              <a:ext cx="603887" cy="299936"/>
            </a:xfrm>
            <a:prstGeom prst="roundRect">
              <a:avLst>
                <a:gd name="adj" fmla="val 50000"/>
              </a:avLst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48000" bIns="0" rtlCol="0" anchor="ctr" anchorCtr="0"/>
            <a:lstStyle/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i="0" u="none" strike="noStrike" kern="1200" cap="none" spc="0" normalizeH="0" baseline="0" noProof="0">
                  <a:ln>
                    <a:noFill/>
                  </a:ln>
                  <a:solidFill>
                    <a:srgbClr val="00BCEB"/>
                  </a:solidFill>
                  <a:effectLst/>
                  <a:uLnTx/>
                  <a:uFillTx/>
                  <a:latin typeface="CiscoSansTT ExtraLight"/>
                  <a:ea typeface="+mn-ea"/>
                  <a:cs typeface="+mn-cs"/>
                </a:rPr>
                <a:t>x1</a:t>
              </a:r>
            </a:p>
          </p:txBody>
        </p:sp>
        <p:sp>
          <p:nvSpPr>
            <p:cNvPr id="109" name="Rectangle: Rounded Corners 219">
              <a:extLst>
                <a:ext uri="{FF2B5EF4-FFF2-40B4-BE49-F238E27FC236}">
                  <a16:creationId xmlns:a16="http://schemas.microsoft.com/office/drawing/2014/main" id="{9877120B-B44B-9442-9248-A7111F3AE89B}"/>
                </a:ext>
              </a:extLst>
            </p:cNvPr>
            <p:cNvSpPr/>
            <p:nvPr/>
          </p:nvSpPr>
          <p:spPr>
            <a:xfrm>
              <a:off x="1196762" y="2504752"/>
              <a:ext cx="603887" cy="299936"/>
            </a:xfrm>
            <a:prstGeom prst="roundRect">
              <a:avLst>
                <a:gd name="adj" fmla="val 50000"/>
              </a:avLst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48000" bIns="0" rtlCol="0" anchor="ctr" anchorCtr="0"/>
            <a:lstStyle/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i="0" u="none" strike="noStrike" kern="1200" cap="none" spc="0" normalizeH="0" baseline="0" noProof="0">
                  <a:ln>
                    <a:noFill/>
                  </a:ln>
                  <a:solidFill>
                    <a:srgbClr val="00BCEB"/>
                  </a:solidFill>
                  <a:effectLst/>
                  <a:uLnTx/>
                  <a:uFillTx/>
                  <a:latin typeface="CiscoSansTT ExtraLight"/>
                  <a:ea typeface="+mn-ea"/>
                  <a:cs typeface="+mn-cs"/>
                </a:rPr>
                <a:t>x1</a:t>
              </a:r>
            </a:p>
          </p:txBody>
        </p:sp>
        <p:pic>
          <p:nvPicPr>
            <p:cNvPr id="113" name="Graphic 112">
              <a:extLst>
                <a:ext uri="{FF2B5EF4-FFF2-40B4-BE49-F238E27FC236}">
                  <a16:creationId xmlns:a16="http://schemas.microsoft.com/office/drawing/2014/main" id="{C08B3986-BCC5-B047-84EE-BE19800BDCE0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1197767" y="2142881"/>
              <a:ext cx="290463" cy="289608"/>
            </a:xfrm>
            <a:prstGeom prst="rect">
              <a:avLst/>
            </a:prstGeom>
          </p:spPr>
        </p:pic>
        <p:pic>
          <p:nvPicPr>
            <p:cNvPr id="118" name="Graphic 117">
              <a:extLst>
                <a:ext uri="{FF2B5EF4-FFF2-40B4-BE49-F238E27FC236}">
                  <a16:creationId xmlns:a16="http://schemas.microsoft.com/office/drawing/2014/main" id="{690A7892-1430-584E-9F33-8EA430CDAF27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1845262" y="2143096"/>
              <a:ext cx="289612" cy="289608"/>
            </a:xfrm>
            <a:prstGeom prst="rect">
              <a:avLst/>
            </a:prstGeom>
          </p:spPr>
        </p:pic>
        <p:pic>
          <p:nvPicPr>
            <p:cNvPr id="119" name="Graphic 118">
              <a:extLst>
                <a:ext uri="{FF2B5EF4-FFF2-40B4-BE49-F238E27FC236}">
                  <a16:creationId xmlns:a16="http://schemas.microsoft.com/office/drawing/2014/main" id="{3B194849-B97B-BC4B-B2D4-EB79B4E99E9B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1200429" y="2510164"/>
              <a:ext cx="289612" cy="289608"/>
            </a:xfrm>
            <a:prstGeom prst="rect">
              <a:avLst/>
            </a:prstGeom>
          </p:spPr>
        </p:pic>
        <p:pic>
          <p:nvPicPr>
            <p:cNvPr id="120" name="Graphic 119">
              <a:extLst>
                <a:ext uri="{FF2B5EF4-FFF2-40B4-BE49-F238E27FC236}">
                  <a16:creationId xmlns:a16="http://schemas.microsoft.com/office/drawing/2014/main" id="{946DE52C-A68F-B042-B5B6-F09ADECB619C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1846310" y="2512335"/>
              <a:ext cx="289612" cy="289608"/>
            </a:xfrm>
            <a:prstGeom prst="rect">
              <a:avLst/>
            </a:prstGeom>
          </p:spPr>
        </p:pic>
      </p:grpSp>
      <p:grpSp>
        <p:nvGrpSpPr>
          <p:cNvPr id="121" name="Group 120">
            <a:extLst>
              <a:ext uri="{FF2B5EF4-FFF2-40B4-BE49-F238E27FC236}">
                <a16:creationId xmlns:a16="http://schemas.microsoft.com/office/drawing/2014/main" id="{864AA6FA-E0EE-4A44-A693-1EB2C468CBC1}"/>
              </a:ext>
            </a:extLst>
          </p:cNvPr>
          <p:cNvGrpSpPr/>
          <p:nvPr/>
        </p:nvGrpSpPr>
        <p:grpSpPr>
          <a:xfrm>
            <a:off x="4085000" y="3384293"/>
            <a:ext cx="1225077" cy="669389"/>
            <a:chOff x="4102839" y="2663895"/>
            <a:chExt cx="1225077" cy="669389"/>
          </a:xfrm>
        </p:grpSpPr>
        <p:sp>
          <p:nvSpPr>
            <p:cNvPr id="122" name="Rectangle: Rounded Corners 261">
              <a:extLst>
                <a:ext uri="{FF2B5EF4-FFF2-40B4-BE49-F238E27FC236}">
                  <a16:creationId xmlns:a16="http://schemas.microsoft.com/office/drawing/2014/main" id="{E2FA7656-0468-D545-BA4E-35FDEAE4CEB7}"/>
                </a:ext>
              </a:extLst>
            </p:cNvPr>
            <p:cNvSpPr/>
            <p:nvPr/>
          </p:nvSpPr>
          <p:spPr>
            <a:xfrm>
              <a:off x="4723526" y="3033348"/>
              <a:ext cx="603887" cy="299936"/>
            </a:xfrm>
            <a:prstGeom prst="roundRect">
              <a:avLst>
                <a:gd name="adj" fmla="val 50000"/>
              </a:avLst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48000" bIns="0" rtlCol="0" anchor="ctr" anchorCtr="0"/>
            <a:lstStyle/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i="0" u="none" strike="noStrike" kern="1200" cap="none" spc="0" normalizeH="0" baseline="0" noProof="0">
                <a:ln>
                  <a:noFill/>
                </a:ln>
                <a:solidFill>
                  <a:srgbClr val="2F446B"/>
                </a:solidFill>
                <a:effectLst/>
                <a:uLnTx/>
                <a:uFillTx/>
                <a:latin typeface="CiscoSansTT ExtraLight"/>
                <a:ea typeface="+mn-ea"/>
                <a:cs typeface="+mn-cs"/>
              </a:endParaRPr>
            </a:p>
          </p:txBody>
        </p:sp>
        <p:sp>
          <p:nvSpPr>
            <p:cNvPr id="123" name="Rectangle: Rounded Corners 263">
              <a:extLst>
                <a:ext uri="{FF2B5EF4-FFF2-40B4-BE49-F238E27FC236}">
                  <a16:creationId xmlns:a16="http://schemas.microsoft.com/office/drawing/2014/main" id="{8DEFE805-F39D-1144-AEE3-9C175DC8C68D}"/>
                </a:ext>
              </a:extLst>
            </p:cNvPr>
            <p:cNvSpPr/>
            <p:nvPr/>
          </p:nvSpPr>
          <p:spPr>
            <a:xfrm>
              <a:off x="4103845" y="2663895"/>
              <a:ext cx="603887" cy="299936"/>
            </a:xfrm>
            <a:prstGeom prst="roundRect">
              <a:avLst>
                <a:gd name="adj" fmla="val 50000"/>
              </a:avLst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48000" bIns="0" rtlCol="0" anchor="ctr" anchorCtr="0"/>
            <a:lstStyle/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i="0" u="none" strike="noStrike" kern="1200" cap="none" spc="0" normalizeH="0" baseline="0" noProof="0">
                  <a:ln>
                    <a:noFill/>
                  </a:ln>
                  <a:solidFill>
                    <a:srgbClr val="2F446B"/>
                  </a:solidFill>
                  <a:effectLst/>
                  <a:uLnTx/>
                  <a:uFillTx/>
                  <a:latin typeface="CiscoSansTT ExtraLight"/>
                  <a:ea typeface="+mn-ea"/>
                  <a:cs typeface="+mn-cs"/>
                </a:rPr>
                <a:t>x5</a:t>
              </a:r>
            </a:p>
          </p:txBody>
        </p:sp>
        <p:sp>
          <p:nvSpPr>
            <p:cNvPr id="124" name="Rectangle: Rounded Corners 264">
              <a:extLst>
                <a:ext uri="{FF2B5EF4-FFF2-40B4-BE49-F238E27FC236}">
                  <a16:creationId xmlns:a16="http://schemas.microsoft.com/office/drawing/2014/main" id="{2431845C-C1C8-1943-B25F-A9A8FF6EC4DE}"/>
                </a:ext>
              </a:extLst>
            </p:cNvPr>
            <p:cNvSpPr/>
            <p:nvPr/>
          </p:nvSpPr>
          <p:spPr>
            <a:xfrm>
              <a:off x="4724029" y="2663895"/>
              <a:ext cx="603887" cy="299936"/>
            </a:xfrm>
            <a:prstGeom prst="roundRect">
              <a:avLst>
                <a:gd name="adj" fmla="val 50000"/>
              </a:avLst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48000" bIns="0" rtlCol="0" anchor="ctr" anchorCtr="0"/>
            <a:lstStyle/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i="0" u="none" strike="noStrike" kern="1200" cap="none" spc="0" normalizeH="0" baseline="0" noProof="0">
                  <a:ln>
                    <a:noFill/>
                  </a:ln>
                  <a:solidFill>
                    <a:srgbClr val="2F446B"/>
                  </a:solidFill>
                  <a:effectLst/>
                  <a:uLnTx/>
                  <a:uFillTx/>
                  <a:latin typeface="CiscoSansTT ExtraLight"/>
                  <a:ea typeface="+mn-ea"/>
                  <a:cs typeface="+mn-cs"/>
                </a:rPr>
                <a:t>x1</a:t>
              </a:r>
            </a:p>
          </p:txBody>
        </p:sp>
        <p:sp>
          <p:nvSpPr>
            <p:cNvPr id="125" name="Rectangle: Rounded Corners 266">
              <a:extLst>
                <a:ext uri="{FF2B5EF4-FFF2-40B4-BE49-F238E27FC236}">
                  <a16:creationId xmlns:a16="http://schemas.microsoft.com/office/drawing/2014/main" id="{8C3BA618-891A-3F4D-A660-D06627D22652}"/>
                </a:ext>
              </a:extLst>
            </p:cNvPr>
            <p:cNvSpPr/>
            <p:nvPr/>
          </p:nvSpPr>
          <p:spPr>
            <a:xfrm>
              <a:off x="4102839" y="3025765"/>
              <a:ext cx="603887" cy="299936"/>
            </a:xfrm>
            <a:prstGeom prst="roundRect">
              <a:avLst>
                <a:gd name="adj" fmla="val 50000"/>
              </a:avLst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48000" bIns="0" rtlCol="0" anchor="ctr" anchorCtr="0"/>
            <a:lstStyle/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i="0" u="none" strike="noStrike" kern="1200" cap="none" spc="0" normalizeH="0" baseline="0" noProof="0">
                  <a:ln>
                    <a:noFill/>
                  </a:ln>
                  <a:solidFill>
                    <a:srgbClr val="2F446B"/>
                  </a:solidFill>
                  <a:effectLst/>
                  <a:uLnTx/>
                  <a:uFillTx/>
                  <a:latin typeface="CiscoSansTT ExtraLight"/>
                  <a:ea typeface="+mn-ea"/>
                  <a:cs typeface="+mn-cs"/>
                </a:rPr>
                <a:t>x5</a:t>
              </a:r>
            </a:p>
          </p:txBody>
        </p:sp>
        <p:pic>
          <p:nvPicPr>
            <p:cNvPr id="126" name="Graphic 125">
              <a:extLst>
                <a:ext uri="{FF2B5EF4-FFF2-40B4-BE49-F238E27FC236}">
                  <a16:creationId xmlns:a16="http://schemas.microsoft.com/office/drawing/2014/main" id="{D294D3BA-746F-5D4F-BBFB-AA77E8117271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4103845" y="2663895"/>
              <a:ext cx="290463" cy="289608"/>
            </a:xfrm>
            <a:prstGeom prst="rect">
              <a:avLst/>
            </a:prstGeom>
          </p:spPr>
        </p:pic>
        <p:pic>
          <p:nvPicPr>
            <p:cNvPr id="127" name="Graphic 126">
              <a:extLst>
                <a:ext uri="{FF2B5EF4-FFF2-40B4-BE49-F238E27FC236}">
                  <a16:creationId xmlns:a16="http://schemas.microsoft.com/office/drawing/2014/main" id="{357B1A35-A614-6841-AE5F-42B478FC97A5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4724454" y="2664109"/>
              <a:ext cx="289612" cy="289608"/>
            </a:xfrm>
            <a:prstGeom prst="rect">
              <a:avLst/>
            </a:prstGeom>
          </p:spPr>
        </p:pic>
        <p:pic>
          <p:nvPicPr>
            <p:cNvPr id="128" name="Graphic 127">
              <a:extLst>
                <a:ext uri="{FF2B5EF4-FFF2-40B4-BE49-F238E27FC236}">
                  <a16:creationId xmlns:a16="http://schemas.microsoft.com/office/drawing/2014/main" id="{DEBA1A21-5323-8B4D-956A-8AEA6419F825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4106506" y="3031177"/>
              <a:ext cx="289612" cy="289608"/>
            </a:xfrm>
            <a:prstGeom prst="rect">
              <a:avLst/>
            </a:prstGeom>
          </p:spPr>
        </p:pic>
      </p:grpSp>
      <p:grpSp>
        <p:nvGrpSpPr>
          <p:cNvPr id="130" name="Group 129">
            <a:extLst>
              <a:ext uri="{FF2B5EF4-FFF2-40B4-BE49-F238E27FC236}">
                <a16:creationId xmlns:a16="http://schemas.microsoft.com/office/drawing/2014/main" id="{7D8F9141-897D-1A4E-99B3-B6A2788B309B}"/>
              </a:ext>
            </a:extLst>
          </p:cNvPr>
          <p:cNvGrpSpPr/>
          <p:nvPr/>
        </p:nvGrpSpPr>
        <p:grpSpPr>
          <a:xfrm>
            <a:off x="6873113" y="3384293"/>
            <a:ext cx="1240443" cy="669389"/>
            <a:chOff x="6775771" y="3284984"/>
            <a:chExt cx="1240443" cy="669389"/>
          </a:xfrm>
        </p:grpSpPr>
        <p:sp>
          <p:nvSpPr>
            <p:cNvPr id="131" name="Rectangle: Rounded Corners 225">
              <a:extLst>
                <a:ext uri="{FF2B5EF4-FFF2-40B4-BE49-F238E27FC236}">
                  <a16:creationId xmlns:a16="http://schemas.microsoft.com/office/drawing/2014/main" id="{12FB2028-BBB4-5D4A-97FB-CA62A9E6C665}"/>
                </a:ext>
              </a:extLst>
            </p:cNvPr>
            <p:cNvSpPr/>
            <p:nvPr/>
          </p:nvSpPr>
          <p:spPr>
            <a:xfrm>
              <a:off x="7411825" y="3654437"/>
              <a:ext cx="603887" cy="299936"/>
            </a:xfrm>
            <a:prstGeom prst="roundRect">
              <a:avLst>
                <a:gd name="adj" fmla="val 50000"/>
              </a:avLst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48000" bIns="0" rtlCol="0" anchor="ctr" anchorCtr="0"/>
            <a:lstStyle/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i="0" u="none" strike="noStrike" kern="1200" cap="none" spc="0" normalizeH="0" baseline="0" noProof="0">
                  <a:ln>
                    <a:noFill/>
                  </a:ln>
                  <a:solidFill>
                    <a:srgbClr val="6EBE4A"/>
                  </a:solidFill>
                  <a:effectLst/>
                  <a:uLnTx/>
                  <a:uFillTx/>
                  <a:latin typeface="CiscoSansTT ExtraLight"/>
                  <a:ea typeface="+mn-ea"/>
                  <a:cs typeface="+mn-cs"/>
                </a:rPr>
                <a:t>x1</a:t>
              </a:r>
            </a:p>
          </p:txBody>
        </p:sp>
        <p:sp>
          <p:nvSpPr>
            <p:cNvPr id="132" name="Rectangle: Rounded Corners 227">
              <a:extLst>
                <a:ext uri="{FF2B5EF4-FFF2-40B4-BE49-F238E27FC236}">
                  <a16:creationId xmlns:a16="http://schemas.microsoft.com/office/drawing/2014/main" id="{89792A35-1CBF-604B-BC58-3A7D0CABF068}"/>
                </a:ext>
              </a:extLst>
            </p:cNvPr>
            <p:cNvSpPr/>
            <p:nvPr/>
          </p:nvSpPr>
          <p:spPr>
            <a:xfrm>
              <a:off x="6776777" y="3284984"/>
              <a:ext cx="603887" cy="299936"/>
            </a:xfrm>
            <a:prstGeom prst="roundRect">
              <a:avLst>
                <a:gd name="adj" fmla="val 50000"/>
              </a:avLst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48000" bIns="0" rtlCol="0" anchor="ctr" anchorCtr="0"/>
            <a:lstStyle/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i="0" u="none" strike="noStrike" kern="1200" cap="none" spc="0" normalizeH="0" baseline="0" noProof="0">
                  <a:ln>
                    <a:noFill/>
                  </a:ln>
                  <a:solidFill>
                    <a:srgbClr val="6EBE4A"/>
                  </a:solidFill>
                  <a:effectLst/>
                  <a:uLnTx/>
                  <a:uFillTx/>
                  <a:latin typeface="CiscoSansTT ExtraLight"/>
                  <a:ea typeface="+mn-ea"/>
                  <a:cs typeface="+mn-cs"/>
                </a:rPr>
                <a:t>x4</a:t>
              </a:r>
            </a:p>
          </p:txBody>
        </p:sp>
        <p:sp>
          <p:nvSpPr>
            <p:cNvPr id="133" name="Rectangle: Rounded Corners 228">
              <a:extLst>
                <a:ext uri="{FF2B5EF4-FFF2-40B4-BE49-F238E27FC236}">
                  <a16:creationId xmlns:a16="http://schemas.microsoft.com/office/drawing/2014/main" id="{0889E21C-AD17-E641-AA40-87B83B909854}"/>
                </a:ext>
              </a:extLst>
            </p:cNvPr>
            <p:cNvSpPr/>
            <p:nvPr/>
          </p:nvSpPr>
          <p:spPr>
            <a:xfrm>
              <a:off x="7412327" y="3284984"/>
              <a:ext cx="603887" cy="299936"/>
            </a:xfrm>
            <a:prstGeom prst="roundRect">
              <a:avLst>
                <a:gd name="adj" fmla="val 50000"/>
              </a:avLst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48000" bIns="0" rtlCol="0" anchor="ctr" anchorCtr="0"/>
            <a:lstStyle/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i="0" u="none" strike="noStrike" kern="1200" cap="none" spc="0" normalizeH="0" baseline="0" noProof="0">
                  <a:ln>
                    <a:noFill/>
                  </a:ln>
                  <a:solidFill>
                    <a:srgbClr val="6EBE4A"/>
                  </a:solidFill>
                  <a:effectLst/>
                  <a:uLnTx/>
                  <a:uFillTx/>
                  <a:latin typeface="CiscoSansTT ExtraLight"/>
                  <a:ea typeface="+mn-ea"/>
                  <a:cs typeface="+mn-cs"/>
                </a:rPr>
                <a:t>x1</a:t>
              </a:r>
            </a:p>
          </p:txBody>
        </p:sp>
        <p:sp>
          <p:nvSpPr>
            <p:cNvPr id="134" name="Rectangle: Rounded Corners 230">
              <a:extLst>
                <a:ext uri="{FF2B5EF4-FFF2-40B4-BE49-F238E27FC236}">
                  <a16:creationId xmlns:a16="http://schemas.microsoft.com/office/drawing/2014/main" id="{D39591FE-4221-174F-9CD7-88CF2D9DB5EE}"/>
                </a:ext>
              </a:extLst>
            </p:cNvPr>
            <p:cNvSpPr/>
            <p:nvPr/>
          </p:nvSpPr>
          <p:spPr>
            <a:xfrm>
              <a:off x="6775771" y="3646855"/>
              <a:ext cx="603887" cy="299936"/>
            </a:xfrm>
            <a:prstGeom prst="roundRect">
              <a:avLst>
                <a:gd name="adj" fmla="val 50000"/>
              </a:avLst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48000" bIns="0" rtlCol="0" anchor="ctr" anchorCtr="0"/>
            <a:lstStyle/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i="0" u="none" strike="noStrike" kern="1200" cap="none" spc="0" normalizeH="0" baseline="0" noProof="0">
                  <a:ln>
                    <a:noFill/>
                  </a:ln>
                  <a:solidFill>
                    <a:srgbClr val="6EBE4A"/>
                  </a:solidFill>
                  <a:effectLst/>
                  <a:uLnTx/>
                  <a:uFillTx/>
                  <a:latin typeface="CiscoSansTT ExtraLight"/>
                  <a:ea typeface="+mn-ea"/>
                  <a:cs typeface="+mn-cs"/>
                </a:rPr>
                <a:t>x6</a:t>
              </a:r>
            </a:p>
          </p:txBody>
        </p:sp>
        <p:pic>
          <p:nvPicPr>
            <p:cNvPr id="135" name="Graphic 134">
              <a:extLst>
                <a:ext uri="{FF2B5EF4-FFF2-40B4-BE49-F238E27FC236}">
                  <a16:creationId xmlns:a16="http://schemas.microsoft.com/office/drawing/2014/main" id="{C53A2EE1-9C8C-DF43-9F50-5CC172FCC210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6776777" y="3284984"/>
              <a:ext cx="290463" cy="289608"/>
            </a:xfrm>
            <a:prstGeom prst="rect">
              <a:avLst/>
            </a:prstGeom>
          </p:spPr>
        </p:pic>
        <p:pic>
          <p:nvPicPr>
            <p:cNvPr id="136" name="Graphic 135">
              <a:extLst>
                <a:ext uri="{FF2B5EF4-FFF2-40B4-BE49-F238E27FC236}">
                  <a16:creationId xmlns:a16="http://schemas.microsoft.com/office/drawing/2014/main" id="{38501D70-C61A-B143-A859-E4DCE9EFF66D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7412753" y="3285199"/>
              <a:ext cx="289612" cy="289608"/>
            </a:xfrm>
            <a:prstGeom prst="rect">
              <a:avLst/>
            </a:prstGeom>
          </p:spPr>
        </p:pic>
        <p:pic>
          <p:nvPicPr>
            <p:cNvPr id="137" name="Graphic 136">
              <a:extLst>
                <a:ext uri="{FF2B5EF4-FFF2-40B4-BE49-F238E27FC236}">
                  <a16:creationId xmlns:a16="http://schemas.microsoft.com/office/drawing/2014/main" id="{7BD1429F-7923-0F46-98AC-C2945A169780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6779438" y="3652267"/>
              <a:ext cx="289612" cy="289608"/>
            </a:xfrm>
            <a:prstGeom prst="rect">
              <a:avLst/>
            </a:prstGeom>
          </p:spPr>
        </p:pic>
        <p:pic>
          <p:nvPicPr>
            <p:cNvPr id="138" name="Graphic 137">
              <a:extLst>
                <a:ext uri="{FF2B5EF4-FFF2-40B4-BE49-F238E27FC236}">
                  <a16:creationId xmlns:a16="http://schemas.microsoft.com/office/drawing/2014/main" id="{AB08259F-2578-F742-812B-69721669A380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7413801" y="3654437"/>
              <a:ext cx="289612" cy="289608"/>
            </a:xfrm>
            <a:prstGeom prst="rect">
              <a:avLst/>
            </a:prstGeom>
          </p:spPr>
        </p:pic>
      </p:grpSp>
      <p:grpSp>
        <p:nvGrpSpPr>
          <p:cNvPr id="139" name="Group 138">
            <a:extLst>
              <a:ext uri="{FF2B5EF4-FFF2-40B4-BE49-F238E27FC236}">
                <a16:creationId xmlns:a16="http://schemas.microsoft.com/office/drawing/2014/main" id="{7B697597-2F78-9044-9DA8-6CBE5070A892}"/>
              </a:ext>
            </a:extLst>
          </p:cNvPr>
          <p:cNvGrpSpPr/>
          <p:nvPr/>
        </p:nvGrpSpPr>
        <p:grpSpPr>
          <a:xfrm>
            <a:off x="9668222" y="3384293"/>
            <a:ext cx="1241816" cy="669390"/>
            <a:chOff x="9685119" y="3094305"/>
            <a:chExt cx="1241816" cy="669390"/>
          </a:xfrm>
        </p:grpSpPr>
        <p:sp>
          <p:nvSpPr>
            <p:cNvPr id="140" name="Rectangle: Rounded Corners 237">
              <a:extLst>
                <a:ext uri="{FF2B5EF4-FFF2-40B4-BE49-F238E27FC236}">
                  <a16:creationId xmlns:a16="http://schemas.microsoft.com/office/drawing/2014/main" id="{69B622EA-93B3-8C4B-88AA-AFBCCABEFC75}"/>
                </a:ext>
              </a:extLst>
            </p:cNvPr>
            <p:cNvSpPr/>
            <p:nvPr/>
          </p:nvSpPr>
          <p:spPr>
            <a:xfrm>
              <a:off x="10322546" y="3463759"/>
              <a:ext cx="603887" cy="299936"/>
            </a:xfrm>
            <a:prstGeom prst="roundRect">
              <a:avLst>
                <a:gd name="adj" fmla="val 50000"/>
              </a:avLst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48000" bIns="0" rtlCol="0" anchor="ctr" anchorCtr="0"/>
            <a:lstStyle/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i="0" u="none" strike="noStrike" kern="1200" cap="none" spc="0" normalizeH="0" baseline="0" noProof="0">
                <a:ln>
                  <a:noFill/>
                </a:ln>
                <a:solidFill>
                  <a:srgbClr val="FBAB18"/>
                </a:solidFill>
                <a:effectLst/>
                <a:uLnTx/>
                <a:uFillTx/>
                <a:latin typeface="CiscoSansTT ExtraLight"/>
                <a:ea typeface="+mn-ea"/>
                <a:cs typeface="+mn-cs"/>
              </a:endParaRPr>
            </a:p>
          </p:txBody>
        </p:sp>
        <p:sp>
          <p:nvSpPr>
            <p:cNvPr id="141" name="Rectangle: Rounded Corners 239">
              <a:extLst>
                <a:ext uri="{FF2B5EF4-FFF2-40B4-BE49-F238E27FC236}">
                  <a16:creationId xmlns:a16="http://schemas.microsoft.com/office/drawing/2014/main" id="{9CC917F6-34A3-7645-B814-C58F6045A13B}"/>
                </a:ext>
              </a:extLst>
            </p:cNvPr>
            <p:cNvSpPr/>
            <p:nvPr/>
          </p:nvSpPr>
          <p:spPr>
            <a:xfrm>
              <a:off x="9686124" y="3094305"/>
              <a:ext cx="603887" cy="299936"/>
            </a:xfrm>
            <a:prstGeom prst="roundRect">
              <a:avLst>
                <a:gd name="adj" fmla="val 50000"/>
              </a:avLst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48000" bIns="0" rtlCol="0" anchor="ctr" anchorCtr="0"/>
            <a:lstStyle/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i="0" u="none" strike="noStrike" kern="1200" cap="none" spc="0" normalizeH="0" baseline="0" noProof="0">
                  <a:ln>
                    <a:noFill/>
                  </a:ln>
                  <a:solidFill>
                    <a:srgbClr val="FBAB18"/>
                  </a:solidFill>
                  <a:effectLst/>
                  <a:uLnTx/>
                  <a:uFillTx/>
                  <a:latin typeface="CiscoSansTT ExtraLight"/>
                  <a:ea typeface="+mn-ea"/>
                  <a:cs typeface="+mn-cs"/>
                </a:rPr>
                <a:t>x5</a:t>
              </a:r>
            </a:p>
          </p:txBody>
        </p:sp>
        <p:sp>
          <p:nvSpPr>
            <p:cNvPr id="142" name="Rectangle: Rounded Corners 240">
              <a:extLst>
                <a:ext uri="{FF2B5EF4-FFF2-40B4-BE49-F238E27FC236}">
                  <a16:creationId xmlns:a16="http://schemas.microsoft.com/office/drawing/2014/main" id="{D4D9F9E2-634B-B54C-AEF4-DCDDD3FC216E}"/>
                </a:ext>
              </a:extLst>
            </p:cNvPr>
            <p:cNvSpPr/>
            <p:nvPr/>
          </p:nvSpPr>
          <p:spPr>
            <a:xfrm>
              <a:off x="10323048" y="3094305"/>
              <a:ext cx="603887" cy="299936"/>
            </a:xfrm>
            <a:prstGeom prst="roundRect">
              <a:avLst>
                <a:gd name="adj" fmla="val 50000"/>
              </a:avLst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48000" bIns="0" rtlCol="0" anchor="ctr" anchorCtr="0"/>
            <a:lstStyle/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i="0" u="none" strike="noStrike" kern="1200" cap="none" spc="0" normalizeH="0" baseline="0" noProof="0">
                  <a:ln>
                    <a:noFill/>
                  </a:ln>
                  <a:solidFill>
                    <a:srgbClr val="FBAB18"/>
                  </a:solidFill>
                  <a:effectLst/>
                  <a:uLnTx/>
                  <a:uFillTx/>
                  <a:latin typeface="CiscoSansTT ExtraLight"/>
                  <a:ea typeface="+mn-ea"/>
                  <a:cs typeface="+mn-cs"/>
                </a:rPr>
                <a:t>x1</a:t>
              </a:r>
            </a:p>
          </p:txBody>
        </p:sp>
        <p:sp>
          <p:nvSpPr>
            <p:cNvPr id="143" name="Rectangle: Rounded Corners 242">
              <a:extLst>
                <a:ext uri="{FF2B5EF4-FFF2-40B4-BE49-F238E27FC236}">
                  <a16:creationId xmlns:a16="http://schemas.microsoft.com/office/drawing/2014/main" id="{2332F926-515C-BF4D-BD86-58254C8AD0BE}"/>
                </a:ext>
              </a:extLst>
            </p:cNvPr>
            <p:cNvSpPr/>
            <p:nvPr/>
          </p:nvSpPr>
          <p:spPr>
            <a:xfrm>
              <a:off x="9685119" y="3456176"/>
              <a:ext cx="603887" cy="299936"/>
            </a:xfrm>
            <a:prstGeom prst="roundRect">
              <a:avLst>
                <a:gd name="adj" fmla="val 50000"/>
              </a:avLst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48000" bIns="0" rtlCol="0" anchor="ctr" anchorCtr="0"/>
            <a:lstStyle/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i="0" u="none" strike="noStrike" kern="1200" cap="none" spc="0" normalizeH="0" baseline="0" noProof="0">
                  <a:ln>
                    <a:noFill/>
                  </a:ln>
                  <a:solidFill>
                    <a:srgbClr val="FBAB18"/>
                  </a:solidFill>
                  <a:effectLst/>
                  <a:uLnTx/>
                  <a:uFillTx/>
                  <a:latin typeface="CiscoSansTT ExtraLight"/>
                  <a:ea typeface="+mn-ea"/>
                  <a:cs typeface="+mn-cs"/>
                </a:rPr>
                <a:t>x2</a:t>
              </a:r>
            </a:p>
          </p:txBody>
        </p:sp>
        <p:pic>
          <p:nvPicPr>
            <p:cNvPr id="144" name="Graphic 143">
              <a:extLst>
                <a:ext uri="{FF2B5EF4-FFF2-40B4-BE49-F238E27FC236}">
                  <a16:creationId xmlns:a16="http://schemas.microsoft.com/office/drawing/2014/main" id="{8C31B0E9-D83F-C944-BFEB-912B0540B7AA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9686124" y="3094305"/>
              <a:ext cx="290463" cy="289608"/>
            </a:xfrm>
            <a:prstGeom prst="rect">
              <a:avLst/>
            </a:prstGeom>
          </p:spPr>
        </p:pic>
        <p:pic>
          <p:nvPicPr>
            <p:cNvPr id="145" name="Graphic 144">
              <a:extLst>
                <a:ext uri="{FF2B5EF4-FFF2-40B4-BE49-F238E27FC236}">
                  <a16:creationId xmlns:a16="http://schemas.microsoft.com/office/drawing/2014/main" id="{E702C01D-0AC5-DE4A-B4D8-C3A5119746AE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10323474" y="3094520"/>
              <a:ext cx="289612" cy="289608"/>
            </a:xfrm>
            <a:prstGeom prst="rect">
              <a:avLst/>
            </a:prstGeom>
          </p:spPr>
        </p:pic>
        <p:pic>
          <p:nvPicPr>
            <p:cNvPr id="146" name="Graphic 145">
              <a:extLst>
                <a:ext uri="{FF2B5EF4-FFF2-40B4-BE49-F238E27FC236}">
                  <a16:creationId xmlns:a16="http://schemas.microsoft.com/office/drawing/2014/main" id="{40D2C351-09D8-5C46-B94D-60350E1BFE4E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9688786" y="3461588"/>
              <a:ext cx="289612" cy="289608"/>
            </a:xfrm>
            <a:prstGeom prst="rect">
              <a:avLst/>
            </a:prstGeom>
          </p:spPr>
        </p:pic>
      </p:grp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0A9A15A4-76DA-4034-9FAD-A2CBFC59E6A5}"/>
              </a:ext>
            </a:extLst>
          </p:cNvPr>
          <p:cNvCxnSpPr>
            <a:cxnSpLocks/>
          </p:cNvCxnSpPr>
          <p:nvPr/>
        </p:nvCxnSpPr>
        <p:spPr>
          <a:xfrm>
            <a:off x="558942" y="4347949"/>
            <a:ext cx="2685600" cy="0"/>
          </a:xfrm>
          <a:prstGeom prst="line">
            <a:avLst/>
          </a:prstGeom>
          <a:ln w="19050" cap="rnd">
            <a:solidFill>
              <a:schemeClr val="accent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8" name="Straight Connector 77">
            <a:extLst>
              <a:ext uri="{FF2B5EF4-FFF2-40B4-BE49-F238E27FC236}">
                <a16:creationId xmlns:a16="http://schemas.microsoft.com/office/drawing/2014/main" id="{220A127C-1FF9-4D13-94F3-3C286E9A1F1A}"/>
              </a:ext>
            </a:extLst>
          </p:cNvPr>
          <p:cNvCxnSpPr>
            <a:cxnSpLocks/>
          </p:cNvCxnSpPr>
          <p:nvPr/>
        </p:nvCxnSpPr>
        <p:spPr>
          <a:xfrm>
            <a:off x="3354738" y="4347949"/>
            <a:ext cx="2685600" cy="0"/>
          </a:xfrm>
          <a:prstGeom prst="line">
            <a:avLst/>
          </a:prstGeom>
          <a:ln w="19050" cap="rnd">
            <a:solidFill>
              <a:schemeClr val="bg2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3" name="Straight Connector 92">
            <a:extLst>
              <a:ext uri="{FF2B5EF4-FFF2-40B4-BE49-F238E27FC236}">
                <a16:creationId xmlns:a16="http://schemas.microsoft.com/office/drawing/2014/main" id="{28F93F4D-9968-49E0-B7B5-CBB0FCB2098F}"/>
              </a:ext>
            </a:extLst>
          </p:cNvPr>
          <p:cNvCxnSpPr>
            <a:cxnSpLocks/>
          </p:cNvCxnSpPr>
          <p:nvPr/>
        </p:nvCxnSpPr>
        <p:spPr>
          <a:xfrm>
            <a:off x="6150534" y="4347949"/>
            <a:ext cx="2685600" cy="0"/>
          </a:xfrm>
          <a:prstGeom prst="line">
            <a:avLst/>
          </a:prstGeom>
          <a:ln w="19050" cap="rnd">
            <a:solidFill>
              <a:schemeClr val="accent2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" name="Straight Connector 102">
            <a:extLst>
              <a:ext uri="{FF2B5EF4-FFF2-40B4-BE49-F238E27FC236}">
                <a16:creationId xmlns:a16="http://schemas.microsoft.com/office/drawing/2014/main" id="{151CB139-E4A4-46E5-8683-AD3CD74948D2}"/>
              </a:ext>
            </a:extLst>
          </p:cNvPr>
          <p:cNvCxnSpPr>
            <a:cxnSpLocks/>
          </p:cNvCxnSpPr>
          <p:nvPr/>
        </p:nvCxnSpPr>
        <p:spPr>
          <a:xfrm>
            <a:off x="8946330" y="4347949"/>
            <a:ext cx="2685600" cy="0"/>
          </a:xfrm>
          <a:prstGeom prst="line">
            <a:avLst/>
          </a:prstGeom>
          <a:ln w="19050" cap="rnd">
            <a:solidFill>
              <a:schemeClr val="accent5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74273726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oogle Shape;3763;p588">
            <a:extLst>
              <a:ext uri="{FF2B5EF4-FFF2-40B4-BE49-F238E27FC236}">
                <a16:creationId xmlns:a16="http://schemas.microsoft.com/office/drawing/2014/main" id="{5610CA94-64A2-4F72-948E-D22B584DD9F5}"/>
              </a:ext>
            </a:extLst>
          </p:cNvPr>
          <p:cNvPicPr preferRelativeResize="0"/>
          <p:nvPr/>
        </p:nvPicPr>
        <p:blipFill rotWithShape="1">
          <a:blip r:embed="rId3" cstate="print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984291"/>
            <a:ext cx="488199" cy="976397"/>
          </a:xfrm>
          <a:prstGeom prst="rect">
            <a:avLst/>
          </a:prstGeom>
          <a:noFill/>
          <a:ln>
            <a:noFill/>
          </a:ln>
        </p:spPr>
      </p:pic>
      <p:pic>
        <p:nvPicPr>
          <p:cNvPr id="23" name="Picture 22">
            <a:extLst>
              <a:ext uri="{FF2B5EF4-FFF2-40B4-BE49-F238E27FC236}">
                <a16:creationId xmlns:a16="http://schemas.microsoft.com/office/drawing/2014/main" id="{47BA1A78-A082-472A-A9E7-B20A4C928197}"/>
              </a:ext>
            </a:extLst>
          </p:cNvPr>
          <p:cNvPicPr preferRelativeResize="0"/>
          <p:nvPr/>
        </p:nvPicPr>
        <p:blipFill rotWithShape="1">
          <a:blip r:embed="rId4" cstate="print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582614"/>
            <a:ext cx="4403152" cy="1936750"/>
          </a:xfrm>
          <a:custGeom>
            <a:avLst/>
            <a:gdLst>
              <a:gd name="connsiteX0" fmla="*/ 0 w 4403152"/>
              <a:gd name="connsiteY0" fmla="*/ 0 h 1936750"/>
              <a:gd name="connsiteX1" fmla="*/ 3434777 w 4403152"/>
              <a:gd name="connsiteY1" fmla="*/ 0 h 1936750"/>
              <a:gd name="connsiteX2" fmla="*/ 4403152 w 4403152"/>
              <a:gd name="connsiteY2" fmla="*/ 968375 h 1936750"/>
              <a:gd name="connsiteX3" fmla="*/ 3434777 w 4403152"/>
              <a:gd name="connsiteY3" fmla="*/ 1936750 h 1936750"/>
              <a:gd name="connsiteX4" fmla="*/ 0 w 4403152"/>
              <a:gd name="connsiteY4" fmla="*/ 1936750 h 19367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403152" h="1936750">
                <a:moveTo>
                  <a:pt x="0" y="0"/>
                </a:moveTo>
                <a:lnTo>
                  <a:pt x="3434777" y="0"/>
                </a:lnTo>
                <a:cubicBezTo>
                  <a:pt x="3969596" y="0"/>
                  <a:pt x="4403152" y="433556"/>
                  <a:pt x="4403152" y="968375"/>
                </a:cubicBezTo>
                <a:cubicBezTo>
                  <a:pt x="4403152" y="1503194"/>
                  <a:pt x="3969596" y="1936750"/>
                  <a:pt x="3434777" y="1936750"/>
                </a:cubicBezTo>
                <a:lnTo>
                  <a:pt x="0" y="1936750"/>
                </a:lnTo>
                <a:close/>
              </a:path>
            </a:pathLst>
          </a:custGeom>
          <a:noFill/>
          <a:ln>
            <a:noFill/>
          </a:ln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597B4033-D03B-2C49-9A5C-8154CDA877A7}"/>
              </a:ext>
            </a:extLst>
          </p:cNvPr>
          <p:cNvSpPr txBox="1"/>
          <p:nvPr/>
        </p:nvSpPr>
        <p:spPr>
          <a:xfrm>
            <a:off x="13389717" y="3691524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0" marR="0" lvl="0" indent="0" algn="l" defTabSz="609555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ts val="1600"/>
              </a:spcAft>
              <a:buClrTx/>
              <a:buSzTx/>
              <a:buFont typeface="Arial"/>
              <a:buNone/>
              <a:tabLst/>
              <a:defRPr/>
            </a:pPr>
            <a:endParaRPr kumimoji="0" lang="en-US" sz="1467" b="0" i="0" u="none" strike="noStrike" kern="1200" cap="none" spc="0" normalizeH="0" baseline="0" noProof="0">
              <a:ln>
                <a:noFill/>
              </a:ln>
              <a:solidFill>
                <a:srgbClr val="2F446B"/>
              </a:solidFill>
              <a:effectLst/>
              <a:uLnTx/>
              <a:uFillTx/>
              <a:latin typeface="CiscoSansTT ExtraLight"/>
              <a:ea typeface="ＭＳ Ｐゴシック" charset="0"/>
              <a:cs typeface="Arial"/>
              <a:sym typeface="Arial"/>
            </a:endParaRP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B3A36A1B-88ED-F149-9C4C-5CA05A35075D}"/>
              </a:ext>
            </a:extLst>
          </p:cNvPr>
          <p:cNvSpPr txBox="1"/>
          <p:nvPr/>
        </p:nvSpPr>
        <p:spPr>
          <a:xfrm>
            <a:off x="13571095" y="4786859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0" marR="0" lvl="0" indent="0" algn="l" defTabSz="609555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ts val="1600"/>
              </a:spcAft>
              <a:buClrTx/>
              <a:buSzTx/>
              <a:buFont typeface="Arial"/>
              <a:buNone/>
              <a:tabLst/>
              <a:defRPr/>
            </a:pPr>
            <a:endParaRPr kumimoji="0" lang="en-US" sz="1467" b="0" i="0" u="none" strike="noStrike" kern="1200" cap="none" spc="0" normalizeH="0" baseline="0" noProof="0">
              <a:ln>
                <a:noFill/>
              </a:ln>
              <a:solidFill>
                <a:srgbClr val="2F446B"/>
              </a:solidFill>
              <a:effectLst/>
              <a:uLnTx/>
              <a:uFillTx/>
              <a:latin typeface="CiscoSansTT ExtraLight"/>
              <a:ea typeface="ＭＳ Ｐゴシック" charset="0"/>
              <a:cs typeface="Arial"/>
              <a:sym typeface="Arial"/>
            </a:endParaRPr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0AB14D67-DF36-A142-9988-112817B15A9F}"/>
              </a:ext>
            </a:extLst>
          </p:cNvPr>
          <p:cNvSpPr txBox="1"/>
          <p:nvPr/>
        </p:nvSpPr>
        <p:spPr>
          <a:xfrm>
            <a:off x="13311265" y="4886793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0" marR="0" lvl="0" indent="0" algn="l" defTabSz="609555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ts val="1600"/>
              </a:spcAft>
              <a:buClrTx/>
              <a:buSzTx/>
              <a:buFont typeface="Arial"/>
              <a:buNone/>
              <a:tabLst/>
              <a:defRPr/>
            </a:pPr>
            <a:endParaRPr kumimoji="0" lang="en-US" sz="1467" b="0" i="0" u="none" strike="noStrike" kern="1200" cap="none" spc="0" normalizeH="0" baseline="0" noProof="0">
              <a:ln>
                <a:noFill/>
              </a:ln>
              <a:solidFill>
                <a:srgbClr val="2F446B"/>
              </a:solidFill>
              <a:effectLst/>
              <a:uLnTx/>
              <a:uFillTx/>
              <a:latin typeface="CiscoSansTT ExtraLight"/>
              <a:ea typeface="ＭＳ Ｐゴシック" charset="0"/>
              <a:cs typeface="Arial"/>
              <a:sym typeface="Arial"/>
            </a:endParaRPr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745F6A79-C248-634D-91F5-7CF7DC83AF60}"/>
              </a:ext>
            </a:extLst>
          </p:cNvPr>
          <p:cNvSpPr txBox="1"/>
          <p:nvPr/>
        </p:nvSpPr>
        <p:spPr>
          <a:xfrm>
            <a:off x="15010151" y="3627620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0" marR="0" lvl="0" indent="0" algn="l" defTabSz="609555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ts val="1600"/>
              </a:spcAft>
              <a:buClrTx/>
              <a:buSzTx/>
              <a:buFont typeface="Arial"/>
              <a:buNone/>
              <a:tabLst/>
              <a:defRPr/>
            </a:pPr>
            <a:endParaRPr kumimoji="0" lang="en-US" sz="1467" b="0" i="0" u="none" strike="noStrike" kern="1200" cap="none" spc="0" normalizeH="0" baseline="0" noProof="0">
              <a:ln>
                <a:noFill/>
              </a:ln>
              <a:solidFill>
                <a:srgbClr val="2F446B"/>
              </a:solidFill>
              <a:effectLst/>
              <a:uLnTx/>
              <a:uFillTx/>
              <a:latin typeface="CiscoSansTT ExtraLight"/>
              <a:ea typeface="ＭＳ Ｐゴシック" charset="0"/>
              <a:cs typeface="Arial"/>
              <a:sym typeface="Arial"/>
            </a:endParaRP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A2301B03-8D68-4655-BF73-A8FCDB84DA0B}"/>
              </a:ext>
            </a:extLst>
          </p:cNvPr>
          <p:cNvGrpSpPr/>
          <p:nvPr/>
        </p:nvGrpSpPr>
        <p:grpSpPr>
          <a:xfrm>
            <a:off x="695399" y="3416300"/>
            <a:ext cx="10801202" cy="1473735"/>
            <a:chOff x="-485774" y="1612900"/>
            <a:chExt cx="10983885" cy="1473735"/>
          </a:xfrm>
        </p:grpSpPr>
        <p:grpSp>
          <p:nvGrpSpPr>
            <p:cNvPr id="2" name="Group 1">
              <a:extLst>
                <a:ext uri="{FF2B5EF4-FFF2-40B4-BE49-F238E27FC236}">
                  <a16:creationId xmlns:a16="http://schemas.microsoft.com/office/drawing/2014/main" id="{5522E8E5-B5B7-4D9C-8B58-BF84562E10E3}"/>
                </a:ext>
              </a:extLst>
            </p:cNvPr>
            <p:cNvGrpSpPr/>
            <p:nvPr/>
          </p:nvGrpSpPr>
          <p:grpSpPr>
            <a:xfrm>
              <a:off x="-485774" y="1612900"/>
              <a:ext cx="5297460" cy="1473735"/>
              <a:chOff x="5200651" y="1612900"/>
              <a:chExt cx="5297460" cy="1473735"/>
            </a:xfrm>
          </p:grpSpPr>
          <p:sp>
            <p:nvSpPr>
              <p:cNvPr id="9" name="Rounded Rectangle 30">
                <a:extLst>
                  <a:ext uri="{FF2B5EF4-FFF2-40B4-BE49-F238E27FC236}">
                    <a16:creationId xmlns:a16="http://schemas.microsoft.com/office/drawing/2014/main" id="{37B805AC-00FB-45FF-8396-58203A4111EA}"/>
                  </a:ext>
                </a:extLst>
              </p:cNvPr>
              <p:cNvSpPr/>
              <p:nvPr/>
            </p:nvSpPr>
            <p:spPr>
              <a:xfrm>
                <a:off x="5200651" y="1612900"/>
                <a:ext cx="5297460" cy="697976"/>
              </a:xfrm>
              <a:prstGeom prst="roundRect">
                <a:avLst>
                  <a:gd name="adj" fmla="val 50000"/>
                </a:avLst>
              </a:prstGeom>
              <a:solidFill>
                <a:schemeClr val="accent2"/>
              </a:solidFill>
              <a:ln w="127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37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lang="en-US" sz="1867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iscoSansTT ExtraLight"/>
                  <a:ea typeface="+mn-ea"/>
                  <a:cs typeface="+mn-cs"/>
                  <a:sym typeface="Arial"/>
                </a:endParaRPr>
              </a:p>
            </p:txBody>
          </p:sp>
          <p:sp>
            <p:nvSpPr>
              <p:cNvPr id="10" name="Rectangle 9">
                <a:extLst>
                  <a:ext uri="{FF2B5EF4-FFF2-40B4-BE49-F238E27FC236}">
                    <a16:creationId xmlns:a16="http://schemas.microsoft.com/office/drawing/2014/main" id="{509886CF-F5BE-4B46-95F2-68A6CD5EAD46}"/>
                  </a:ext>
                </a:extLst>
              </p:cNvPr>
              <p:cNvSpPr/>
              <p:nvPr/>
            </p:nvSpPr>
            <p:spPr>
              <a:xfrm>
                <a:off x="6537163" y="1700278"/>
                <a:ext cx="2624436" cy="523220"/>
              </a:xfrm>
              <a:prstGeom prst="rect">
                <a:avLst/>
              </a:prstGeom>
            </p:spPr>
            <p:txBody>
              <a:bodyPr wrap="none" anchor="ctr">
                <a:spAutoFit/>
              </a:bodyPr>
              <a:lstStyle/>
              <a:p>
                <a:pPr marL="0" marR="0" lvl="0" indent="0" algn="ctr" defTabSz="91437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r>
                  <a:rPr kumimoji="0" lang="en-US" sz="2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iscoSansTT ExtraLight" panose="020B0303020201020303" pitchFamily="34" charset="0"/>
                    <a:ea typeface="+mn-ea"/>
                    <a:cs typeface="CiscoSansTT ExtraLight" panose="020B0303020201020303" pitchFamily="34" charset="0"/>
                    <a:sym typeface="Arial"/>
                  </a:rPr>
                  <a:t>Advantage Tier</a:t>
                </a:r>
              </a:p>
            </p:txBody>
          </p:sp>
          <p:sp>
            <p:nvSpPr>
              <p:cNvPr id="11" name="Rectangle 10">
                <a:extLst>
                  <a:ext uri="{FF2B5EF4-FFF2-40B4-BE49-F238E27FC236}">
                    <a16:creationId xmlns:a16="http://schemas.microsoft.com/office/drawing/2014/main" id="{729E8285-A432-40BA-842A-607E6AC7740E}"/>
                  </a:ext>
                </a:extLst>
              </p:cNvPr>
              <p:cNvSpPr/>
              <p:nvPr/>
            </p:nvSpPr>
            <p:spPr>
              <a:xfrm>
                <a:off x="6054316" y="2414976"/>
                <a:ext cx="3590128" cy="671659"/>
              </a:xfrm>
              <a:prstGeom prst="rect">
                <a:avLst/>
              </a:prstGeom>
            </p:spPr>
            <p:txBody>
              <a:bodyPr wrap="square" anchor="t">
                <a:spAutoFit/>
              </a:bodyPr>
              <a:lstStyle/>
              <a:p>
                <a:pPr marL="0" marR="0" lvl="0" indent="0" algn="ctr" defTabSz="914377" rtl="0" eaLnBrk="1" fontAlgn="auto" latinLnBrk="0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r>
                  <a: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iscoSansTT ExtraLight" panose="020B0303020201020303" pitchFamily="34" charset="0"/>
                    <a:ea typeface="+mn-ea"/>
                    <a:cs typeface="CiscoSansTT ExtraLight" panose="020B0303020201020303" pitchFamily="34" charset="0"/>
                    <a:sym typeface="Arial"/>
                  </a:rPr>
                  <a:t>Accelerate technology adoption and transformation </a:t>
                </a:r>
              </a:p>
            </p:txBody>
          </p:sp>
        </p:grpSp>
        <p:grpSp>
          <p:nvGrpSpPr>
            <p:cNvPr id="3" name="Group 2">
              <a:extLst>
                <a:ext uri="{FF2B5EF4-FFF2-40B4-BE49-F238E27FC236}">
                  <a16:creationId xmlns:a16="http://schemas.microsoft.com/office/drawing/2014/main" id="{950B0AE2-8521-4C57-8CA3-E12C43B6EA35}"/>
                </a:ext>
              </a:extLst>
            </p:cNvPr>
            <p:cNvGrpSpPr/>
            <p:nvPr/>
          </p:nvGrpSpPr>
          <p:grpSpPr>
            <a:xfrm>
              <a:off x="5200651" y="1612900"/>
              <a:ext cx="5297460" cy="1473735"/>
              <a:chOff x="5200651" y="3416300"/>
              <a:chExt cx="5297460" cy="1473735"/>
            </a:xfrm>
          </p:grpSpPr>
          <p:sp>
            <p:nvSpPr>
              <p:cNvPr id="15" name="Rectangle 14">
                <a:extLst>
                  <a:ext uri="{FF2B5EF4-FFF2-40B4-BE49-F238E27FC236}">
                    <a16:creationId xmlns:a16="http://schemas.microsoft.com/office/drawing/2014/main" id="{CF8A1163-9FC5-4BC7-BB59-C00F58946610}"/>
                  </a:ext>
                </a:extLst>
              </p:cNvPr>
              <p:cNvSpPr/>
              <p:nvPr/>
            </p:nvSpPr>
            <p:spPr>
              <a:xfrm>
                <a:off x="5216345" y="4218376"/>
                <a:ext cx="5266073" cy="671659"/>
              </a:xfrm>
              <a:prstGeom prst="rect">
                <a:avLst/>
              </a:prstGeom>
            </p:spPr>
            <p:txBody>
              <a:bodyPr wrap="square" anchor="t">
                <a:spAutoFit/>
              </a:bodyPr>
              <a:lstStyle/>
              <a:p>
                <a:pPr marL="0" marR="0" lvl="0" indent="0" algn="ctr" defTabSz="914377" rtl="0" eaLnBrk="1" fontAlgn="auto" latinLnBrk="0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r>
                  <a: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iscoSansTT ExtraLight" panose="020B0303020201020303" pitchFamily="34" charset="0"/>
                    <a:ea typeface="+mn-ea"/>
                    <a:cs typeface="CiscoSansTT ExtraLight" panose="020B0303020201020303" pitchFamily="34" charset="0"/>
                    <a:sym typeface="Arial"/>
                  </a:rPr>
                  <a:t>Flexibility to address the changing priorities of your large multi-domain Cisco® solutions</a:t>
                </a:r>
              </a:p>
            </p:txBody>
          </p:sp>
          <p:sp>
            <p:nvSpPr>
              <p:cNvPr id="18" name="Rounded Rectangle 30">
                <a:extLst>
                  <a:ext uri="{FF2B5EF4-FFF2-40B4-BE49-F238E27FC236}">
                    <a16:creationId xmlns:a16="http://schemas.microsoft.com/office/drawing/2014/main" id="{CA474BA3-ECA0-4C55-AD51-B85414F93DCF}"/>
                  </a:ext>
                </a:extLst>
              </p:cNvPr>
              <p:cNvSpPr/>
              <p:nvPr/>
            </p:nvSpPr>
            <p:spPr>
              <a:xfrm>
                <a:off x="5200651" y="3416300"/>
                <a:ext cx="5297460" cy="697976"/>
              </a:xfrm>
              <a:prstGeom prst="roundRect">
                <a:avLst>
                  <a:gd name="adj" fmla="val 50000"/>
                </a:avLst>
              </a:prstGeom>
              <a:solidFill>
                <a:schemeClr val="accent5"/>
              </a:solidFill>
              <a:ln w="127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37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lang="en-US" sz="1867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iscoSansTT ExtraLight"/>
                  <a:ea typeface="+mn-ea"/>
                  <a:cs typeface="+mn-cs"/>
                  <a:sym typeface="Arial"/>
                </a:endParaRPr>
              </a:p>
            </p:txBody>
          </p:sp>
          <p:sp>
            <p:nvSpPr>
              <p:cNvPr id="20" name="Rectangle 19">
                <a:extLst>
                  <a:ext uri="{FF2B5EF4-FFF2-40B4-BE49-F238E27FC236}">
                    <a16:creationId xmlns:a16="http://schemas.microsoft.com/office/drawing/2014/main" id="{8DF54588-F992-4267-B8CB-CC926B9E94C3}"/>
                  </a:ext>
                </a:extLst>
              </p:cNvPr>
              <p:cNvSpPr/>
              <p:nvPr/>
            </p:nvSpPr>
            <p:spPr>
              <a:xfrm>
                <a:off x="6715096" y="3503678"/>
                <a:ext cx="2268570" cy="523220"/>
              </a:xfrm>
              <a:prstGeom prst="rect">
                <a:avLst/>
              </a:prstGeom>
            </p:spPr>
            <p:txBody>
              <a:bodyPr wrap="none" anchor="ctr">
                <a:spAutoFit/>
              </a:bodyPr>
              <a:lstStyle/>
              <a:p>
                <a:pPr marL="0" marR="0" lvl="0" indent="0" algn="ctr" defTabSz="91437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r>
                  <a:rPr kumimoji="0" lang="en-US" sz="2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iscoSansTT ExtraLight" panose="020B0303020201020303" pitchFamily="34" charset="0"/>
                    <a:ea typeface="+mn-ea"/>
                    <a:cs typeface="CiscoSansTT ExtraLight" panose="020B0303020201020303" pitchFamily="34" charset="0"/>
                    <a:sym typeface="Arial"/>
                  </a:rPr>
                  <a:t>Premier Tier </a:t>
                </a:r>
              </a:p>
            </p:txBody>
          </p:sp>
        </p:grpSp>
      </p:grpSp>
      <p:grpSp>
        <p:nvGrpSpPr>
          <p:cNvPr id="34" name="Group 33">
            <a:extLst>
              <a:ext uri="{FF2B5EF4-FFF2-40B4-BE49-F238E27FC236}">
                <a16:creationId xmlns:a16="http://schemas.microsoft.com/office/drawing/2014/main" id="{BD1EA520-DBCB-44FA-BE02-36F51A69F01E}"/>
              </a:ext>
            </a:extLst>
          </p:cNvPr>
          <p:cNvGrpSpPr/>
          <p:nvPr/>
        </p:nvGrpSpPr>
        <p:grpSpPr>
          <a:xfrm>
            <a:off x="4854453" y="1058608"/>
            <a:ext cx="152146" cy="984760"/>
            <a:chOff x="2301753" y="2617111"/>
            <a:chExt cx="152146" cy="984760"/>
          </a:xfrm>
          <a:solidFill>
            <a:schemeClr val="accent1"/>
          </a:solidFill>
        </p:grpSpPr>
        <p:sp>
          <p:nvSpPr>
            <p:cNvPr id="35" name="Rectangle: Rounded Corners 34">
              <a:extLst>
                <a:ext uri="{FF2B5EF4-FFF2-40B4-BE49-F238E27FC236}">
                  <a16:creationId xmlns:a16="http://schemas.microsoft.com/office/drawing/2014/main" id="{1902A581-B098-4F27-BBDF-7DEDAA8CC962}"/>
                </a:ext>
              </a:extLst>
            </p:cNvPr>
            <p:cNvSpPr/>
            <p:nvPr/>
          </p:nvSpPr>
          <p:spPr>
            <a:xfrm rot="2923883">
              <a:off x="2065230" y="2853634"/>
              <a:ext cx="625191" cy="152146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en-AU" sz="1100" b="0" i="0" u="none" strike="noStrike" kern="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iscoSansTT ExtraLight"/>
                <a:ea typeface="+mn-ea"/>
                <a:cs typeface="+mn-cs"/>
                <a:sym typeface="Arial"/>
              </a:endParaRPr>
            </a:p>
          </p:txBody>
        </p:sp>
        <p:sp>
          <p:nvSpPr>
            <p:cNvPr id="36" name="Rectangle: Rounded Corners 35">
              <a:extLst>
                <a:ext uri="{FF2B5EF4-FFF2-40B4-BE49-F238E27FC236}">
                  <a16:creationId xmlns:a16="http://schemas.microsoft.com/office/drawing/2014/main" id="{1755676E-48D0-464F-B564-5C00D1A54D80}"/>
                </a:ext>
              </a:extLst>
            </p:cNvPr>
            <p:cNvSpPr/>
            <p:nvPr/>
          </p:nvSpPr>
          <p:spPr>
            <a:xfrm rot="18676117" flipH="1">
              <a:off x="2065230" y="3213203"/>
              <a:ext cx="625191" cy="152146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en-AU" sz="1100" b="0" i="0" u="none" strike="noStrike" kern="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iscoSansTT ExtraLight"/>
                <a:ea typeface="+mn-ea"/>
                <a:cs typeface="+mn-cs"/>
                <a:sym typeface="Arial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859905362"/>
      </p:ext>
    </p:extLst>
  </p:cSld>
  <p:clrMapOvr>
    <a:masterClrMapping/>
  </p:clrMapOvr>
  <p:transition>
    <p:fade/>
  </p:transition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70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3">
            <a:extLst>
              <a:ext uri="{FF2B5EF4-FFF2-40B4-BE49-F238E27FC236}">
                <a16:creationId xmlns:a16="http://schemas.microsoft.com/office/drawing/2014/main" id="{580BFCC7-0F52-4C05-B2A5-E485A8DE1E3E}"/>
              </a:ext>
            </a:extLst>
          </p:cNvPr>
          <p:cNvGrpSpPr/>
          <p:nvPr/>
        </p:nvGrpSpPr>
        <p:grpSpPr>
          <a:xfrm>
            <a:off x="719137" y="2152059"/>
            <a:ext cx="10753725" cy="805464"/>
            <a:chOff x="719137" y="2337293"/>
            <a:chExt cx="10753725" cy="805464"/>
          </a:xfrm>
        </p:grpSpPr>
        <p:sp>
          <p:nvSpPr>
            <p:cNvPr id="3" name="Rounded Rectangle 30">
              <a:extLst>
                <a:ext uri="{FF2B5EF4-FFF2-40B4-BE49-F238E27FC236}">
                  <a16:creationId xmlns:a16="http://schemas.microsoft.com/office/drawing/2014/main" id="{A614B57D-95BD-400C-B158-ACC854F55901}"/>
                </a:ext>
              </a:extLst>
            </p:cNvPr>
            <p:cNvSpPr/>
            <p:nvPr/>
          </p:nvSpPr>
          <p:spPr>
            <a:xfrm>
              <a:off x="719137" y="2337293"/>
              <a:ext cx="10753725" cy="364140"/>
            </a:xfrm>
            <a:prstGeom prst="roundRect">
              <a:avLst>
                <a:gd name="adj" fmla="val 50000"/>
              </a:avLst>
            </a:prstGeom>
            <a:solidFill>
              <a:schemeClr val="accent2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en-US" sz="1867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iscoSansTT ExtraLight"/>
                <a:ea typeface="+mn-ea"/>
                <a:cs typeface="+mn-cs"/>
                <a:sym typeface="Arial"/>
              </a:endParaRPr>
            </a:p>
          </p:txBody>
        </p:sp>
        <p:sp>
          <p:nvSpPr>
            <p:cNvPr id="65" name="Rounded Rectangle 30">
              <a:extLst>
                <a:ext uri="{FF2B5EF4-FFF2-40B4-BE49-F238E27FC236}">
                  <a16:creationId xmlns:a16="http://schemas.microsoft.com/office/drawing/2014/main" id="{0646FD2F-8FDF-47A9-8B31-70C6D4E56FB7}"/>
                </a:ext>
              </a:extLst>
            </p:cNvPr>
            <p:cNvSpPr/>
            <p:nvPr/>
          </p:nvSpPr>
          <p:spPr>
            <a:xfrm>
              <a:off x="719137" y="2778617"/>
              <a:ext cx="10753725" cy="364140"/>
            </a:xfrm>
            <a:prstGeom prst="roundRect">
              <a:avLst>
                <a:gd name="adj" fmla="val 50000"/>
              </a:avLst>
            </a:prstGeom>
            <a:solidFill>
              <a:schemeClr val="accent5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en-US" sz="1867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iscoSansTT ExtraLight"/>
                <a:ea typeface="+mn-ea"/>
                <a:cs typeface="+mn-cs"/>
                <a:sym typeface="Arial"/>
              </a:endParaRPr>
            </a:p>
          </p:txBody>
        </p:sp>
      </p:grpSp>
      <p:sp>
        <p:nvSpPr>
          <p:cNvPr id="13" name="Title 12">
            <a:extLst>
              <a:ext uri="{FF2B5EF4-FFF2-40B4-BE49-F238E27FC236}">
                <a16:creationId xmlns:a16="http://schemas.microsoft.com/office/drawing/2014/main" id="{3192358C-9B2D-434A-B542-943B7698F53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Advantage and Premier Deliverables</a:t>
            </a:r>
            <a:br>
              <a:rPr lang="en-US"/>
            </a:br>
            <a:r>
              <a:rPr lang="en-US" sz="2400"/>
              <a:t>Value for key IT roles</a:t>
            </a:r>
            <a:br>
              <a:rPr lang="en-US" sz="2400">
                <a:solidFill>
                  <a:schemeClr val="accent4"/>
                </a:solidFill>
              </a:rPr>
            </a:br>
            <a:endParaRPr lang="en-US" sz="2400">
              <a:solidFill>
                <a:schemeClr val="accent4"/>
              </a:solidFill>
            </a:endParaRPr>
          </a:p>
        </p:txBody>
      </p:sp>
      <p:sp>
        <p:nvSpPr>
          <p:cNvPr id="87" name="Google Shape;1439;p198">
            <a:extLst>
              <a:ext uri="{FF2B5EF4-FFF2-40B4-BE49-F238E27FC236}">
                <a16:creationId xmlns:a16="http://schemas.microsoft.com/office/drawing/2014/main" id="{CD455964-0B15-48BC-B155-6A8B1ED7A92C}"/>
              </a:ext>
            </a:extLst>
          </p:cNvPr>
          <p:cNvSpPr txBox="1"/>
          <p:nvPr/>
        </p:nvSpPr>
        <p:spPr>
          <a:xfrm>
            <a:off x="4536957" y="3179600"/>
            <a:ext cx="1260942" cy="498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ctr" defTabSz="12191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14284A"/>
                </a:solidFill>
                <a:effectLst/>
                <a:uLnTx/>
                <a:uFillTx/>
                <a:latin typeface="CiscoSansTT ExtraLight" panose="020B0303020201020303" pitchFamily="34" charset="0"/>
                <a:ea typeface="ＭＳ Ｐゴシック" charset="0"/>
                <a:cs typeface="CiscoSansTT ExtraLight" panose="020B0303020201020303" pitchFamily="34" charset="0"/>
                <a:sym typeface="Arial"/>
              </a:rPr>
              <a:t>Expert Review Workshops</a:t>
            </a:r>
          </a:p>
        </p:txBody>
      </p:sp>
      <p:sp>
        <p:nvSpPr>
          <p:cNvPr id="88" name="TextBox 87">
            <a:extLst>
              <a:ext uri="{FF2B5EF4-FFF2-40B4-BE49-F238E27FC236}">
                <a16:creationId xmlns:a16="http://schemas.microsoft.com/office/drawing/2014/main" id="{A158922C-E8B4-4E5D-9CCE-DA7593592302}"/>
              </a:ext>
            </a:extLst>
          </p:cNvPr>
          <p:cNvSpPr txBox="1"/>
          <p:nvPr/>
        </p:nvSpPr>
        <p:spPr>
          <a:xfrm>
            <a:off x="4658970" y="4066612"/>
            <a:ext cx="2097429" cy="196481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171450" marR="0" lvl="0" indent="-171450" algn="l" defTabSz="609570" rtl="0" eaLnBrk="1" fontAlgn="base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14284A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14284A"/>
                </a:solidFill>
                <a:effectLst/>
                <a:uLnTx/>
                <a:uFillTx/>
                <a:latin typeface="CiscoSansTT ExtraLight"/>
                <a:ea typeface="ＭＳ Ｐゴシック" charset="0"/>
                <a:cs typeface="Arial"/>
                <a:sym typeface="Arial"/>
              </a:rPr>
              <a:t>Configuration </a:t>
            </a:r>
          </a:p>
          <a:p>
            <a:pPr marL="171450" marR="0" lvl="0" indent="-171450" algn="l" defTabSz="609570" rtl="0" eaLnBrk="1" fontAlgn="base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14284A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14284A"/>
                </a:solidFill>
                <a:effectLst/>
                <a:uLnTx/>
                <a:uFillTx/>
                <a:latin typeface="CiscoSansTT ExtraLight"/>
                <a:ea typeface="ＭＳ Ｐゴシック" charset="0"/>
                <a:cs typeface="Arial"/>
                <a:sym typeface="Arial"/>
              </a:rPr>
              <a:t>Implementation</a:t>
            </a:r>
          </a:p>
          <a:p>
            <a:pPr marL="171450" marR="0" lvl="0" indent="-171450" algn="l" defTabSz="609570" rtl="0" eaLnBrk="1" fontAlgn="base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14284A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14284A"/>
                </a:solidFill>
                <a:effectLst/>
                <a:uLnTx/>
                <a:uFillTx/>
                <a:latin typeface="CiscoSansTT ExtraLight"/>
                <a:ea typeface="ＭＳ Ｐゴシック" charset="0"/>
                <a:cs typeface="Arial"/>
                <a:sym typeface="Arial"/>
              </a:rPr>
              <a:t>Testing</a:t>
            </a:r>
          </a:p>
          <a:p>
            <a:pPr marL="171450" marR="0" lvl="0" indent="-171450" algn="l" defTabSz="609570" rtl="0" eaLnBrk="1" fontAlgn="base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14284A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14284A"/>
                </a:solidFill>
                <a:effectLst/>
                <a:uLnTx/>
                <a:uFillTx/>
                <a:latin typeface="CiscoSansTT ExtraLight"/>
                <a:ea typeface="ＭＳ Ｐゴシック" charset="0"/>
                <a:cs typeface="Arial"/>
                <a:sym typeface="Arial"/>
              </a:rPr>
              <a:t>Strategy</a:t>
            </a:r>
          </a:p>
          <a:p>
            <a:pPr marL="171450" marR="0" lvl="0" indent="-171450" algn="l" defTabSz="609570" rtl="0" eaLnBrk="1" fontAlgn="base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14284A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14284A"/>
                </a:solidFill>
                <a:effectLst/>
                <a:uLnTx/>
                <a:uFillTx/>
                <a:latin typeface="CiscoSansTT ExtraLight"/>
                <a:ea typeface="ＭＳ Ｐゴシック" charset="0"/>
                <a:cs typeface="Arial"/>
                <a:sym typeface="Arial"/>
              </a:rPr>
              <a:t>Architecture</a:t>
            </a:r>
          </a:p>
          <a:p>
            <a:pPr marL="171450" marR="0" lvl="0" indent="-171450" algn="l" defTabSz="609570" rtl="0" eaLnBrk="1" fontAlgn="base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14284A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14284A"/>
                </a:solidFill>
                <a:effectLst/>
                <a:uLnTx/>
                <a:uFillTx/>
                <a:latin typeface="CiscoSansTT ExtraLight"/>
                <a:ea typeface="ＭＳ Ｐゴシック" charset="0"/>
                <a:cs typeface="Arial"/>
                <a:sym typeface="Arial"/>
              </a:rPr>
              <a:t>Design</a:t>
            </a:r>
          </a:p>
          <a:p>
            <a:pPr marL="171450" marR="0" lvl="0" indent="-171450" algn="l" defTabSz="609570" rtl="0" eaLnBrk="1" fontAlgn="base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14284A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14284A"/>
                </a:solidFill>
                <a:effectLst/>
                <a:uLnTx/>
                <a:uFillTx/>
                <a:latin typeface="CiscoSansTT ExtraLight"/>
                <a:ea typeface="ＭＳ Ｐゴシック" charset="0"/>
                <a:cs typeface="Arial"/>
                <a:sym typeface="Arial"/>
              </a:rPr>
              <a:t>Resiliency</a:t>
            </a:r>
          </a:p>
          <a:p>
            <a:pPr marL="171450" marR="0" lvl="0" indent="-171450" algn="l" defTabSz="609570" rtl="0" eaLnBrk="1" fontAlgn="base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14284A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14284A"/>
                </a:solidFill>
                <a:effectLst/>
                <a:uLnTx/>
                <a:uFillTx/>
                <a:latin typeface="CiscoSansTT ExtraLight"/>
                <a:ea typeface="ＭＳ Ｐゴシック" charset="0"/>
                <a:cs typeface="Arial"/>
                <a:sym typeface="Arial"/>
              </a:rPr>
              <a:t>Audit</a:t>
            </a:r>
          </a:p>
          <a:p>
            <a:pPr marL="171450" marR="0" lvl="0" indent="-171450" algn="l" defTabSz="609570" rtl="0" eaLnBrk="1" fontAlgn="base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14284A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14284A"/>
              </a:solidFill>
              <a:effectLst/>
              <a:uLnTx/>
              <a:uFillTx/>
              <a:latin typeface="CiscoSansTT ExtraLight"/>
              <a:ea typeface="ＭＳ Ｐゴシック" charset="0"/>
              <a:cs typeface="Arial"/>
              <a:sym typeface="Arial"/>
            </a:endParaRPr>
          </a:p>
          <a:p>
            <a:pPr marL="171450" marR="0" lvl="0" indent="-171450" algn="l" defTabSz="609570" rtl="0" eaLnBrk="1" fontAlgn="base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14284A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14284A"/>
              </a:solidFill>
              <a:effectLst/>
              <a:uLnTx/>
              <a:uFillTx/>
              <a:latin typeface="CiscoSansTT ExtraLight"/>
              <a:ea typeface="ＭＳ Ｐゴシック" charset="0"/>
              <a:cs typeface="Arial"/>
              <a:sym typeface="Arial"/>
            </a:endParaRPr>
          </a:p>
          <a:p>
            <a:pPr marL="171450" marR="0" lvl="0" indent="-171450" algn="l" defTabSz="609570" rtl="0" eaLnBrk="1" fontAlgn="base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14284A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14284A"/>
              </a:solidFill>
              <a:effectLst/>
              <a:uLnTx/>
              <a:uFillTx/>
              <a:latin typeface="CiscoSansTT ExtraLight"/>
              <a:ea typeface="ＭＳ Ｐゴシック" charset="0"/>
              <a:cs typeface="Arial"/>
              <a:sym typeface="Arial"/>
            </a:endParaRPr>
          </a:p>
          <a:p>
            <a:pPr marL="171450" marR="0" lvl="0" indent="-171450" algn="l" defTabSz="609570" rtl="0" eaLnBrk="1" fontAlgn="base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14284A"/>
              </a:buClr>
              <a:buSzPts val="1200"/>
              <a:buFont typeface="Arial" panose="020B0604020202020204" pitchFamily="34" charset="0"/>
              <a:buChar char="•"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284A"/>
              </a:solidFill>
              <a:effectLst/>
              <a:uLnTx/>
              <a:uFillTx/>
              <a:latin typeface="CiscoSansTT ExtraLight"/>
              <a:ea typeface="ＭＳ Ｐゴシック" charset="0"/>
              <a:cs typeface="Arial"/>
              <a:sym typeface="Arial"/>
            </a:endParaRPr>
          </a:p>
        </p:txBody>
      </p:sp>
      <p:sp>
        <p:nvSpPr>
          <p:cNvPr id="89" name="Google Shape;1439;p198">
            <a:extLst>
              <a:ext uri="{FF2B5EF4-FFF2-40B4-BE49-F238E27FC236}">
                <a16:creationId xmlns:a16="http://schemas.microsoft.com/office/drawing/2014/main" id="{07A047D7-FDBC-4C8F-9821-64D3ED0136A4}"/>
              </a:ext>
            </a:extLst>
          </p:cNvPr>
          <p:cNvSpPr txBox="1"/>
          <p:nvPr/>
        </p:nvSpPr>
        <p:spPr>
          <a:xfrm>
            <a:off x="2640420" y="3179600"/>
            <a:ext cx="1339724" cy="498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ctr" defTabSz="12191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14284A"/>
                </a:solidFill>
                <a:effectLst/>
                <a:uLnTx/>
                <a:uFillTx/>
                <a:latin typeface="CiscoSansTT ExtraLight" panose="020B0303020201020303" pitchFamily="34" charset="0"/>
                <a:ea typeface="ＭＳ Ｐゴシック" charset="0"/>
                <a:cs typeface="CiscoSansTT ExtraLight" panose="020B0303020201020303" pitchFamily="34" charset="0"/>
                <a:sym typeface="Arial"/>
              </a:rPr>
              <a:t>Change Window Support</a:t>
            </a:r>
          </a:p>
        </p:txBody>
      </p:sp>
      <p:sp>
        <p:nvSpPr>
          <p:cNvPr id="90" name="Google Shape;1439;p198">
            <a:extLst>
              <a:ext uri="{FF2B5EF4-FFF2-40B4-BE49-F238E27FC236}">
                <a16:creationId xmlns:a16="http://schemas.microsoft.com/office/drawing/2014/main" id="{07747D96-46BF-4C54-863D-5BDF1CB07DEB}"/>
              </a:ext>
            </a:extLst>
          </p:cNvPr>
          <p:cNvSpPr txBox="1"/>
          <p:nvPr/>
        </p:nvSpPr>
        <p:spPr>
          <a:xfrm>
            <a:off x="585293" y="3179600"/>
            <a:ext cx="1735687" cy="498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ctr" defTabSz="12191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14284A"/>
                </a:solidFill>
                <a:effectLst/>
                <a:uLnTx/>
                <a:uFillTx/>
                <a:latin typeface="CiscoSansTT ExtraLight" panose="020B0303020201020303" pitchFamily="34" charset="0"/>
                <a:ea typeface="ＭＳ Ｐゴシック" charset="0"/>
                <a:cs typeface="CiscoSansTT ExtraLight" panose="020B0303020201020303" pitchFamily="34" charset="0"/>
                <a:sym typeface="Arial"/>
              </a:rPr>
              <a:t>Operational </a:t>
            </a:r>
            <a:b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14284A"/>
                </a:solidFill>
                <a:effectLst/>
                <a:uLnTx/>
                <a:uFillTx/>
                <a:latin typeface="CiscoSansTT ExtraLight" panose="020B0303020201020303" pitchFamily="34" charset="0"/>
                <a:ea typeface="ＭＳ Ｐゴシック" charset="0"/>
                <a:cs typeface="CiscoSansTT ExtraLight" panose="020B0303020201020303" pitchFamily="34" charset="0"/>
                <a:sym typeface="Arial"/>
              </a:rPr>
            </a:b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14284A"/>
                </a:solidFill>
                <a:effectLst/>
                <a:uLnTx/>
                <a:uFillTx/>
                <a:latin typeface="CiscoSansTT ExtraLight" panose="020B0303020201020303" pitchFamily="34" charset="0"/>
                <a:ea typeface="ＭＳ Ｐゴシック" charset="0"/>
                <a:cs typeface="CiscoSansTT ExtraLight" panose="020B0303020201020303" pitchFamily="34" charset="0"/>
                <a:sym typeface="Arial"/>
              </a:rPr>
              <a:t>Insights Review</a:t>
            </a:r>
          </a:p>
        </p:txBody>
      </p:sp>
      <p:sp>
        <p:nvSpPr>
          <p:cNvPr id="91" name="Google Shape;1439;p198">
            <a:extLst>
              <a:ext uri="{FF2B5EF4-FFF2-40B4-BE49-F238E27FC236}">
                <a16:creationId xmlns:a16="http://schemas.microsoft.com/office/drawing/2014/main" id="{F1390B02-5115-48E4-B489-EC8D63D5F3CC}"/>
              </a:ext>
            </a:extLst>
          </p:cNvPr>
          <p:cNvSpPr txBox="1"/>
          <p:nvPr/>
        </p:nvSpPr>
        <p:spPr>
          <a:xfrm>
            <a:off x="10203709" y="3179600"/>
            <a:ext cx="1070312" cy="498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ctr" defTabSz="12191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14284A"/>
                </a:solidFill>
                <a:effectLst/>
                <a:uLnTx/>
                <a:uFillTx/>
                <a:latin typeface="CiscoSansTT ExtraLight" panose="020B0303020201020303" pitchFamily="34" charset="0"/>
                <a:ea typeface="ＭＳ Ｐゴシック" charset="0"/>
                <a:cs typeface="CiscoSansTT ExtraLight" panose="020B0303020201020303" pitchFamily="34" charset="0"/>
                <a:sym typeface="Arial"/>
              </a:rPr>
              <a:t>Ask The </a:t>
            </a:r>
          </a:p>
          <a:p>
            <a:pPr marL="0" marR="0" lvl="0" indent="0" algn="ctr" defTabSz="12191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14284A"/>
                </a:solidFill>
                <a:effectLst/>
                <a:uLnTx/>
                <a:uFillTx/>
                <a:latin typeface="CiscoSansTT ExtraLight" panose="020B0303020201020303" pitchFamily="34" charset="0"/>
                <a:ea typeface="ＭＳ Ｐゴシック" charset="0"/>
                <a:cs typeface="CiscoSansTT ExtraLight" panose="020B0303020201020303" pitchFamily="34" charset="0"/>
                <a:sym typeface="Arial"/>
              </a:rPr>
              <a:t>Experts</a:t>
            </a:r>
          </a:p>
        </p:txBody>
      </p:sp>
      <p:sp>
        <p:nvSpPr>
          <p:cNvPr id="92" name="TextBox 91">
            <a:extLst>
              <a:ext uri="{FF2B5EF4-FFF2-40B4-BE49-F238E27FC236}">
                <a16:creationId xmlns:a16="http://schemas.microsoft.com/office/drawing/2014/main" id="{099F5C05-27CE-4BB2-A2F1-3E4AA45A2B7B}"/>
              </a:ext>
            </a:extLst>
          </p:cNvPr>
          <p:cNvSpPr txBox="1"/>
          <p:nvPr/>
        </p:nvSpPr>
        <p:spPr>
          <a:xfrm>
            <a:off x="734165" y="4066612"/>
            <a:ext cx="3183785" cy="196481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171450" marR="0" lvl="0" indent="-171450" algn="l" defTabSz="609570" rtl="0" eaLnBrk="1" fontAlgn="base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14284A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14284A"/>
                </a:solidFill>
                <a:effectLst/>
                <a:uLnTx/>
                <a:uFillTx/>
                <a:latin typeface="CiscoSansTT ExtraLight"/>
                <a:ea typeface="ＭＳ Ｐゴシック" charset="0"/>
                <a:cs typeface="Arial"/>
                <a:sym typeface="Arial"/>
              </a:rPr>
              <a:t>Better Software Management </a:t>
            </a:r>
          </a:p>
          <a:p>
            <a:pPr marL="171450" marR="0" lvl="0" indent="-171450" algn="l" defTabSz="609570" rtl="0" eaLnBrk="1" fontAlgn="base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14284A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14284A"/>
                </a:solidFill>
                <a:effectLst/>
                <a:uLnTx/>
                <a:uFillTx/>
                <a:latin typeface="CiscoSansTT ExtraLight"/>
                <a:ea typeface="ＭＳ Ｐゴシック" charset="0"/>
                <a:cs typeface="Arial"/>
                <a:sym typeface="Arial"/>
              </a:rPr>
              <a:t>Software Analysis and Release Standards </a:t>
            </a:r>
          </a:p>
          <a:p>
            <a:pPr marL="171450" marR="0" lvl="0" indent="-171450" algn="l" defTabSz="609570" rtl="0" eaLnBrk="1" fontAlgn="base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14284A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14284A"/>
                </a:solidFill>
                <a:effectLst/>
                <a:uLnTx/>
                <a:uFillTx/>
                <a:latin typeface="CiscoSansTT ExtraLight"/>
                <a:ea typeface="ＭＳ Ｐゴシック" charset="0"/>
                <a:cs typeface="Arial"/>
                <a:sym typeface="Arial"/>
              </a:rPr>
              <a:t>Configuration Best Practices</a:t>
            </a:r>
          </a:p>
          <a:p>
            <a:pPr marL="171450" marR="0" lvl="0" indent="-171450" algn="l" defTabSz="609570" rtl="0" eaLnBrk="1" fontAlgn="base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14284A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14284A"/>
                </a:solidFill>
                <a:effectLst/>
                <a:uLnTx/>
                <a:uFillTx/>
                <a:latin typeface="CiscoSansTT ExtraLight"/>
                <a:ea typeface="ＭＳ Ｐゴシック" charset="0"/>
                <a:cs typeface="Arial"/>
                <a:sym typeface="Arial"/>
              </a:rPr>
              <a:t>Field Notices</a:t>
            </a:r>
          </a:p>
          <a:p>
            <a:pPr marL="171450" marR="0" lvl="0" indent="-171450" algn="l" defTabSz="609570" rtl="0" eaLnBrk="1" fontAlgn="base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14284A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14284A"/>
                </a:solidFill>
                <a:effectLst/>
                <a:uLnTx/>
                <a:uFillTx/>
                <a:latin typeface="CiscoSansTT ExtraLight"/>
                <a:ea typeface="ＭＳ Ｐゴシック" charset="0"/>
                <a:cs typeface="Arial"/>
                <a:sym typeface="Arial"/>
              </a:rPr>
              <a:t>Hardware Lifecycle Milestones</a:t>
            </a:r>
          </a:p>
          <a:p>
            <a:pPr marL="171450" marR="0" lvl="0" indent="-171450" algn="l" defTabSz="609570" rtl="0" eaLnBrk="1" fontAlgn="base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14284A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14284A"/>
                </a:solidFill>
                <a:effectLst/>
                <a:uLnTx/>
                <a:uFillTx/>
                <a:latin typeface="CiscoSansTT ExtraLight"/>
                <a:ea typeface="ＭＳ Ｐゴシック" charset="0"/>
                <a:cs typeface="Arial"/>
                <a:sym typeface="Arial"/>
              </a:rPr>
              <a:t>Product Security Advisory Customer Impact</a:t>
            </a:r>
          </a:p>
          <a:p>
            <a:pPr marL="171450" marR="0" lvl="0" indent="-171450" algn="l" defTabSz="609570" rtl="0" eaLnBrk="1" fontAlgn="base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14284A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14284A"/>
                </a:solidFill>
                <a:effectLst/>
                <a:uLnTx/>
                <a:uFillTx/>
                <a:latin typeface="CiscoSansTT ExtraLight"/>
                <a:ea typeface="ＭＳ Ｐゴシック" charset="0"/>
                <a:cs typeface="Arial"/>
                <a:sym typeface="Arial"/>
              </a:rPr>
              <a:t>Syslog Analysis</a:t>
            </a:r>
          </a:p>
          <a:p>
            <a:pPr marL="171450" marR="0" lvl="0" indent="-171450" algn="l" defTabSz="609570" rtl="0" eaLnBrk="1" fontAlgn="base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14284A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14284A"/>
                </a:solidFill>
                <a:effectLst/>
                <a:uLnTx/>
                <a:uFillTx/>
                <a:latin typeface="CiscoSansTT ExtraLight"/>
                <a:ea typeface="ＭＳ Ｐゴシック" charset="0"/>
                <a:cs typeface="Arial"/>
                <a:sym typeface="Arial"/>
              </a:rPr>
              <a:t>Risk Mitigation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14284A"/>
              </a:solidFill>
              <a:effectLst/>
              <a:uLnTx/>
              <a:uFillTx/>
              <a:latin typeface="CiscoSansTT ExtraLight"/>
              <a:ea typeface="ＭＳ Ｐゴシック" charset="0"/>
              <a:cs typeface="Arial"/>
              <a:sym typeface="Arial"/>
            </a:endParaRPr>
          </a:p>
        </p:txBody>
      </p:sp>
      <p:sp>
        <p:nvSpPr>
          <p:cNvPr id="161" name="Google Shape;1439;p198">
            <a:extLst>
              <a:ext uri="{FF2B5EF4-FFF2-40B4-BE49-F238E27FC236}">
                <a16:creationId xmlns:a16="http://schemas.microsoft.com/office/drawing/2014/main" id="{46E11D75-EB2A-4DB9-A649-713B525A0FC6}"/>
              </a:ext>
            </a:extLst>
          </p:cNvPr>
          <p:cNvSpPr txBox="1"/>
          <p:nvPr/>
        </p:nvSpPr>
        <p:spPr>
          <a:xfrm>
            <a:off x="6394103" y="3179600"/>
            <a:ext cx="1260942" cy="498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ctr" defTabSz="12191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14284A"/>
                </a:solidFill>
                <a:effectLst/>
                <a:uLnTx/>
                <a:uFillTx/>
                <a:latin typeface="CiscoSansTT ExtraLight" panose="020B0303020201020303" pitchFamily="34" charset="0"/>
                <a:ea typeface="ＭＳ Ｐゴシック" charset="0"/>
                <a:cs typeface="CiscoSansTT ExtraLight" panose="020B0303020201020303" pitchFamily="34" charset="0"/>
                <a:sym typeface="Arial"/>
              </a:rPr>
              <a:t>Expert Incident Review</a:t>
            </a:r>
          </a:p>
        </p:txBody>
      </p:sp>
      <p:sp>
        <p:nvSpPr>
          <p:cNvPr id="163" name="Google Shape;1439;p198">
            <a:extLst>
              <a:ext uri="{FF2B5EF4-FFF2-40B4-BE49-F238E27FC236}">
                <a16:creationId xmlns:a16="http://schemas.microsoft.com/office/drawing/2014/main" id="{976D9C45-B138-4631-98D1-516FBCB43430}"/>
              </a:ext>
            </a:extLst>
          </p:cNvPr>
          <p:cNvSpPr txBox="1"/>
          <p:nvPr/>
        </p:nvSpPr>
        <p:spPr>
          <a:xfrm>
            <a:off x="8230971" y="3179600"/>
            <a:ext cx="1301498" cy="498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ctr" defTabSz="12191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14284A"/>
                </a:solidFill>
                <a:effectLst/>
                <a:uLnTx/>
                <a:uFillTx/>
                <a:latin typeface="CiscoSansTT ExtraLight" panose="020B0303020201020303" pitchFamily="34" charset="0"/>
                <a:ea typeface="ＭＳ Ｐゴシック" charset="0"/>
                <a:cs typeface="CiscoSansTT ExtraLight" panose="020B0303020201020303" pitchFamily="34" charset="0"/>
                <a:sym typeface="Arial"/>
              </a:rPr>
              <a:t>Accelerators</a:t>
            </a:r>
          </a:p>
        </p:txBody>
      </p:sp>
      <p:sp>
        <p:nvSpPr>
          <p:cNvPr id="55" name="Oval 54">
            <a:extLst>
              <a:ext uri="{FF2B5EF4-FFF2-40B4-BE49-F238E27FC236}">
                <a16:creationId xmlns:a16="http://schemas.microsoft.com/office/drawing/2014/main" id="{82D6E7A8-C336-4088-8113-E521ADCED84E}"/>
              </a:ext>
            </a:extLst>
          </p:cNvPr>
          <p:cNvSpPr/>
          <p:nvPr/>
        </p:nvSpPr>
        <p:spPr>
          <a:xfrm>
            <a:off x="4627428" y="2014791"/>
            <a:ext cx="1080000" cy="1080000"/>
          </a:xfrm>
          <a:prstGeom prst="ellipse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095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sp>
        <p:nvSpPr>
          <p:cNvPr id="56" name="Oval 55">
            <a:extLst>
              <a:ext uri="{FF2B5EF4-FFF2-40B4-BE49-F238E27FC236}">
                <a16:creationId xmlns:a16="http://schemas.microsoft.com/office/drawing/2014/main" id="{D9119A84-ABA5-4262-8764-577DDDFBAAA0}"/>
              </a:ext>
            </a:extLst>
          </p:cNvPr>
          <p:cNvSpPr/>
          <p:nvPr/>
        </p:nvSpPr>
        <p:spPr>
          <a:xfrm>
            <a:off x="2770282" y="2014791"/>
            <a:ext cx="1080000" cy="1080000"/>
          </a:xfrm>
          <a:prstGeom prst="ellipse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095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sp>
        <p:nvSpPr>
          <p:cNvPr id="58" name="Oval 57">
            <a:extLst>
              <a:ext uri="{FF2B5EF4-FFF2-40B4-BE49-F238E27FC236}">
                <a16:creationId xmlns:a16="http://schemas.microsoft.com/office/drawing/2014/main" id="{6D7EE8CC-9B0C-404C-997F-6602D5512187}"/>
              </a:ext>
            </a:extLst>
          </p:cNvPr>
          <p:cNvSpPr/>
          <p:nvPr/>
        </p:nvSpPr>
        <p:spPr>
          <a:xfrm>
            <a:off x="913136" y="2014791"/>
            <a:ext cx="1080000" cy="1080000"/>
          </a:xfrm>
          <a:prstGeom prst="ellipse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095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sp>
        <p:nvSpPr>
          <p:cNvPr id="60" name="Oval 59">
            <a:extLst>
              <a:ext uri="{FF2B5EF4-FFF2-40B4-BE49-F238E27FC236}">
                <a16:creationId xmlns:a16="http://schemas.microsoft.com/office/drawing/2014/main" id="{22A9E5DC-E2B2-4C98-B08B-8200C8C9A6A3}"/>
              </a:ext>
            </a:extLst>
          </p:cNvPr>
          <p:cNvSpPr/>
          <p:nvPr/>
        </p:nvSpPr>
        <p:spPr>
          <a:xfrm>
            <a:off x="10198865" y="2014791"/>
            <a:ext cx="1080000" cy="1080000"/>
          </a:xfrm>
          <a:prstGeom prst="ellipse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095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sp>
        <p:nvSpPr>
          <p:cNvPr id="61" name="Oval 60">
            <a:extLst>
              <a:ext uri="{FF2B5EF4-FFF2-40B4-BE49-F238E27FC236}">
                <a16:creationId xmlns:a16="http://schemas.microsoft.com/office/drawing/2014/main" id="{1B3413C6-BABF-4712-B375-4EB72C63C3EC}"/>
              </a:ext>
            </a:extLst>
          </p:cNvPr>
          <p:cNvSpPr/>
          <p:nvPr/>
        </p:nvSpPr>
        <p:spPr>
          <a:xfrm>
            <a:off x="6484574" y="2014791"/>
            <a:ext cx="1080000" cy="1080000"/>
          </a:xfrm>
          <a:prstGeom prst="ellipse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095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sp>
        <p:nvSpPr>
          <p:cNvPr id="63" name="Oval 62">
            <a:extLst>
              <a:ext uri="{FF2B5EF4-FFF2-40B4-BE49-F238E27FC236}">
                <a16:creationId xmlns:a16="http://schemas.microsoft.com/office/drawing/2014/main" id="{F7C228A9-4F1F-4E92-9DAA-6745B4D0473A}"/>
              </a:ext>
            </a:extLst>
          </p:cNvPr>
          <p:cNvSpPr/>
          <p:nvPr/>
        </p:nvSpPr>
        <p:spPr>
          <a:xfrm>
            <a:off x="8341720" y="2014791"/>
            <a:ext cx="1080000" cy="1080000"/>
          </a:xfrm>
          <a:prstGeom prst="ellipse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095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sp>
        <p:nvSpPr>
          <p:cNvPr id="64" name="Google Shape;1433;p198">
            <a:extLst>
              <a:ext uri="{FF2B5EF4-FFF2-40B4-BE49-F238E27FC236}">
                <a16:creationId xmlns:a16="http://schemas.microsoft.com/office/drawing/2014/main" id="{74CC1FB3-D181-4BA1-BF42-8EA6F4229B9A}"/>
              </a:ext>
            </a:extLst>
          </p:cNvPr>
          <p:cNvSpPr/>
          <p:nvPr/>
        </p:nvSpPr>
        <p:spPr>
          <a:xfrm>
            <a:off x="4699428" y="2088897"/>
            <a:ext cx="934661" cy="933894"/>
          </a:xfrm>
          <a:prstGeom prst="ellipse">
            <a:avLst/>
          </a:prstGeom>
          <a:noFill/>
          <a:ln w="50800" cap="flat" cmpd="sng">
            <a:solidFill>
              <a:srgbClr val="ECF2F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60933" rIns="121900" bIns="60933" anchor="t" anchorCtr="0">
            <a:noAutofit/>
          </a:bodyPr>
          <a:lstStyle/>
          <a:p>
            <a:pPr marL="0" marR="0" lvl="0" indent="0" algn="l" defTabSz="12191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Tx/>
              <a:buNone/>
              <a:tabLst/>
              <a:defRPr/>
            </a:pPr>
            <a:endParaRPr kumimoji="0" sz="2400" b="0" i="0" u="none" strike="noStrike" kern="0" cap="none" spc="0" normalizeH="0" baseline="0" noProof="0">
              <a:ln>
                <a:noFill/>
              </a:ln>
              <a:solidFill>
                <a:srgbClr val="282828"/>
              </a:solidFill>
              <a:effectLst/>
              <a:uLnTx/>
              <a:uFillTx/>
              <a:latin typeface="CiscoSansTT ExtraLight" panose="020B0303020201020303" pitchFamily="34" charset="0"/>
              <a:ea typeface="ＭＳ Ｐゴシック" charset="0"/>
              <a:cs typeface="CiscoSansTT ExtraLight" panose="020B0303020201020303" pitchFamily="34" charset="0"/>
              <a:sym typeface="Arial"/>
            </a:endParaRPr>
          </a:p>
        </p:txBody>
      </p:sp>
      <p:sp>
        <p:nvSpPr>
          <p:cNvPr id="67" name="Google Shape;1433;p198">
            <a:extLst>
              <a:ext uri="{FF2B5EF4-FFF2-40B4-BE49-F238E27FC236}">
                <a16:creationId xmlns:a16="http://schemas.microsoft.com/office/drawing/2014/main" id="{8D18FD67-7ECC-4F31-8F13-39941087C440}"/>
              </a:ext>
            </a:extLst>
          </p:cNvPr>
          <p:cNvSpPr/>
          <p:nvPr/>
        </p:nvSpPr>
        <p:spPr>
          <a:xfrm>
            <a:off x="2842282" y="2088897"/>
            <a:ext cx="934661" cy="933894"/>
          </a:xfrm>
          <a:prstGeom prst="ellipse">
            <a:avLst/>
          </a:prstGeom>
          <a:noFill/>
          <a:ln w="50800" cap="flat" cmpd="sng">
            <a:solidFill>
              <a:srgbClr val="ECF2F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60933" rIns="121900" bIns="60933" anchor="t" anchorCtr="0">
            <a:noAutofit/>
          </a:bodyPr>
          <a:lstStyle/>
          <a:p>
            <a:pPr marL="0" marR="0" lvl="0" indent="0" algn="l" defTabSz="12191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Tx/>
              <a:buNone/>
              <a:tabLst/>
              <a:defRPr/>
            </a:pPr>
            <a:endParaRPr kumimoji="0" sz="2400" b="0" i="0" u="none" strike="noStrike" kern="0" cap="none" spc="0" normalizeH="0" baseline="0" noProof="0">
              <a:ln>
                <a:noFill/>
              </a:ln>
              <a:solidFill>
                <a:srgbClr val="282828"/>
              </a:solidFill>
              <a:effectLst/>
              <a:uLnTx/>
              <a:uFillTx/>
              <a:latin typeface="CiscoSansTT ExtraLight" panose="020B0303020201020303" pitchFamily="34" charset="0"/>
              <a:ea typeface="ＭＳ Ｐゴシック" charset="0"/>
              <a:cs typeface="CiscoSansTT ExtraLight" panose="020B0303020201020303" pitchFamily="34" charset="0"/>
              <a:sym typeface="Arial"/>
            </a:endParaRPr>
          </a:p>
        </p:txBody>
      </p:sp>
      <p:sp>
        <p:nvSpPr>
          <p:cNvPr id="69" name="Google Shape;1433;p198">
            <a:extLst>
              <a:ext uri="{FF2B5EF4-FFF2-40B4-BE49-F238E27FC236}">
                <a16:creationId xmlns:a16="http://schemas.microsoft.com/office/drawing/2014/main" id="{BB6798D3-96E3-4F8C-BA2A-C31ACA5B9453}"/>
              </a:ext>
            </a:extLst>
          </p:cNvPr>
          <p:cNvSpPr/>
          <p:nvPr/>
        </p:nvSpPr>
        <p:spPr>
          <a:xfrm>
            <a:off x="10270865" y="2088897"/>
            <a:ext cx="934661" cy="933894"/>
          </a:xfrm>
          <a:prstGeom prst="ellipse">
            <a:avLst/>
          </a:prstGeom>
          <a:noFill/>
          <a:ln w="50800" cap="flat" cmpd="sng">
            <a:solidFill>
              <a:srgbClr val="ECF2F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60933" rIns="121900" bIns="60933" anchor="t" anchorCtr="0">
            <a:noAutofit/>
          </a:bodyPr>
          <a:lstStyle/>
          <a:p>
            <a:pPr marL="0" marR="0" lvl="0" indent="0" algn="l" defTabSz="12191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Tx/>
              <a:buNone/>
              <a:tabLst/>
              <a:defRPr/>
            </a:pPr>
            <a:endParaRPr kumimoji="0" sz="2400" b="0" i="0" u="none" strike="noStrike" kern="0" cap="none" spc="0" normalizeH="0" baseline="0" noProof="0">
              <a:ln>
                <a:noFill/>
              </a:ln>
              <a:solidFill>
                <a:srgbClr val="282828"/>
              </a:solidFill>
              <a:effectLst/>
              <a:uLnTx/>
              <a:uFillTx/>
              <a:latin typeface="CiscoSansTT ExtraLight" panose="020B0303020201020303" pitchFamily="34" charset="0"/>
              <a:ea typeface="ＭＳ Ｐゴシック" charset="0"/>
              <a:cs typeface="CiscoSansTT ExtraLight" panose="020B0303020201020303" pitchFamily="34" charset="0"/>
              <a:sym typeface="Arial"/>
            </a:endParaRPr>
          </a:p>
        </p:txBody>
      </p:sp>
      <p:sp>
        <p:nvSpPr>
          <p:cNvPr id="73" name="Google Shape;1433;p198">
            <a:extLst>
              <a:ext uri="{FF2B5EF4-FFF2-40B4-BE49-F238E27FC236}">
                <a16:creationId xmlns:a16="http://schemas.microsoft.com/office/drawing/2014/main" id="{BA742763-A21B-401E-BBBA-CD6D77DD38BF}"/>
              </a:ext>
            </a:extLst>
          </p:cNvPr>
          <p:cNvSpPr/>
          <p:nvPr/>
        </p:nvSpPr>
        <p:spPr>
          <a:xfrm>
            <a:off x="6556574" y="2088897"/>
            <a:ext cx="934661" cy="933894"/>
          </a:xfrm>
          <a:prstGeom prst="ellipse">
            <a:avLst/>
          </a:prstGeom>
          <a:noFill/>
          <a:ln w="50800" cap="flat" cmpd="sng">
            <a:solidFill>
              <a:srgbClr val="ECF2F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60933" rIns="121900" bIns="60933" anchor="t" anchorCtr="0">
            <a:noAutofit/>
          </a:bodyPr>
          <a:lstStyle/>
          <a:p>
            <a:pPr marL="0" marR="0" lvl="0" indent="0" algn="l" defTabSz="12191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Tx/>
              <a:buNone/>
              <a:tabLst/>
              <a:defRPr/>
            </a:pPr>
            <a:endParaRPr kumimoji="0" sz="2400" b="0" i="0" u="none" strike="noStrike" kern="0" cap="none" spc="0" normalizeH="0" baseline="0" noProof="0">
              <a:ln>
                <a:noFill/>
              </a:ln>
              <a:solidFill>
                <a:srgbClr val="282828"/>
              </a:solidFill>
              <a:effectLst/>
              <a:uLnTx/>
              <a:uFillTx/>
              <a:latin typeface="CiscoSansTT ExtraLight" panose="020B0303020201020303" pitchFamily="34" charset="0"/>
              <a:ea typeface="ＭＳ Ｐゴシック" charset="0"/>
              <a:cs typeface="CiscoSansTT ExtraLight" panose="020B0303020201020303" pitchFamily="34" charset="0"/>
              <a:sym typeface="Arial"/>
            </a:endParaRPr>
          </a:p>
        </p:txBody>
      </p:sp>
      <p:sp>
        <p:nvSpPr>
          <p:cNvPr id="74" name="Google Shape;1433;p198">
            <a:extLst>
              <a:ext uri="{FF2B5EF4-FFF2-40B4-BE49-F238E27FC236}">
                <a16:creationId xmlns:a16="http://schemas.microsoft.com/office/drawing/2014/main" id="{59979891-B543-4555-9215-4E0F5504C521}"/>
              </a:ext>
            </a:extLst>
          </p:cNvPr>
          <p:cNvSpPr/>
          <p:nvPr/>
        </p:nvSpPr>
        <p:spPr>
          <a:xfrm>
            <a:off x="8413720" y="2088897"/>
            <a:ext cx="934661" cy="933894"/>
          </a:xfrm>
          <a:prstGeom prst="ellipse">
            <a:avLst/>
          </a:prstGeom>
          <a:noFill/>
          <a:ln w="50800" cap="flat" cmpd="sng">
            <a:solidFill>
              <a:srgbClr val="ECF2F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60933" rIns="121900" bIns="60933" anchor="t" anchorCtr="0">
            <a:noAutofit/>
          </a:bodyPr>
          <a:lstStyle/>
          <a:p>
            <a:pPr marL="0" marR="0" lvl="0" indent="0" algn="l" defTabSz="12191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Tx/>
              <a:buNone/>
              <a:tabLst/>
              <a:defRPr/>
            </a:pPr>
            <a:endParaRPr kumimoji="0" sz="2400" b="0" i="0" u="none" strike="noStrike" kern="0" cap="none" spc="0" normalizeH="0" baseline="0" noProof="0">
              <a:ln>
                <a:noFill/>
              </a:ln>
              <a:solidFill>
                <a:srgbClr val="282828"/>
              </a:solidFill>
              <a:effectLst/>
              <a:uLnTx/>
              <a:uFillTx/>
              <a:latin typeface="CiscoSansTT ExtraLight" panose="020B0303020201020303" pitchFamily="34" charset="0"/>
              <a:ea typeface="ＭＳ Ｐゴシック" charset="0"/>
              <a:cs typeface="CiscoSansTT ExtraLight" panose="020B0303020201020303" pitchFamily="34" charset="0"/>
              <a:sym typeface="Arial"/>
            </a:endParaRPr>
          </a:p>
        </p:txBody>
      </p:sp>
      <p:grpSp>
        <p:nvGrpSpPr>
          <p:cNvPr id="80" name="Group 79">
            <a:extLst>
              <a:ext uri="{FF2B5EF4-FFF2-40B4-BE49-F238E27FC236}">
                <a16:creationId xmlns:a16="http://schemas.microsoft.com/office/drawing/2014/main" id="{FCA88954-D848-474F-B794-5D61973974C8}"/>
              </a:ext>
            </a:extLst>
          </p:cNvPr>
          <p:cNvGrpSpPr/>
          <p:nvPr/>
        </p:nvGrpSpPr>
        <p:grpSpPr>
          <a:xfrm>
            <a:off x="977709" y="2086791"/>
            <a:ext cx="936000" cy="936000"/>
            <a:chOff x="789483" y="2938931"/>
            <a:chExt cx="1014006" cy="1014838"/>
          </a:xfrm>
        </p:grpSpPr>
        <p:sp>
          <p:nvSpPr>
            <p:cNvPr id="81" name="Google Shape;1433;p198">
              <a:extLst>
                <a:ext uri="{FF2B5EF4-FFF2-40B4-BE49-F238E27FC236}">
                  <a16:creationId xmlns:a16="http://schemas.microsoft.com/office/drawing/2014/main" id="{327FD2D7-7C74-419F-A3FF-94E17D933198}"/>
                </a:ext>
              </a:extLst>
            </p:cNvPr>
            <p:cNvSpPr/>
            <p:nvPr/>
          </p:nvSpPr>
          <p:spPr>
            <a:xfrm>
              <a:off x="789483" y="2941214"/>
              <a:ext cx="1012555" cy="1012555"/>
            </a:xfrm>
            <a:prstGeom prst="ellipse">
              <a:avLst/>
            </a:prstGeom>
            <a:noFill/>
            <a:ln w="50800" cap="flat" cmpd="sng">
              <a:solidFill>
                <a:srgbClr val="F5F6F9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60933" rIns="121900" bIns="60933" anchor="t" anchorCtr="0">
              <a:noAutofit/>
            </a:bodyPr>
            <a:lstStyle/>
            <a:p>
              <a:pPr marL="0" marR="0" lvl="0" indent="0" algn="l" defTabSz="121911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Tx/>
                <a:buNone/>
                <a:tabLst/>
                <a:defRPr/>
              </a:pPr>
              <a:endParaRPr kumimoji="0" sz="2400" b="0" i="0" u="none" strike="noStrike" kern="0" cap="none" spc="0" normalizeH="0" baseline="0" noProof="0">
                <a:ln>
                  <a:noFill/>
                </a:ln>
                <a:solidFill>
                  <a:srgbClr val="282828"/>
                </a:solidFill>
                <a:effectLst/>
                <a:uLnTx/>
                <a:uFillTx/>
                <a:latin typeface="CiscoSansTT ExtraLight" panose="020B0303020201020303" pitchFamily="34" charset="0"/>
                <a:ea typeface="ＭＳ Ｐゴシック" charset="0"/>
                <a:cs typeface="CiscoSansTT ExtraLight" panose="020B0303020201020303" pitchFamily="34" charset="0"/>
                <a:sym typeface="Arial"/>
              </a:endParaRPr>
            </a:p>
          </p:txBody>
        </p:sp>
        <p:sp>
          <p:nvSpPr>
            <p:cNvPr id="82" name="Google Shape;1442;p198">
              <a:extLst>
                <a:ext uri="{FF2B5EF4-FFF2-40B4-BE49-F238E27FC236}">
                  <a16:creationId xmlns:a16="http://schemas.microsoft.com/office/drawing/2014/main" id="{EFDCCA81-4F83-44FC-9DF7-6F21356F4112}"/>
                </a:ext>
              </a:extLst>
            </p:cNvPr>
            <p:cNvSpPr/>
            <p:nvPr/>
          </p:nvSpPr>
          <p:spPr>
            <a:xfrm>
              <a:off x="1299639" y="2938931"/>
              <a:ext cx="503850" cy="1014189"/>
            </a:xfrm>
            <a:custGeom>
              <a:avLst/>
              <a:gdLst/>
              <a:ahLst/>
              <a:cxnLst/>
              <a:rect l="l" t="t" r="r" b="b"/>
              <a:pathLst>
                <a:path w="132" h="265" extrusionOk="0">
                  <a:moveTo>
                    <a:pt x="0" y="0"/>
                  </a:moveTo>
                  <a:cubicBezTo>
                    <a:pt x="73" y="0"/>
                    <a:pt x="132" y="60"/>
                    <a:pt x="132" y="133"/>
                  </a:cubicBezTo>
                  <a:cubicBezTo>
                    <a:pt x="132" y="206"/>
                    <a:pt x="73" y="265"/>
                    <a:pt x="0" y="265"/>
                  </a:cubicBezTo>
                  <a:cubicBezTo>
                    <a:pt x="0" y="265"/>
                    <a:pt x="0" y="265"/>
                    <a:pt x="0" y="265"/>
                  </a:cubicBezTo>
                </a:path>
              </a:pathLst>
            </a:custGeom>
            <a:noFill/>
            <a:ln w="50800" cap="rnd" cmpd="sng">
              <a:solidFill>
                <a:srgbClr val="F5F6F9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121900" tIns="60933" rIns="121900" bIns="60933" anchor="t" anchorCtr="0">
              <a:noAutofit/>
            </a:bodyPr>
            <a:lstStyle/>
            <a:p>
              <a:pPr marL="0" marR="0" lvl="0" indent="0" algn="l" defTabSz="121911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Tx/>
                <a:buNone/>
                <a:tabLst/>
                <a:defRPr/>
              </a:pPr>
              <a:endParaRPr kumimoji="0" sz="2400" b="0" i="0" u="none" strike="noStrike" kern="0" cap="none" spc="0" normalizeH="0" baseline="0" noProof="0">
                <a:ln>
                  <a:noFill/>
                </a:ln>
                <a:solidFill>
                  <a:srgbClr val="282828"/>
                </a:solidFill>
                <a:effectLst/>
                <a:uLnTx/>
                <a:uFillTx/>
                <a:latin typeface="CiscoSansTT ExtraLight" panose="020B0303020201020303" pitchFamily="34" charset="0"/>
                <a:ea typeface="ＭＳ Ｐゴシック" charset="0"/>
                <a:cs typeface="CiscoSansTT ExtraLight" panose="020B0303020201020303" pitchFamily="34" charset="0"/>
                <a:sym typeface="Arial"/>
              </a:endParaRPr>
            </a:p>
          </p:txBody>
        </p:sp>
      </p:grpSp>
      <p:sp>
        <p:nvSpPr>
          <p:cNvPr id="41" name="Triangle 79">
            <a:extLst>
              <a:ext uri="{FF2B5EF4-FFF2-40B4-BE49-F238E27FC236}">
                <a16:creationId xmlns:a16="http://schemas.microsoft.com/office/drawing/2014/main" id="{1AEED91B-6218-49CF-9C64-1B47FA71C67D}"/>
              </a:ext>
            </a:extLst>
          </p:cNvPr>
          <p:cNvSpPr/>
          <p:nvPr/>
        </p:nvSpPr>
        <p:spPr>
          <a:xfrm rot="10800000">
            <a:off x="1291808" y="3856038"/>
            <a:ext cx="322656" cy="163514"/>
          </a:xfrm>
          <a:prstGeom prst="triangl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endParaRPr kumimoji="0" lang="en-US" sz="1467" b="0" i="0" u="none" strike="noStrike" kern="1200" cap="none" spc="0" normalizeH="0" baseline="0" noProof="0">
              <a:ln>
                <a:noFill/>
              </a:ln>
              <a:solidFill>
                <a:srgbClr val="005073"/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cxnSp>
        <p:nvCxnSpPr>
          <p:cNvPr id="42" name="Straight Connector 41">
            <a:extLst>
              <a:ext uri="{FF2B5EF4-FFF2-40B4-BE49-F238E27FC236}">
                <a16:creationId xmlns:a16="http://schemas.microsoft.com/office/drawing/2014/main" id="{BB4F3FD1-3F27-48F5-B560-3277693E5955}"/>
              </a:ext>
            </a:extLst>
          </p:cNvPr>
          <p:cNvCxnSpPr>
            <a:cxnSpLocks/>
          </p:cNvCxnSpPr>
          <p:nvPr/>
        </p:nvCxnSpPr>
        <p:spPr>
          <a:xfrm>
            <a:off x="751727" y="3856038"/>
            <a:ext cx="3547223" cy="0"/>
          </a:xfrm>
          <a:prstGeom prst="line">
            <a:avLst/>
          </a:prstGeom>
          <a:ln w="12700" cap="rnd">
            <a:solidFill>
              <a:schemeClr val="bg2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Triangle 79">
            <a:extLst>
              <a:ext uri="{FF2B5EF4-FFF2-40B4-BE49-F238E27FC236}">
                <a16:creationId xmlns:a16="http://schemas.microsoft.com/office/drawing/2014/main" id="{0AA0EF1C-62F1-4FB4-85B9-4B926FE7C4E7}"/>
              </a:ext>
            </a:extLst>
          </p:cNvPr>
          <p:cNvSpPr/>
          <p:nvPr/>
        </p:nvSpPr>
        <p:spPr>
          <a:xfrm rot="10800000">
            <a:off x="5006101" y="3856038"/>
            <a:ext cx="322656" cy="163514"/>
          </a:xfrm>
          <a:prstGeom prst="triangl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/>
              <a:buNone/>
              <a:tabLst/>
              <a:defRPr/>
            </a:pPr>
            <a:endParaRPr kumimoji="0" lang="en-US" sz="1467" b="0" i="0" u="none" strike="noStrike" kern="1200" cap="none" spc="0" normalizeH="0" baseline="0" noProof="0">
              <a:ln>
                <a:noFill/>
              </a:ln>
              <a:solidFill>
                <a:srgbClr val="005073"/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cxnSp>
        <p:nvCxnSpPr>
          <p:cNvPr id="44" name="Straight Connector 43">
            <a:extLst>
              <a:ext uri="{FF2B5EF4-FFF2-40B4-BE49-F238E27FC236}">
                <a16:creationId xmlns:a16="http://schemas.microsoft.com/office/drawing/2014/main" id="{98B9B44F-3174-4008-B3DB-AE22171B13DF}"/>
              </a:ext>
            </a:extLst>
          </p:cNvPr>
          <p:cNvCxnSpPr>
            <a:cxnSpLocks/>
          </p:cNvCxnSpPr>
          <p:nvPr/>
        </p:nvCxnSpPr>
        <p:spPr>
          <a:xfrm>
            <a:off x="4466019" y="3856038"/>
            <a:ext cx="1402818" cy="0"/>
          </a:xfrm>
          <a:prstGeom prst="line">
            <a:avLst/>
          </a:prstGeom>
          <a:ln w="12700" cap="rnd">
            <a:solidFill>
              <a:schemeClr val="bg2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7" name="Graphic 46">
            <a:extLst>
              <a:ext uri="{FF2B5EF4-FFF2-40B4-BE49-F238E27FC236}">
                <a16:creationId xmlns:a16="http://schemas.microsoft.com/office/drawing/2014/main" id="{C17DBEB6-928A-F940-832F-2E89EB3606D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2912775" y="2158791"/>
            <a:ext cx="792000" cy="792000"/>
          </a:xfrm>
          <a:prstGeom prst="rect">
            <a:avLst/>
          </a:prstGeom>
        </p:spPr>
      </p:pic>
      <p:pic>
        <p:nvPicPr>
          <p:cNvPr id="48" name="Graphic 47">
            <a:extLst>
              <a:ext uri="{FF2B5EF4-FFF2-40B4-BE49-F238E27FC236}">
                <a16:creationId xmlns:a16="http://schemas.microsoft.com/office/drawing/2014/main" id="{4B543B4A-2967-A145-9FCA-8FE7EBC054E0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4770300" y="2158791"/>
            <a:ext cx="792000" cy="792000"/>
          </a:xfrm>
          <a:prstGeom prst="rect">
            <a:avLst/>
          </a:prstGeom>
        </p:spPr>
      </p:pic>
      <p:pic>
        <p:nvPicPr>
          <p:cNvPr id="49" name="Graphic 48">
            <a:extLst>
              <a:ext uri="{FF2B5EF4-FFF2-40B4-BE49-F238E27FC236}">
                <a16:creationId xmlns:a16="http://schemas.microsoft.com/office/drawing/2014/main" id="{4BBE36BF-A890-C843-A8CD-0F9F199738DC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6631500" y="2158791"/>
            <a:ext cx="792000" cy="792000"/>
          </a:xfrm>
          <a:prstGeom prst="rect">
            <a:avLst/>
          </a:prstGeom>
        </p:spPr>
      </p:pic>
      <p:pic>
        <p:nvPicPr>
          <p:cNvPr id="51" name="Graphic 50">
            <a:extLst>
              <a:ext uri="{FF2B5EF4-FFF2-40B4-BE49-F238E27FC236}">
                <a16:creationId xmlns:a16="http://schemas.microsoft.com/office/drawing/2014/main" id="{ADC3A7CA-2F8A-214B-BC26-D6CCCDBE22D5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8486203" y="2158791"/>
            <a:ext cx="792000" cy="792000"/>
          </a:xfrm>
          <a:prstGeom prst="rect">
            <a:avLst/>
          </a:prstGeom>
        </p:spPr>
      </p:pic>
      <p:pic>
        <p:nvPicPr>
          <p:cNvPr id="52" name="Graphic 51">
            <a:extLst>
              <a:ext uri="{FF2B5EF4-FFF2-40B4-BE49-F238E27FC236}">
                <a16:creationId xmlns:a16="http://schemas.microsoft.com/office/drawing/2014/main" id="{F362BD41-5671-AD4B-A070-1B85974445A5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10347411" y="2158791"/>
            <a:ext cx="792000" cy="792000"/>
          </a:xfrm>
          <a:prstGeom prst="rect">
            <a:avLst/>
          </a:prstGeom>
        </p:spPr>
      </p:pic>
      <p:pic>
        <p:nvPicPr>
          <p:cNvPr id="53" name="Graphic 52">
            <a:extLst>
              <a:ext uri="{FF2B5EF4-FFF2-40B4-BE49-F238E27FC236}">
                <a16:creationId xmlns:a16="http://schemas.microsoft.com/office/drawing/2014/main" id="{DD18FCFB-C6ED-2A40-A56F-2DA70C9F2956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1050605" y="2158791"/>
            <a:ext cx="792000" cy="79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67601260"/>
      </p:ext>
    </p:extLst>
  </p:cSld>
  <p:clrMapOvr>
    <a:masterClrMapping/>
  </p:clrMapOvr>
  <p:transition>
    <p:fade/>
  </p:transition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79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Oval 8">
            <a:extLst>
              <a:ext uri="{FF2B5EF4-FFF2-40B4-BE49-F238E27FC236}">
                <a16:creationId xmlns:a16="http://schemas.microsoft.com/office/drawing/2014/main" id="{87785166-4D9F-4B0E-818F-4F6AE1C427AC}"/>
              </a:ext>
            </a:extLst>
          </p:cNvPr>
          <p:cNvSpPr/>
          <p:nvPr/>
        </p:nvSpPr>
        <p:spPr>
          <a:xfrm>
            <a:off x="695073" y="2519363"/>
            <a:ext cx="469232" cy="469232"/>
          </a:xfrm>
          <a:prstGeom prst="ellipse">
            <a:avLst/>
          </a:prstGeom>
          <a:solidFill>
            <a:srgbClr val="F5F6F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AU" sz="1100" b="0" i="0" u="none" strike="noStrike" kern="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iscoSansTT ExtraLight"/>
              <a:ea typeface="+mn-ea"/>
              <a:cs typeface="+mn-cs"/>
              <a:sym typeface="Arial"/>
            </a:endParaRPr>
          </a:p>
        </p:txBody>
      </p:sp>
      <p:sp>
        <p:nvSpPr>
          <p:cNvPr id="75" name="Oval 74">
            <a:extLst>
              <a:ext uri="{FF2B5EF4-FFF2-40B4-BE49-F238E27FC236}">
                <a16:creationId xmlns:a16="http://schemas.microsoft.com/office/drawing/2014/main" id="{3B67C142-D8C8-48F2-9854-E51FA50CBB13}"/>
              </a:ext>
            </a:extLst>
          </p:cNvPr>
          <p:cNvSpPr/>
          <p:nvPr/>
        </p:nvSpPr>
        <p:spPr>
          <a:xfrm>
            <a:off x="695073" y="5254616"/>
            <a:ext cx="469232" cy="469232"/>
          </a:xfrm>
          <a:prstGeom prst="ellipse">
            <a:avLst/>
          </a:prstGeom>
          <a:solidFill>
            <a:srgbClr val="F5F6F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AU" sz="1100" b="0" i="0" u="none" strike="noStrike" kern="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iscoSansTT ExtraLight"/>
              <a:ea typeface="+mn-ea"/>
              <a:cs typeface="+mn-cs"/>
              <a:sym typeface="Arial"/>
            </a:endParaRPr>
          </a:p>
        </p:txBody>
      </p:sp>
      <p:sp>
        <p:nvSpPr>
          <p:cNvPr id="76" name="Oval 75">
            <a:extLst>
              <a:ext uri="{FF2B5EF4-FFF2-40B4-BE49-F238E27FC236}">
                <a16:creationId xmlns:a16="http://schemas.microsoft.com/office/drawing/2014/main" id="{B6797DCF-EF10-47D2-A596-3203AA0FCEA6}"/>
              </a:ext>
            </a:extLst>
          </p:cNvPr>
          <p:cNvSpPr/>
          <p:nvPr/>
        </p:nvSpPr>
        <p:spPr>
          <a:xfrm>
            <a:off x="695073" y="4707567"/>
            <a:ext cx="469232" cy="469232"/>
          </a:xfrm>
          <a:prstGeom prst="ellipse">
            <a:avLst/>
          </a:prstGeom>
          <a:solidFill>
            <a:srgbClr val="F5F6F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AU" sz="1100" b="0" i="0" u="none" strike="noStrike" kern="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iscoSansTT ExtraLight"/>
              <a:ea typeface="+mn-ea"/>
              <a:cs typeface="+mn-cs"/>
              <a:sym typeface="Arial"/>
            </a:endParaRPr>
          </a:p>
        </p:txBody>
      </p:sp>
      <p:sp>
        <p:nvSpPr>
          <p:cNvPr id="77" name="Oval 76">
            <a:extLst>
              <a:ext uri="{FF2B5EF4-FFF2-40B4-BE49-F238E27FC236}">
                <a16:creationId xmlns:a16="http://schemas.microsoft.com/office/drawing/2014/main" id="{8B3F4AFF-6334-4634-9F7B-93999F43B010}"/>
              </a:ext>
            </a:extLst>
          </p:cNvPr>
          <p:cNvSpPr/>
          <p:nvPr/>
        </p:nvSpPr>
        <p:spPr>
          <a:xfrm>
            <a:off x="695073" y="4160516"/>
            <a:ext cx="469232" cy="469232"/>
          </a:xfrm>
          <a:prstGeom prst="ellipse">
            <a:avLst/>
          </a:prstGeom>
          <a:solidFill>
            <a:srgbClr val="F5F6F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AU" sz="1100" b="0" i="0" u="none" strike="noStrike" kern="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iscoSansTT ExtraLight"/>
              <a:ea typeface="+mn-ea"/>
              <a:cs typeface="+mn-cs"/>
              <a:sym typeface="Arial"/>
            </a:endParaRPr>
          </a:p>
        </p:txBody>
      </p:sp>
      <p:sp>
        <p:nvSpPr>
          <p:cNvPr id="78" name="Oval 77">
            <a:extLst>
              <a:ext uri="{FF2B5EF4-FFF2-40B4-BE49-F238E27FC236}">
                <a16:creationId xmlns:a16="http://schemas.microsoft.com/office/drawing/2014/main" id="{5A57A0FC-0497-4BCC-BD07-58C264AAEAE3}"/>
              </a:ext>
            </a:extLst>
          </p:cNvPr>
          <p:cNvSpPr/>
          <p:nvPr/>
        </p:nvSpPr>
        <p:spPr>
          <a:xfrm>
            <a:off x="695073" y="3613465"/>
            <a:ext cx="469232" cy="469232"/>
          </a:xfrm>
          <a:prstGeom prst="ellipse">
            <a:avLst/>
          </a:prstGeom>
          <a:solidFill>
            <a:srgbClr val="F5F6F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AU" sz="1100" b="0" i="0" u="none" strike="noStrike" kern="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iscoSansTT ExtraLight"/>
              <a:ea typeface="+mn-ea"/>
              <a:cs typeface="+mn-cs"/>
              <a:sym typeface="Arial"/>
            </a:endParaRPr>
          </a:p>
        </p:txBody>
      </p:sp>
      <p:sp>
        <p:nvSpPr>
          <p:cNvPr id="79" name="Oval 78">
            <a:extLst>
              <a:ext uri="{FF2B5EF4-FFF2-40B4-BE49-F238E27FC236}">
                <a16:creationId xmlns:a16="http://schemas.microsoft.com/office/drawing/2014/main" id="{F21ECD68-F3A7-4CA9-B23E-2DF12C8219D0}"/>
              </a:ext>
            </a:extLst>
          </p:cNvPr>
          <p:cNvSpPr/>
          <p:nvPr/>
        </p:nvSpPr>
        <p:spPr>
          <a:xfrm>
            <a:off x="695073" y="3066414"/>
            <a:ext cx="469232" cy="469232"/>
          </a:xfrm>
          <a:prstGeom prst="ellipse">
            <a:avLst/>
          </a:prstGeom>
          <a:solidFill>
            <a:srgbClr val="F5F6F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AU" sz="1100" b="0" i="0" u="none" strike="noStrike" kern="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iscoSansTT ExtraLight"/>
              <a:ea typeface="+mn-ea"/>
              <a:cs typeface="+mn-cs"/>
              <a:sym typeface="Arial"/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719667" y="582613"/>
            <a:ext cx="10752667" cy="905874"/>
          </a:xfrm>
        </p:spPr>
        <p:txBody>
          <a:bodyPr/>
          <a:lstStyle/>
          <a:p>
            <a:r>
              <a:rPr lang="en-AU"/>
              <a:t>Frequency of engagements</a:t>
            </a:r>
            <a:br>
              <a:rPr lang="en-AU"/>
            </a:br>
            <a:r>
              <a:rPr lang="en-US" sz="2400">
                <a:solidFill>
                  <a:schemeClr val="accent4"/>
                </a:solidFill>
              </a:rPr>
              <a:t>CX BCS lifecycle pre-packaged portfolio</a:t>
            </a:r>
            <a:endParaRPr lang="en-AU" sz="2400">
              <a:solidFill>
                <a:schemeClr val="accent4"/>
              </a:solidFill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B9557F80-BC5E-5940-8893-55A94651B206}"/>
              </a:ext>
            </a:extLst>
          </p:cNvPr>
          <p:cNvSpPr txBox="1"/>
          <p:nvPr/>
        </p:nvSpPr>
        <p:spPr>
          <a:xfrm>
            <a:off x="9390743" y="6995887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0" marR="0" lvl="0" indent="0" algn="l" defTabSz="60957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srgbClr val="14284A"/>
              </a:solidFill>
              <a:effectLst/>
              <a:uLnTx/>
              <a:uFillTx/>
              <a:latin typeface="CiscoSansTT ExtraLight"/>
              <a:ea typeface="ＭＳ Ｐゴシック" charset="0"/>
              <a:cs typeface="Arial"/>
              <a:sym typeface="Arial"/>
            </a:endParaRPr>
          </a:p>
        </p:txBody>
      </p:sp>
      <p:cxnSp>
        <p:nvCxnSpPr>
          <p:cNvPr id="62" name="Straight Connector 61">
            <a:extLst>
              <a:ext uri="{FF2B5EF4-FFF2-40B4-BE49-F238E27FC236}">
                <a16:creationId xmlns:a16="http://schemas.microsoft.com/office/drawing/2014/main" id="{81D934F2-1D2A-4EBD-9B60-66E1E29A4ACE}"/>
              </a:ext>
            </a:extLst>
          </p:cNvPr>
          <p:cNvCxnSpPr>
            <a:cxnSpLocks/>
          </p:cNvCxnSpPr>
          <p:nvPr/>
        </p:nvCxnSpPr>
        <p:spPr>
          <a:xfrm flipV="1">
            <a:off x="726759" y="3026935"/>
            <a:ext cx="10753724" cy="1138"/>
          </a:xfrm>
          <a:prstGeom prst="line">
            <a:avLst/>
          </a:prstGeom>
          <a:ln w="12700" cap="rnd">
            <a:solidFill>
              <a:schemeClr val="bg1">
                <a:lumMod val="6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Straight Connector 62">
            <a:extLst>
              <a:ext uri="{FF2B5EF4-FFF2-40B4-BE49-F238E27FC236}">
                <a16:creationId xmlns:a16="http://schemas.microsoft.com/office/drawing/2014/main" id="{D2E91EAF-2058-4896-93D3-606E6E4BB2EC}"/>
              </a:ext>
            </a:extLst>
          </p:cNvPr>
          <p:cNvCxnSpPr>
            <a:cxnSpLocks/>
          </p:cNvCxnSpPr>
          <p:nvPr/>
        </p:nvCxnSpPr>
        <p:spPr>
          <a:xfrm flipV="1">
            <a:off x="726759" y="3573985"/>
            <a:ext cx="10753724" cy="1138"/>
          </a:xfrm>
          <a:prstGeom prst="line">
            <a:avLst/>
          </a:prstGeom>
          <a:ln w="12700" cap="rnd">
            <a:solidFill>
              <a:schemeClr val="bg1">
                <a:lumMod val="6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Straight Connector 63">
            <a:extLst>
              <a:ext uri="{FF2B5EF4-FFF2-40B4-BE49-F238E27FC236}">
                <a16:creationId xmlns:a16="http://schemas.microsoft.com/office/drawing/2014/main" id="{A550AD1E-EE67-4646-9ACB-D981F6CA43B7}"/>
              </a:ext>
            </a:extLst>
          </p:cNvPr>
          <p:cNvCxnSpPr>
            <a:cxnSpLocks/>
          </p:cNvCxnSpPr>
          <p:nvPr/>
        </p:nvCxnSpPr>
        <p:spPr>
          <a:xfrm flipV="1">
            <a:off x="726759" y="4121035"/>
            <a:ext cx="10753724" cy="1138"/>
          </a:xfrm>
          <a:prstGeom prst="line">
            <a:avLst/>
          </a:prstGeom>
          <a:ln w="12700" cap="rnd">
            <a:solidFill>
              <a:schemeClr val="bg1">
                <a:lumMod val="6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Straight Connector 64">
            <a:extLst>
              <a:ext uri="{FF2B5EF4-FFF2-40B4-BE49-F238E27FC236}">
                <a16:creationId xmlns:a16="http://schemas.microsoft.com/office/drawing/2014/main" id="{71790694-98F1-4F26-B8E7-706D795187B4}"/>
              </a:ext>
            </a:extLst>
          </p:cNvPr>
          <p:cNvCxnSpPr>
            <a:cxnSpLocks/>
          </p:cNvCxnSpPr>
          <p:nvPr/>
        </p:nvCxnSpPr>
        <p:spPr>
          <a:xfrm flipV="1">
            <a:off x="726759" y="4668085"/>
            <a:ext cx="10753724" cy="1138"/>
          </a:xfrm>
          <a:prstGeom prst="line">
            <a:avLst/>
          </a:prstGeom>
          <a:ln w="12700" cap="rnd">
            <a:solidFill>
              <a:schemeClr val="bg1">
                <a:lumMod val="6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Straight Connector 37">
            <a:extLst>
              <a:ext uri="{FF2B5EF4-FFF2-40B4-BE49-F238E27FC236}">
                <a16:creationId xmlns:a16="http://schemas.microsoft.com/office/drawing/2014/main" id="{416414DD-0B5D-4684-8179-7C103CE7E420}"/>
              </a:ext>
            </a:extLst>
          </p:cNvPr>
          <p:cNvCxnSpPr>
            <a:cxnSpLocks/>
          </p:cNvCxnSpPr>
          <p:nvPr/>
        </p:nvCxnSpPr>
        <p:spPr>
          <a:xfrm flipV="1">
            <a:off x="726759" y="5215135"/>
            <a:ext cx="10753724" cy="1138"/>
          </a:xfrm>
          <a:prstGeom prst="line">
            <a:avLst/>
          </a:prstGeom>
          <a:ln w="12700" cap="rnd">
            <a:solidFill>
              <a:schemeClr val="bg1">
                <a:lumMod val="6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" name="Google Shape;791;p99">
            <a:extLst>
              <a:ext uri="{FF2B5EF4-FFF2-40B4-BE49-F238E27FC236}">
                <a16:creationId xmlns:a16="http://schemas.microsoft.com/office/drawing/2014/main" id="{FCD21D18-83BE-4596-B2D0-8CEB50ACBF54}"/>
              </a:ext>
            </a:extLst>
          </p:cNvPr>
          <p:cNvSpPr/>
          <p:nvPr/>
        </p:nvSpPr>
        <p:spPr>
          <a:xfrm>
            <a:off x="1283018" y="2647299"/>
            <a:ext cx="2775600" cy="2133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l" defTabSz="91433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rgbClr val="6EBE4A"/>
              </a:buClr>
              <a:buSzPct val="75000"/>
              <a:buFont typeface="Arial"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14284A"/>
                </a:solidFill>
                <a:effectLst/>
                <a:uLnTx/>
                <a:uFillTx/>
                <a:latin typeface="CiscoSansTT ExtraLight"/>
                <a:ea typeface="ＭＳ Ｐゴシック" charset="0"/>
                <a:cs typeface="CiscoSansTT" panose="020B0503020201020303" pitchFamily="34" charset="0"/>
                <a:sym typeface="Arial"/>
              </a:rPr>
              <a:t>Operational Insights Reviews</a:t>
            </a:r>
          </a:p>
        </p:txBody>
      </p:sp>
      <p:pic>
        <p:nvPicPr>
          <p:cNvPr id="24" name="Graphic 23">
            <a:extLst>
              <a:ext uri="{FF2B5EF4-FFF2-40B4-BE49-F238E27FC236}">
                <a16:creationId xmlns:a16="http://schemas.microsoft.com/office/drawing/2014/main" id="{777BDB10-E1B1-4C85-BEB9-944CA467F065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726759" y="2551055"/>
            <a:ext cx="407035" cy="405848"/>
          </a:xfrm>
          <a:prstGeom prst="rect">
            <a:avLst/>
          </a:prstGeom>
        </p:spPr>
      </p:pic>
      <p:pic>
        <p:nvPicPr>
          <p:cNvPr id="25" name="Graphic 24">
            <a:extLst>
              <a:ext uri="{FF2B5EF4-FFF2-40B4-BE49-F238E27FC236}">
                <a16:creationId xmlns:a16="http://schemas.microsoft.com/office/drawing/2014/main" id="{B41C3C99-1DEF-46DC-931D-73CE8E8CFC73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726759" y="3098105"/>
            <a:ext cx="405860" cy="405848"/>
          </a:xfrm>
          <a:prstGeom prst="rect">
            <a:avLst/>
          </a:prstGeom>
        </p:spPr>
      </p:pic>
      <p:sp>
        <p:nvSpPr>
          <p:cNvPr id="54" name="Google Shape;791;p99">
            <a:extLst>
              <a:ext uri="{FF2B5EF4-FFF2-40B4-BE49-F238E27FC236}">
                <a16:creationId xmlns:a16="http://schemas.microsoft.com/office/drawing/2014/main" id="{47609A46-68BD-4646-AC22-9828EEF9338E}"/>
              </a:ext>
            </a:extLst>
          </p:cNvPr>
          <p:cNvSpPr/>
          <p:nvPr/>
        </p:nvSpPr>
        <p:spPr>
          <a:xfrm>
            <a:off x="1283018" y="3194349"/>
            <a:ext cx="2775600" cy="2133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l" defTabSz="91433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rgbClr val="6EBE4A"/>
              </a:buClr>
              <a:buSzPct val="75000"/>
              <a:buFont typeface="Arial"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14284A"/>
                </a:solidFill>
                <a:effectLst/>
                <a:uLnTx/>
                <a:uFillTx/>
                <a:latin typeface="CiscoSansTT ExtraLight"/>
                <a:ea typeface="ＭＳ Ｐゴシック" charset="0"/>
                <a:cs typeface="CiscoSansTT" panose="020B0503020201020303" pitchFamily="34" charset="0"/>
                <a:sym typeface="Arial"/>
              </a:rPr>
              <a:t>Change Window Support</a:t>
            </a:r>
          </a:p>
        </p:txBody>
      </p:sp>
      <p:pic>
        <p:nvPicPr>
          <p:cNvPr id="27" name="Graphic 26">
            <a:extLst>
              <a:ext uri="{FF2B5EF4-FFF2-40B4-BE49-F238E27FC236}">
                <a16:creationId xmlns:a16="http://schemas.microsoft.com/office/drawing/2014/main" id="{722CC30A-BB52-4235-AEA6-8E2FFD36DDEF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726759" y="3645155"/>
            <a:ext cx="405860" cy="405848"/>
          </a:xfrm>
          <a:prstGeom prst="rect">
            <a:avLst/>
          </a:prstGeom>
        </p:spPr>
      </p:pic>
      <p:sp>
        <p:nvSpPr>
          <p:cNvPr id="56" name="Google Shape;791;p99">
            <a:extLst>
              <a:ext uri="{FF2B5EF4-FFF2-40B4-BE49-F238E27FC236}">
                <a16:creationId xmlns:a16="http://schemas.microsoft.com/office/drawing/2014/main" id="{A318D342-CD70-4C48-B9DE-6BA8C32CC27C}"/>
              </a:ext>
            </a:extLst>
          </p:cNvPr>
          <p:cNvSpPr/>
          <p:nvPr/>
        </p:nvSpPr>
        <p:spPr>
          <a:xfrm>
            <a:off x="1283018" y="3741399"/>
            <a:ext cx="2775600" cy="2133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l" defTabSz="91433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rgbClr val="6EBE4A"/>
              </a:buClr>
              <a:buSzPct val="75000"/>
              <a:buFont typeface="Arial"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14284A"/>
                </a:solidFill>
                <a:effectLst/>
                <a:uLnTx/>
                <a:uFillTx/>
                <a:latin typeface="CiscoSansTT ExtraLight"/>
                <a:ea typeface="ＭＳ Ｐゴシック" charset="0"/>
                <a:cs typeface="CiscoSansTT" panose="020B0503020201020303" pitchFamily="34" charset="0"/>
                <a:sym typeface="Arial"/>
              </a:rPr>
              <a:t>Ask the Experts</a:t>
            </a:r>
          </a:p>
        </p:txBody>
      </p:sp>
      <p:pic>
        <p:nvPicPr>
          <p:cNvPr id="31" name="Graphic 30">
            <a:extLst>
              <a:ext uri="{FF2B5EF4-FFF2-40B4-BE49-F238E27FC236}">
                <a16:creationId xmlns:a16="http://schemas.microsoft.com/office/drawing/2014/main" id="{E7F8C5E9-274D-4258-B5D3-B5BBFF8082C4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726759" y="4192205"/>
            <a:ext cx="405848" cy="405848"/>
          </a:xfrm>
          <a:prstGeom prst="rect">
            <a:avLst/>
          </a:prstGeom>
        </p:spPr>
      </p:pic>
      <p:sp>
        <p:nvSpPr>
          <p:cNvPr id="57" name="Google Shape;791;p99">
            <a:extLst>
              <a:ext uri="{FF2B5EF4-FFF2-40B4-BE49-F238E27FC236}">
                <a16:creationId xmlns:a16="http://schemas.microsoft.com/office/drawing/2014/main" id="{C2570B40-6FF2-4E88-A67D-4DD8DFC6874C}"/>
              </a:ext>
            </a:extLst>
          </p:cNvPr>
          <p:cNvSpPr/>
          <p:nvPr/>
        </p:nvSpPr>
        <p:spPr>
          <a:xfrm>
            <a:off x="1283018" y="4288449"/>
            <a:ext cx="2775600" cy="2133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l" defTabSz="91433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rgbClr val="6EBE4A"/>
              </a:buClr>
              <a:buSzPct val="75000"/>
              <a:buFont typeface="Arial"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14284A"/>
                </a:solidFill>
                <a:effectLst/>
                <a:uLnTx/>
                <a:uFillTx/>
                <a:latin typeface="CiscoSansTT ExtraLight"/>
                <a:ea typeface="ＭＳ Ｐゴシック" charset="0"/>
                <a:cs typeface="CiscoSansTT" panose="020B0503020201020303" pitchFamily="34" charset="0"/>
                <a:sym typeface="Arial"/>
              </a:rPr>
              <a:t>Expert Review Workshops</a:t>
            </a:r>
          </a:p>
        </p:txBody>
      </p:sp>
      <p:pic>
        <p:nvPicPr>
          <p:cNvPr id="35" name="Graphic 34">
            <a:extLst>
              <a:ext uri="{FF2B5EF4-FFF2-40B4-BE49-F238E27FC236}">
                <a16:creationId xmlns:a16="http://schemas.microsoft.com/office/drawing/2014/main" id="{83B639E1-F349-48DB-9F79-ABA70C027C74}"/>
              </a:ext>
            </a:extLst>
          </p:cNvPr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726759" y="4739255"/>
            <a:ext cx="405848" cy="405848"/>
          </a:xfrm>
          <a:prstGeom prst="rect">
            <a:avLst/>
          </a:prstGeom>
        </p:spPr>
      </p:pic>
      <p:sp>
        <p:nvSpPr>
          <p:cNvPr id="58" name="Google Shape;791;p99">
            <a:extLst>
              <a:ext uri="{FF2B5EF4-FFF2-40B4-BE49-F238E27FC236}">
                <a16:creationId xmlns:a16="http://schemas.microsoft.com/office/drawing/2014/main" id="{5D30D0C0-CA30-4A07-B96C-B01A81FF985B}"/>
              </a:ext>
            </a:extLst>
          </p:cNvPr>
          <p:cNvSpPr/>
          <p:nvPr/>
        </p:nvSpPr>
        <p:spPr>
          <a:xfrm>
            <a:off x="1283018" y="4835499"/>
            <a:ext cx="2775600" cy="2133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l" defTabSz="91433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rgbClr val="6EBE4A"/>
              </a:buClr>
              <a:buSzPct val="75000"/>
              <a:buFont typeface="Arial"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14284A"/>
                </a:solidFill>
                <a:effectLst/>
                <a:uLnTx/>
                <a:uFillTx/>
                <a:latin typeface="CiscoSansTT ExtraLight"/>
                <a:ea typeface="ＭＳ Ｐゴシック" charset="0"/>
                <a:cs typeface="CiscoSansTT" panose="020B0503020201020303" pitchFamily="34" charset="0"/>
                <a:sym typeface="Arial"/>
              </a:rPr>
              <a:t>Expert Incident Reviews</a:t>
            </a:r>
          </a:p>
        </p:txBody>
      </p:sp>
      <p:pic>
        <p:nvPicPr>
          <p:cNvPr id="34" name="Graphic 33">
            <a:extLst>
              <a:ext uri="{FF2B5EF4-FFF2-40B4-BE49-F238E27FC236}">
                <a16:creationId xmlns:a16="http://schemas.microsoft.com/office/drawing/2014/main" id="{02A1BC8C-7DC0-4EB3-842E-AF7DD9E0802D}"/>
              </a:ext>
            </a:extLst>
          </p:cNvPr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726759" y="5286308"/>
            <a:ext cx="405848" cy="405848"/>
          </a:xfrm>
          <a:prstGeom prst="rect">
            <a:avLst/>
          </a:prstGeom>
        </p:spPr>
      </p:pic>
      <p:grpSp>
        <p:nvGrpSpPr>
          <p:cNvPr id="5" name="Group 4">
            <a:extLst>
              <a:ext uri="{FF2B5EF4-FFF2-40B4-BE49-F238E27FC236}">
                <a16:creationId xmlns:a16="http://schemas.microsoft.com/office/drawing/2014/main" id="{8C5BDC35-EF2D-48EF-B423-235BC71302C5}"/>
              </a:ext>
            </a:extLst>
          </p:cNvPr>
          <p:cNvGrpSpPr/>
          <p:nvPr/>
        </p:nvGrpSpPr>
        <p:grpSpPr>
          <a:xfrm>
            <a:off x="4067175" y="2076004"/>
            <a:ext cx="3536021" cy="433388"/>
            <a:chOff x="3827463" y="2070100"/>
            <a:chExt cx="3600000" cy="433388"/>
          </a:xfrm>
        </p:grpSpPr>
        <p:sp>
          <p:nvSpPr>
            <p:cNvPr id="8" name="Rounded Rectangle 30">
              <a:extLst>
                <a:ext uri="{FF2B5EF4-FFF2-40B4-BE49-F238E27FC236}">
                  <a16:creationId xmlns:a16="http://schemas.microsoft.com/office/drawing/2014/main" id="{9F62FF0F-9F32-4D1F-AF2B-ADD9D286DD7E}"/>
                </a:ext>
              </a:extLst>
            </p:cNvPr>
            <p:cNvSpPr/>
            <p:nvPr/>
          </p:nvSpPr>
          <p:spPr>
            <a:xfrm>
              <a:off x="3827463" y="2070100"/>
              <a:ext cx="3600000" cy="433388"/>
            </a:xfrm>
            <a:prstGeom prst="roundRect">
              <a:avLst>
                <a:gd name="adj" fmla="val 50000"/>
              </a:avLst>
            </a:prstGeom>
            <a:solidFill>
              <a:schemeClr val="accent2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iscoSansTT ExtraLight"/>
                <a:ea typeface="+mn-ea"/>
                <a:cs typeface="+mn-cs"/>
                <a:sym typeface="Arial"/>
              </a:endParaRPr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0BAD254B-D5E6-426B-950B-DC85DCAE5BCD}"/>
                </a:ext>
              </a:extLst>
            </p:cNvPr>
            <p:cNvSpPr/>
            <p:nvPr/>
          </p:nvSpPr>
          <p:spPr>
            <a:xfrm>
              <a:off x="4859614" y="2102129"/>
              <a:ext cx="1575838" cy="369332"/>
            </a:xfrm>
            <a:prstGeom prst="rect">
              <a:avLst/>
            </a:prstGeom>
          </p:spPr>
          <p:txBody>
            <a:bodyPr wrap="none" anchor="ctr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r>
                <a: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iscoSansTT ExtraLight" panose="020B0303020201020303" pitchFamily="34" charset="0"/>
                  <a:cs typeface="CiscoSansTT ExtraLight" panose="020B0303020201020303" pitchFamily="34" charset="0"/>
                  <a:sym typeface="Arial"/>
                </a:rPr>
                <a:t>Advantage</a:t>
              </a:r>
            </a:p>
          </p:txBody>
        </p:sp>
      </p:grpSp>
      <p:grpSp>
        <p:nvGrpSpPr>
          <p:cNvPr id="6" name="Group 5">
            <a:extLst>
              <a:ext uri="{FF2B5EF4-FFF2-40B4-BE49-F238E27FC236}">
                <a16:creationId xmlns:a16="http://schemas.microsoft.com/office/drawing/2014/main" id="{CCB710B7-5744-434A-8265-2B11FDF1BCC2}"/>
              </a:ext>
            </a:extLst>
          </p:cNvPr>
          <p:cNvGrpSpPr/>
          <p:nvPr/>
        </p:nvGrpSpPr>
        <p:grpSpPr>
          <a:xfrm>
            <a:off x="7853486" y="2076004"/>
            <a:ext cx="3536021" cy="433388"/>
            <a:chOff x="7815631" y="2070100"/>
            <a:chExt cx="3600000" cy="433388"/>
          </a:xfrm>
        </p:grpSpPr>
        <p:sp>
          <p:nvSpPr>
            <p:cNvPr id="11" name="Rounded Rectangle 30">
              <a:extLst>
                <a:ext uri="{FF2B5EF4-FFF2-40B4-BE49-F238E27FC236}">
                  <a16:creationId xmlns:a16="http://schemas.microsoft.com/office/drawing/2014/main" id="{65BA5987-F499-4D2F-BCEC-930AA056E76A}"/>
                </a:ext>
              </a:extLst>
            </p:cNvPr>
            <p:cNvSpPr/>
            <p:nvPr/>
          </p:nvSpPr>
          <p:spPr>
            <a:xfrm>
              <a:off x="7815631" y="2070100"/>
              <a:ext cx="3600000" cy="433388"/>
            </a:xfrm>
            <a:prstGeom prst="roundRect">
              <a:avLst>
                <a:gd name="adj" fmla="val 50000"/>
              </a:avLst>
            </a:prstGeom>
            <a:solidFill>
              <a:schemeClr val="accent5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iscoSansTT ExtraLight"/>
                <a:ea typeface="+mn-ea"/>
                <a:cs typeface="+mn-cs"/>
                <a:sym typeface="Arial"/>
              </a:endParaRPr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1A033C59-B9AB-47D6-ACF7-0628BA613683}"/>
                </a:ext>
              </a:extLst>
            </p:cNvPr>
            <p:cNvSpPr/>
            <p:nvPr/>
          </p:nvSpPr>
          <p:spPr>
            <a:xfrm>
              <a:off x="9139060" y="2102129"/>
              <a:ext cx="994182" cy="369332"/>
            </a:xfrm>
            <a:prstGeom prst="rect">
              <a:avLst/>
            </a:prstGeom>
          </p:spPr>
          <p:txBody>
            <a:bodyPr wrap="none" anchor="ctr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r>
                <a: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iscoSansTT ExtraLight" panose="020B0303020201020303" pitchFamily="34" charset="0"/>
                  <a:cs typeface="CiscoSansTT ExtraLight" panose="020B0303020201020303" pitchFamily="34" charset="0"/>
                  <a:sym typeface="Arial"/>
                </a:rPr>
                <a:t>Premier</a:t>
              </a:r>
            </a:p>
          </p:txBody>
        </p:sp>
      </p:grpSp>
      <p:grpSp>
        <p:nvGrpSpPr>
          <p:cNvPr id="16" name="Group 15">
            <a:extLst>
              <a:ext uri="{FF2B5EF4-FFF2-40B4-BE49-F238E27FC236}">
                <a16:creationId xmlns:a16="http://schemas.microsoft.com/office/drawing/2014/main" id="{A850BE44-82E3-4BAA-AFD4-8EC566CE316B}"/>
              </a:ext>
            </a:extLst>
          </p:cNvPr>
          <p:cNvGrpSpPr/>
          <p:nvPr/>
        </p:nvGrpSpPr>
        <p:grpSpPr>
          <a:xfrm>
            <a:off x="7765532" y="2004278"/>
            <a:ext cx="576000" cy="576840"/>
            <a:chOff x="5495595" y="2154288"/>
            <a:chExt cx="632491" cy="634524"/>
          </a:xfrm>
        </p:grpSpPr>
        <p:sp>
          <p:nvSpPr>
            <p:cNvPr id="41" name="Rounded Rectangle 30">
              <a:extLst>
                <a:ext uri="{FF2B5EF4-FFF2-40B4-BE49-F238E27FC236}">
                  <a16:creationId xmlns:a16="http://schemas.microsoft.com/office/drawing/2014/main" id="{87110CC6-0ACC-4927-812D-E2D39D158130}"/>
                </a:ext>
              </a:extLst>
            </p:cNvPr>
            <p:cNvSpPr/>
            <p:nvPr/>
          </p:nvSpPr>
          <p:spPr>
            <a:xfrm>
              <a:off x="5495595" y="2154288"/>
              <a:ext cx="632491" cy="634524"/>
            </a:xfrm>
            <a:prstGeom prst="ellipse">
              <a:avLst/>
            </a:prstGeom>
            <a:solidFill>
              <a:schemeClr val="accent5"/>
            </a:solidFill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iscoSansTT ExtraLight"/>
                <a:ea typeface="+mn-ea"/>
                <a:cs typeface="+mn-cs"/>
                <a:sym typeface="Arial"/>
              </a:endParaRPr>
            </a:p>
          </p:txBody>
        </p:sp>
        <p:sp>
          <p:nvSpPr>
            <p:cNvPr id="55" name="Rectangle 54">
              <a:extLst>
                <a:ext uri="{FF2B5EF4-FFF2-40B4-BE49-F238E27FC236}">
                  <a16:creationId xmlns:a16="http://schemas.microsoft.com/office/drawing/2014/main" id="{E00B7F1A-CD2B-41A2-A060-60683035EB4B}"/>
                </a:ext>
              </a:extLst>
            </p:cNvPr>
            <p:cNvSpPr/>
            <p:nvPr/>
          </p:nvSpPr>
          <p:spPr>
            <a:xfrm>
              <a:off x="5501322" y="2302272"/>
              <a:ext cx="621036" cy="338555"/>
            </a:xfrm>
            <a:prstGeom prst="rect">
              <a:avLst/>
            </a:prstGeom>
          </p:spPr>
          <p:txBody>
            <a:bodyPr wrap="none" anchor="ctr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r>
                <a:rPr kumimoji="0" lang="en-US" sz="14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iscoSansTT" panose="020B0503020201020303" pitchFamily="34" charset="0"/>
                  <a:cs typeface="CiscoSansTT" panose="020B0503020201020303" pitchFamily="34" charset="0"/>
                  <a:sym typeface="Arial"/>
                </a:rPr>
                <a:t>New</a:t>
              </a:r>
            </a:p>
          </p:txBody>
        </p:sp>
      </p:grpSp>
      <p:sp>
        <p:nvSpPr>
          <p:cNvPr id="22" name="Google Shape;791;p99">
            <a:extLst>
              <a:ext uri="{FF2B5EF4-FFF2-40B4-BE49-F238E27FC236}">
                <a16:creationId xmlns:a16="http://schemas.microsoft.com/office/drawing/2014/main" id="{F5ACC045-6BEA-8E48-801E-A27B8870692B}"/>
              </a:ext>
            </a:extLst>
          </p:cNvPr>
          <p:cNvSpPr/>
          <p:nvPr/>
        </p:nvSpPr>
        <p:spPr>
          <a:xfrm>
            <a:off x="8076098" y="2652998"/>
            <a:ext cx="3574566" cy="2019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l" defTabSz="91433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rgbClr val="FBAB18"/>
              </a:buClr>
              <a:buSzPct val="75000"/>
              <a:buFont typeface="Arial"/>
              <a:buNone/>
              <a:tabLst/>
              <a:defRPr/>
            </a:pPr>
            <a:r>
              <a: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14284A"/>
                </a:solidFill>
                <a:effectLst/>
                <a:uLnTx/>
                <a:uFillTx/>
                <a:latin typeface="CiscoSansTT ExtraLight"/>
                <a:ea typeface="ＭＳ Ｐゴシック"/>
                <a:cs typeface="CiscoSansTT ExtraLight" panose="020B0303020201020303" pitchFamily="34" charset="0"/>
                <a:sym typeface="Arial"/>
              </a:rPr>
              <a:t>Flexible. Up to </a:t>
            </a: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FBAB18"/>
                </a:solidFill>
                <a:effectLst/>
                <a:uLnTx/>
                <a:uFillTx/>
                <a:latin typeface="CiscoSansTT" panose="020B0503020201020303" pitchFamily="34" charset="0"/>
                <a:ea typeface="ＭＳ Ｐゴシック"/>
                <a:cs typeface="CiscoSansTT" panose="020B0503020201020303" pitchFamily="34" charset="0"/>
                <a:sym typeface="Arial"/>
              </a:rPr>
              <a:t>144x</a:t>
            </a:r>
            <a:r>
              <a: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14284A"/>
                </a:solidFill>
                <a:effectLst/>
                <a:uLnTx/>
                <a:uFillTx/>
                <a:latin typeface="CiscoSansTT ExtraLight"/>
                <a:ea typeface="ＭＳ Ｐゴシック"/>
                <a:cs typeface="CiscoSansTT ExtraLight" panose="020B0303020201020303" pitchFamily="34" charset="0"/>
                <a:sym typeface="Arial"/>
              </a:rPr>
              <a:t> per year *</a:t>
            </a: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srgbClr val="14284A"/>
              </a:solidFill>
              <a:effectLst/>
              <a:uLnTx/>
              <a:uFillTx/>
              <a:latin typeface="CiscoSansTT ExtraLight" panose="020B0303020201020303" pitchFamily="34" charset="0"/>
              <a:ea typeface="ＭＳ Ｐゴシック" charset="0"/>
              <a:cs typeface="CiscoSansTT ExtraLight" panose="020B0303020201020303" pitchFamily="34" charset="0"/>
              <a:sym typeface="Arial"/>
            </a:endParaRPr>
          </a:p>
        </p:txBody>
      </p:sp>
      <p:sp>
        <p:nvSpPr>
          <p:cNvPr id="42" name="Google Shape;791;p99">
            <a:extLst>
              <a:ext uri="{FF2B5EF4-FFF2-40B4-BE49-F238E27FC236}">
                <a16:creationId xmlns:a16="http://schemas.microsoft.com/office/drawing/2014/main" id="{09B97190-1B5A-442F-AF5A-047890C6ED87}"/>
              </a:ext>
            </a:extLst>
          </p:cNvPr>
          <p:cNvSpPr/>
          <p:nvPr/>
        </p:nvSpPr>
        <p:spPr>
          <a:xfrm>
            <a:off x="4416191" y="2652998"/>
            <a:ext cx="1676057" cy="2019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l" defTabSz="91433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rgbClr val="6EBE4A"/>
              </a:buClr>
              <a:buSzPct val="75000"/>
              <a:buFont typeface="Arial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6EBE4A"/>
                </a:solidFill>
                <a:effectLst/>
                <a:uLnTx/>
                <a:uFillTx/>
                <a:latin typeface="CiscoSansTT" panose="020B0503020201020303" pitchFamily="34" charset="0"/>
                <a:ea typeface="ＭＳ Ｐゴシック"/>
                <a:cs typeface="CiscoSansTT" panose="020B0503020201020303" pitchFamily="34" charset="0"/>
                <a:sym typeface="Arial"/>
              </a:rPr>
              <a:t>24x</a:t>
            </a:r>
            <a:r>
              <a: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14284A"/>
                </a:solidFill>
                <a:effectLst/>
                <a:uLnTx/>
                <a:uFillTx/>
                <a:latin typeface="CiscoSansTT ExtraLight"/>
                <a:ea typeface="ＭＳ Ｐゴシック"/>
                <a:cs typeface="CiscoSansTT ExtraLight" panose="020B0303020201020303" pitchFamily="34" charset="0"/>
                <a:sym typeface="Arial"/>
              </a:rPr>
              <a:t> per year</a:t>
            </a: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srgbClr val="14284A"/>
              </a:solidFill>
              <a:effectLst/>
              <a:uLnTx/>
              <a:uFillTx/>
              <a:latin typeface="CiscoSansTT ExtraLight" panose="020B0303020201020303" pitchFamily="34" charset="0"/>
              <a:ea typeface="ＭＳ Ｐゴシック" charset="0"/>
              <a:cs typeface="CiscoSansTT ExtraLight" panose="020B0303020201020303" pitchFamily="34" charset="0"/>
              <a:sym typeface="Arial"/>
            </a:endParaRPr>
          </a:p>
        </p:txBody>
      </p:sp>
      <p:sp>
        <p:nvSpPr>
          <p:cNvPr id="33" name="Google Shape;791;p99">
            <a:extLst>
              <a:ext uri="{FF2B5EF4-FFF2-40B4-BE49-F238E27FC236}">
                <a16:creationId xmlns:a16="http://schemas.microsoft.com/office/drawing/2014/main" id="{4995D16E-C909-4CA3-A578-ECA45FF2DD9E}"/>
              </a:ext>
            </a:extLst>
          </p:cNvPr>
          <p:cNvSpPr/>
          <p:nvPr/>
        </p:nvSpPr>
        <p:spPr>
          <a:xfrm>
            <a:off x="8076098" y="3200048"/>
            <a:ext cx="3574566" cy="2019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l" defTabSz="91433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rgbClr val="FBAB18"/>
              </a:buClr>
              <a:buSzPct val="75000"/>
              <a:buFont typeface="Arial"/>
              <a:buNone/>
              <a:tabLst/>
              <a:defRPr/>
            </a:pPr>
            <a:r>
              <a: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14284A"/>
                </a:solidFill>
                <a:effectLst/>
                <a:uLnTx/>
                <a:uFillTx/>
                <a:latin typeface="CiscoSansTT ExtraLight"/>
                <a:ea typeface="ＭＳ Ｐゴシック"/>
                <a:cs typeface="CiscoSansTT ExtraLight" panose="020B0303020201020303" pitchFamily="34" charset="0"/>
                <a:sym typeface="Arial"/>
              </a:rPr>
              <a:t>Flexible, up to </a:t>
            </a: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FBAB18"/>
                </a:solidFill>
                <a:effectLst/>
                <a:uLnTx/>
                <a:uFillTx/>
                <a:latin typeface="CiscoSansTT" panose="020B0503020201020303" pitchFamily="34" charset="0"/>
                <a:ea typeface="ＭＳ Ｐゴシック"/>
                <a:cs typeface="CiscoSansTT" panose="020B0503020201020303" pitchFamily="34" charset="0"/>
                <a:sym typeface="Arial"/>
              </a:rPr>
              <a:t>48x</a:t>
            </a:r>
            <a:r>
              <a: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14284A"/>
                </a:solidFill>
                <a:effectLst/>
                <a:uLnTx/>
                <a:uFillTx/>
                <a:latin typeface="CiscoSansTT ExtraLight"/>
                <a:ea typeface="ＭＳ Ｐゴシック"/>
                <a:cs typeface="CiscoSansTT ExtraLight" panose="020B0303020201020303" pitchFamily="34" charset="0"/>
                <a:sym typeface="Arial"/>
              </a:rPr>
              <a:t> per year *</a:t>
            </a: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srgbClr val="14284A"/>
              </a:solidFill>
              <a:effectLst/>
              <a:uLnTx/>
              <a:uFillTx/>
              <a:latin typeface="CiscoSansTT ExtraLight" panose="020B0303020201020303" pitchFamily="34" charset="0"/>
              <a:ea typeface="ＭＳ Ｐゴシック" charset="0"/>
              <a:cs typeface="CiscoSansTT ExtraLight" panose="020B0303020201020303" pitchFamily="34" charset="0"/>
              <a:sym typeface="Arial"/>
            </a:endParaRPr>
          </a:p>
        </p:txBody>
      </p:sp>
      <p:sp>
        <p:nvSpPr>
          <p:cNvPr id="43" name="Google Shape;791;p99">
            <a:extLst>
              <a:ext uri="{FF2B5EF4-FFF2-40B4-BE49-F238E27FC236}">
                <a16:creationId xmlns:a16="http://schemas.microsoft.com/office/drawing/2014/main" id="{62D99F8D-D6FB-4F13-800C-F6E80889D89B}"/>
              </a:ext>
            </a:extLst>
          </p:cNvPr>
          <p:cNvSpPr/>
          <p:nvPr/>
        </p:nvSpPr>
        <p:spPr>
          <a:xfrm>
            <a:off x="4416191" y="3200048"/>
            <a:ext cx="1676057" cy="2019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l" defTabSz="91433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rgbClr val="6EBE4A"/>
              </a:buClr>
              <a:buSzPct val="75000"/>
              <a:buFont typeface="Arial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6EBE4A"/>
                </a:solidFill>
                <a:effectLst/>
                <a:uLnTx/>
                <a:uFillTx/>
                <a:latin typeface="CiscoSansTT" panose="020B0503020201020303" pitchFamily="34" charset="0"/>
                <a:ea typeface="ＭＳ Ｐゴシック"/>
                <a:cs typeface="CiscoSansTT" panose="020B0503020201020303" pitchFamily="34" charset="0"/>
                <a:sym typeface="Arial"/>
              </a:rPr>
              <a:t>4x</a:t>
            </a:r>
            <a:r>
              <a: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14284A"/>
                </a:solidFill>
                <a:effectLst/>
                <a:uLnTx/>
                <a:uFillTx/>
                <a:latin typeface="CiscoSansTT ExtraLight"/>
                <a:ea typeface="ＭＳ Ｐゴシック"/>
                <a:cs typeface="CiscoSansTT ExtraLight" panose="020B0303020201020303" pitchFamily="34" charset="0"/>
                <a:sym typeface="Arial"/>
              </a:rPr>
              <a:t> per year</a:t>
            </a: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srgbClr val="14284A"/>
              </a:solidFill>
              <a:effectLst/>
              <a:uLnTx/>
              <a:uFillTx/>
              <a:latin typeface="CiscoSansTT ExtraLight" panose="020B0303020201020303" pitchFamily="34" charset="0"/>
              <a:ea typeface="ＭＳ Ｐゴシック" charset="0"/>
              <a:cs typeface="CiscoSansTT ExtraLight" panose="020B0303020201020303" pitchFamily="34" charset="0"/>
              <a:sym typeface="Arial"/>
            </a:endParaRPr>
          </a:p>
        </p:txBody>
      </p:sp>
      <p:sp>
        <p:nvSpPr>
          <p:cNvPr id="36" name="Google Shape;791;p99">
            <a:extLst>
              <a:ext uri="{FF2B5EF4-FFF2-40B4-BE49-F238E27FC236}">
                <a16:creationId xmlns:a16="http://schemas.microsoft.com/office/drawing/2014/main" id="{F40F0021-6681-4FEA-8563-35C7517E69EB}"/>
              </a:ext>
            </a:extLst>
          </p:cNvPr>
          <p:cNvSpPr/>
          <p:nvPr/>
        </p:nvSpPr>
        <p:spPr>
          <a:xfrm>
            <a:off x="8076098" y="3747100"/>
            <a:ext cx="3574566" cy="2019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l" defTabSz="91433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rgbClr val="FBAB18"/>
              </a:buClr>
              <a:buSzPct val="75000"/>
              <a:buFont typeface="Arial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FBAB18"/>
                </a:solidFill>
                <a:effectLst/>
                <a:uLnTx/>
                <a:uFillTx/>
                <a:latin typeface="CiscoSansTT" panose="020B0503020201020303" pitchFamily="34" charset="0"/>
                <a:ea typeface="ＭＳ Ｐゴシック"/>
                <a:cs typeface="CiscoSansTT" panose="020B0503020201020303" pitchFamily="34" charset="0"/>
                <a:sym typeface="Arial"/>
              </a:rPr>
              <a:t>No limit, </a:t>
            </a:r>
            <a:r>
              <a: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14284A"/>
                </a:solidFill>
                <a:effectLst/>
                <a:uLnTx/>
                <a:uFillTx/>
                <a:latin typeface="CiscoSansTT ExtraLight"/>
                <a:ea typeface="ＭＳ Ｐゴシック"/>
                <a:cs typeface="CiscoSansTT ExtraLight" panose="020B0303020201020303" pitchFamily="34" charset="0"/>
                <a:sym typeface="Arial"/>
              </a:rPr>
              <a:t>full catalog access</a:t>
            </a:r>
          </a:p>
        </p:txBody>
      </p:sp>
      <p:sp>
        <p:nvSpPr>
          <p:cNvPr id="44" name="Google Shape;791;p99">
            <a:extLst>
              <a:ext uri="{FF2B5EF4-FFF2-40B4-BE49-F238E27FC236}">
                <a16:creationId xmlns:a16="http://schemas.microsoft.com/office/drawing/2014/main" id="{298B4E4D-24CE-4DF4-9C91-48354F4D752F}"/>
              </a:ext>
            </a:extLst>
          </p:cNvPr>
          <p:cNvSpPr/>
          <p:nvPr/>
        </p:nvSpPr>
        <p:spPr>
          <a:xfrm>
            <a:off x="4416191" y="3747100"/>
            <a:ext cx="2380849" cy="2019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l" defTabSz="91433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rgbClr val="6EBE4A"/>
              </a:buClr>
              <a:buSzPct val="75000"/>
              <a:buFont typeface="Arial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6EBE4A"/>
                </a:solidFill>
                <a:effectLst/>
                <a:uLnTx/>
                <a:uFillTx/>
                <a:latin typeface="CiscoSansTT" panose="020B0503020201020303" pitchFamily="34" charset="0"/>
                <a:ea typeface="ＭＳ Ｐゴシック"/>
                <a:cs typeface="CiscoSansTT" panose="020B0503020201020303" pitchFamily="34" charset="0"/>
                <a:sym typeface="Arial"/>
              </a:rPr>
              <a:t>No</a:t>
            </a:r>
            <a:r>
              <a: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14284A"/>
                </a:solidFill>
                <a:effectLst/>
                <a:uLnTx/>
                <a:uFillTx/>
                <a:latin typeface="CiscoSansTT" panose="020B0503020201020303" pitchFamily="34" charset="0"/>
                <a:ea typeface="ＭＳ Ｐゴシック"/>
                <a:cs typeface="CiscoSansTT" panose="020B0503020201020303" pitchFamily="34" charset="0"/>
                <a:sym typeface="Arial"/>
              </a:rPr>
              <a:t> </a:t>
            </a: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6EBE4A"/>
                </a:solidFill>
                <a:effectLst/>
                <a:uLnTx/>
                <a:uFillTx/>
                <a:latin typeface="CiscoSansTT" panose="020B0503020201020303" pitchFamily="34" charset="0"/>
                <a:ea typeface="ＭＳ Ｐゴシック"/>
                <a:cs typeface="CiscoSansTT" panose="020B0503020201020303" pitchFamily="34" charset="0"/>
                <a:sym typeface="Arial"/>
              </a:rPr>
              <a:t>limit, </a:t>
            </a:r>
            <a:r>
              <a: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14284A"/>
                </a:solidFill>
                <a:effectLst/>
                <a:uLnTx/>
                <a:uFillTx/>
                <a:latin typeface="CiscoSansTT ExtraLight"/>
                <a:ea typeface="ＭＳ Ｐゴシック"/>
                <a:cs typeface="CiscoSansTT ExtraLight" panose="020B0303020201020303" pitchFamily="34" charset="0"/>
                <a:sym typeface="Arial"/>
              </a:rPr>
              <a:t>full catalog access</a:t>
            </a:r>
          </a:p>
        </p:txBody>
      </p:sp>
      <p:sp>
        <p:nvSpPr>
          <p:cNvPr id="37" name="Google Shape;791;p99">
            <a:extLst>
              <a:ext uri="{FF2B5EF4-FFF2-40B4-BE49-F238E27FC236}">
                <a16:creationId xmlns:a16="http://schemas.microsoft.com/office/drawing/2014/main" id="{933B1081-446A-470D-922B-6DE335B17E0A}"/>
              </a:ext>
            </a:extLst>
          </p:cNvPr>
          <p:cNvSpPr/>
          <p:nvPr/>
        </p:nvSpPr>
        <p:spPr>
          <a:xfrm>
            <a:off x="8076098" y="4294148"/>
            <a:ext cx="3574566" cy="2019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l" defTabSz="91433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rgbClr val="FBAB18"/>
              </a:buClr>
              <a:buSzPct val="75000"/>
              <a:buFont typeface="Arial"/>
              <a:buNone/>
              <a:tabLst/>
              <a:defRPr/>
            </a:pPr>
            <a:r>
              <a: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14284A"/>
                </a:solidFill>
                <a:effectLst/>
                <a:uLnTx/>
                <a:uFillTx/>
                <a:latin typeface="CiscoSansTT ExtraLight"/>
                <a:ea typeface="ＭＳ Ｐゴシック"/>
                <a:cs typeface="CiscoSansTT ExtraLight" panose="020B0303020201020303" pitchFamily="34" charset="0"/>
                <a:sym typeface="Arial"/>
              </a:rPr>
              <a:t>Flexible: up to </a:t>
            </a: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FBAB18"/>
                </a:solidFill>
                <a:effectLst/>
                <a:uLnTx/>
                <a:uFillTx/>
                <a:latin typeface="CiscoSansTT" panose="020B0503020201020303" pitchFamily="34" charset="0"/>
                <a:ea typeface="ＭＳ Ｐゴシック"/>
                <a:cs typeface="CiscoSansTT" panose="020B0503020201020303" pitchFamily="34" charset="0"/>
                <a:sym typeface="Arial"/>
              </a:rPr>
              <a:t>48x </a:t>
            </a:r>
            <a:r>
              <a: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14284A"/>
                </a:solidFill>
                <a:effectLst/>
                <a:uLnTx/>
                <a:uFillTx/>
                <a:latin typeface="CiscoSansTT ExtraLight"/>
                <a:ea typeface="ＭＳ Ｐゴシック"/>
                <a:cs typeface="CiscoSansTT ExtraLight" panose="020B0303020201020303" pitchFamily="34" charset="0"/>
                <a:sym typeface="Arial"/>
              </a:rPr>
              <a:t>per year *</a:t>
            </a: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srgbClr val="14284A"/>
              </a:solidFill>
              <a:effectLst/>
              <a:uLnTx/>
              <a:uFillTx/>
              <a:latin typeface="CiscoSansTT ExtraLight" panose="020B0303020201020303" pitchFamily="34" charset="0"/>
              <a:ea typeface="ＭＳ Ｐゴシック" charset="0"/>
              <a:cs typeface="CiscoSansTT ExtraLight" panose="020B0303020201020303" pitchFamily="34" charset="0"/>
              <a:sym typeface="Arial"/>
            </a:endParaRPr>
          </a:p>
        </p:txBody>
      </p:sp>
      <p:sp>
        <p:nvSpPr>
          <p:cNvPr id="45" name="Google Shape;791;p99">
            <a:extLst>
              <a:ext uri="{FF2B5EF4-FFF2-40B4-BE49-F238E27FC236}">
                <a16:creationId xmlns:a16="http://schemas.microsoft.com/office/drawing/2014/main" id="{6E61C582-93EC-4D25-9A49-609D32BE855B}"/>
              </a:ext>
            </a:extLst>
          </p:cNvPr>
          <p:cNvSpPr/>
          <p:nvPr/>
        </p:nvSpPr>
        <p:spPr>
          <a:xfrm>
            <a:off x="4416191" y="4294148"/>
            <a:ext cx="1676057" cy="2019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l" defTabSz="91433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rgbClr val="6EBE4A"/>
              </a:buClr>
              <a:buSzPct val="75000"/>
              <a:buFont typeface="Arial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6EBE4A"/>
                </a:solidFill>
                <a:effectLst/>
                <a:uLnTx/>
                <a:uFillTx/>
                <a:latin typeface="CiscoSansTT" panose="020B0503020201020303" pitchFamily="34" charset="0"/>
                <a:ea typeface="ＭＳ Ｐゴシック"/>
                <a:cs typeface="CiscoSansTT" panose="020B0503020201020303" pitchFamily="34" charset="0"/>
                <a:sym typeface="Arial"/>
              </a:rPr>
              <a:t>4x </a:t>
            </a:r>
            <a:r>
              <a: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14284A"/>
                </a:solidFill>
                <a:effectLst/>
                <a:uLnTx/>
                <a:uFillTx/>
                <a:latin typeface="CiscoSansTT ExtraLight"/>
                <a:ea typeface="ＭＳ Ｐゴシック"/>
                <a:cs typeface="CiscoSansTT ExtraLight" panose="020B0303020201020303" pitchFamily="34" charset="0"/>
                <a:sym typeface="Arial"/>
              </a:rPr>
              <a:t>per year</a:t>
            </a:r>
          </a:p>
        </p:txBody>
      </p:sp>
      <p:sp>
        <p:nvSpPr>
          <p:cNvPr id="39" name="Google Shape;791;p99">
            <a:extLst>
              <a:ext uri="{FF2B5EF4-FFF2-40B4-BE49-F238E27FC236}">
                <a16:creationId xmlns:a16="http://schemas.microsoft.com/office/drawing/2014/main" id="{37EAB2A0-E570-4546-9D1F-BB948D070BDE}"/>
              </a:ext>
            </a:extLst>
          </p:cNvPr>
          <p:cNvSpPr/>
          <p:nvPr/>
        </p:nvSpPr>
        <p:spPr>
          <a:xfrm>
            <a:off x="8076098" y="4841198"/>
            <a:ext cx="3574566" cy="2019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l" defTabSz="91433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rgbClr val="FBAB18"/>
              </a:buClr>
              <a:buSzPct val="75000"/>
              <a:buFont typeface="Arial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FBAB18"/>
                </a:solidFill>
                <a:effectLst/>
                <a:uLnTx/>
                <a:uFillTx/>
                <a:latin typeface="CiscoSansTT" panose="020B0503020201020303" pitchFamily="34" charset="0"/>
                <a:ea typeface="ＭＳ Ｐゴシック"/>
                <a:cs typeface="CiscoSansTT" panose="020B0503020201020303" pitchFamily="34" charset="0"/>
                <a:sym typeface="Arial"/>
              </a:rPr>
              <a:t>4x</a:t>
            </a: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14284A"/>
                </a:solidFill>
                <a:effectLst/>
                <a:uLnTx/>
                <a:uFillTx/>
                <a:latin typeface="CiscoSansTT" panose="020B0503020201020303" pitchFamily="34" charset="0"/>
                <a:ea typeface="ＭＳ Ｐゴシック"/>
                <a:cs typeface="CiscoSansTT" panose="020B0503020201020303" pitchFamily="34" charset="0"/>
                <a:sym typeface="Arial"/>
              </a:rPr>
              <a:t> </a:t>
            </a:r>
            <a:r>
              <a: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14284A"/>
                </a:solidFill>
                <a:effectLst/>
                <a:uLnTx/>
                <a:uFillTx/>
                <a:latin typeface="CiscoSansTT ExtraLight"/>
                <a:ea typeface="ＭＳ Ｐゴシック"/>
                <a:cs typeface="CiscoSansTT ExtraLight" panose="020B0303020201020303" pitchFamily="34" charset="0"/>
                <a:sym typeface="Arial"/>
              </a:rPr>
              <a:t>per year *</a:t>
            </a: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srgbClr val="14284A"/>
              </a:solidFill>
              <a:effectLst/>
              <a:uLnTx/>
              <a:uFillTx/>
              <a:latin typeface="CiscoSansTT ExtraLight" panose="020B0303020201020303" pitchFamily="34" charset="0"/>
              <a:ea typeface="ＭＳ Ｐゴシック" charset="0"/>
              <a:cs typeface="CiscoSansTT ExtraLight" panose="020B0303020201020303" pitchFamily="34" charset="0"/>
              <a:sym typeface="Arial"/>
            </a:endParaRPr>
          </a:p>
        </p:txBody>
      </p:sp>
      <p:sp>
        <p:nvSpPr>
          <p:cNvPr id="46" name="Google Shape;791;p99">
            <a:extLst>
              <a:ext uri="{FF2B5EF4-FFF2-40B4-BE49-F238E27FC236}">
                <a16:creationId xmlns:a16="http://schemas.microsoft.com/office/drawing/2014/main" id="{981BAB02-700B-46DA-861F-55D0968AEA67}"/>
              </a:ext>
            </a:extLst>
          </p:cNvPr>
          <p:cNvSpPr/>
          <p:nvPr/>
        </p:nvSpPr>
        <p:spPr>
          <a:xfrm>
            <a:off x="4416191" y="4841198"/>
            <a:ext cx="1676057" cy="2019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l" defTabSz="91433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rgbClr val="6EBE4A"/>
              </a:buClr>
              <a:buSzPct val="75000"/>
              <a:buFont typeface="Arial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6EBE4A"/>
                </a:solidFill>
                <a:effectLst/>
                <a:uLnTx/>
                <a:uFillTx/>
                <a:latin typeface="CiscoSansTT" panose="020B0503020201020303" pitchFamily="34" charset="0"/>
                <a:ea typeface="ＭＳ Ｐゴシック"/>
                <a:cs typeface="CiscoSansTT" panose="020B0503020201020303" pitchFamily="34" charset="0"/>
                <a:sym typeface="Arial"/>
              </a:rPr>
              <a:t>4x</a:t>
            </a: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14284A"/>
                </a:solidFill>
                <a:effectLst/>
                <a:uLnTx/>
                <a:uFillTx/>
                <a:latin typeface="CiscoSansTT ExtraLight"/>
                <a:ea typeface="ＭＳ Ｐゴシック"/>
                <a:cs typeface="CiscoSansTT ExtraLight" panose="020B0303020201020303" pitchFamily="34" charset="0"/>
                <a:sym typeface="Arial"/>
              </a:rPr>
              <a:t> </a:t>
            </a:r>
            <a:r>
              <a: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14284A"/>
                </a:solidFill>
                <a:effectLst/>
                <a:uLnTx/>
                <a:uFillTx/>
                <a:latin typeface="CiscoSansTT ExtraLight"/>
                <a:ea typeface="ＭＳ Ｐゴシック"/>
                <a:cs typeface="CiscoSansTT ExtraLight" panose="020B0303020201020303" pitchFamily="34" charset="0"/>
                <a:sym typeface="Arial"/>
              </a:rPr>
              <a:t>per year</a:t>
            </a: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srgbClr val="14284A"/>
              </a:solidFill>
              <a:effectLst/>
              <a:uLnTx/>
              <a:uFillTx/>
              <a:latin typeface="CiscoSansTT ExtraLight" panose="020B0303020201020303" pitchFamily="34" charset="0"/>
              <a:ea typeface="ＭＳ Ｐゴシック" charset="0"/>
              <a:cs typeface="CiscoSansTT ExtraLight" panose="020B0303020201020303" pitchFamily="34" charset="0"/>
              <a:sym typeface="Arial"/>
            </a:endParaRPr>
          </a:p>
        </p:txBody>
      </p:sp>
      <p:sp>
        <p:nvSpPr>
          <p:cNvPr id="40" name="Google Shape;791;p99">
            <a:extLst>
              <a:ext uri="{FF2B5EF4-FFF2-40B4-BE49-F238E27FC236}">
                <a16:creationId xmlns:a16="http://schemas.microsoft.com/office/drawing/2014/main" id="{BFD67764-B4BA-4C77-B0C3-5A4EF8529A85}"/>
              </a:ext>
            </a:extLst>
          </p:cNvPr>
          <p:cNvSpPr/>
          <p:nvPr/>
        </p:nvSpPr>
        <p:spPr>
          <a:xfrm>
            <a:off x="8076098" y="5388251"/>
            <a:ext cx="3574566" cy="2019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l" defTabSz="91433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rgbClr val="FBAB18"/>
              </a:buClr>
              <a:buSzPct val="75000"/>
              <a:buFont typeface="Arial"/>
              <a:buNone/>
              <a:tabLst/>
              <a:defRPr/>
            </a:pPr>
            <a:r>
              <a: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14284A"/>
                </a:solidFill>
                <a:effectLst/>
                <a:uLnTx/>
                <a:uFillTx/>
                <a:latin typeface="CiscoSansTT ExtraLight"/>
                <a:ea typeface="ＭＳ Ｐゴシック"/>
                <a:cs typeface="CiscoSansTT ExtraLight" panose="020B0303020201020303" pitchFamily="34" charset="0"/>
                <a:sym typeface="Arial"/>
              </a:rPr>
              <a:t>Flexible, up to </a:t>
            </a: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FBAB18"/>
                </a:solidFill>
                <a:effectLst/>
                <a:uLnTx/>
                <a:uFillTx/>
                <a:latin typeface="CiscoSansTT" panose="020B0503020201020303" pitchFamily="34" charset="0"/>
                <a:ea typeface="ＭＳ Ｐゴシック"/>
                <a:cs typeface="CiscoSansTT" panose="020B0503020201020303" pitchFamily="34" charset="0"/>
                <a:sym typeface="Arial"/>
              </a:rPr>
              <a:t>48x</a:t>
            </a: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14284A"/>
                </a:solidFill>
                <a:effectLst/>
                <a:uLnTx/>
                <a:uFillTx/>
                <a:latin typeface="CiscoSansTT ExtraLight"/>
                <a:ea typeface="ＭＳ Ｐゴシック"/>
                <a:cs typeface="CiscoSansTT ExtraLight" panose="020B0303020201020303" pitchFamily="34" charset="0"/>
                <a:sym typeface="Arial"/>
              </a:rPr>
              <a:t> </a:t>
            </a:r>
            <a:r>
              <a: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14284A"/>
                </a:solidFill>
                <a:effectLst/>
                <a:uLnTx/>
                <a:uFillTx/>
                <a:latin typeface="CiscoSansTT ExtraLight"/>
                <a:ea typeface="ＭＳ Ｐゴシック"/>
                <a:cs typeface="CiscoSansTT ExtraLight" panose="020B0303020201020303" pitchFamily="34" charset="0"/>
                <a:sym typeface="Arial"/>
              </a:rPr>
              <a:t>per year *</a:t>
            </a: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srgbClr val="14284A"/>
              </a:solidFill>
              <a:effectLst/>
              <a:uLnTx/>
              <a:uFillTx/>
              <a:latin typeface="CiscoSansTT ExtraLight" panose="020B0303020201020303" pitchFamily="34" charset="0"/>
              <a:ea typeface="ＭＳ Ｐゴシック" charset="0"/>
              <a:cs typeface="CiscoSansTT ExtraLight" panose="020B0303020201020303" pitchFamily="34" charset="0"/>
              <a:sym typeface="Arial"/>
            </a:endParaRPr>
          </a:p>
        </p:txBody>
      </p:sp>
      <p:sp>
        <p:nvSpPr>
          <p:cNvPr id="47" name="Google Shape;791;p99">
            <a:extLst>
              <a:ext uri="{FF2B5EF4-FFF2-40B4-BE49-F238E27FC236}">
                <a16:creationId xmlns:a16="http://schemas.microsoft.com/office/drawing/2014/main" id="{18E733BC-B9CD-4F6E-84C5-B7E2590FBF4F}"/>
              </a:ext>
            </a:extLst>
          </p:cNvPr>
          <p:cNvSpPr/>
          <p:nvPr/>
        </p:nvSpPr>
        <p:spPr>
          <a:xfrm>
            <a:off x="4416191" y="5388251"/>
            <a:ext cx="1676057" cy="2019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l" defTabSz="91433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rgbClr val="6EBE4A"/>
              </a:buClr>
              <a:buSzPct val="75000"/>
              <a:buFont typeface="Arial"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6EBE4A"/>
                </a:solidFill>
                <a:effectLst/>
                <a:uLnTx/>
                <a:uFillTx/>
                <a:latin typeface="CiscoSansTT" panose="020B0503020201020303" pitchFamily="34" charset="0"/>
                <a:ea typeface="ＭＳ Ｐゴシック"/>
                <a:cs typeface="CiscoSansTT" panose="020B0503020201020303" pitchFamily="34" charset="0"/>
                <a:sym typeface="Arial"/>
              </a:rPr>
              <a:t>6x </a:t>
            </a:r>
            <a:r>
              <a:rPr kumimoji="0" lang="en-US" sz="1100" b="0" i="0" u="none" strike="noStrike" kern="0" cap="none" spc="0" normalizeH="0" baseline="0" noProof="0">
                <a:ln>
                  <a:noFill/>
                </a:ln>
                <a:solidFill>
                  <a:srgbClr val="14284A"/>
                </a:solidFill>
                <a:effectLst/>
                <a:uLnTx/>
                <a:uFillTx/>
                <a:latin typeface="CiscoSansTT ExtraLight"/>
                <a:ea typeface="ＭＳ Ｐゴシック"/>
                <a:cs typeface="CiscoSansTT ExtraLight" panose="020B0303020201020303" pitchFamily="34" charset="0"/>
                <a:sym typeface="Arial"/>
              </a:rPr>
              <a:t>per year</a:t>
            </a: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srgbClr val="14284A"/>
              </a:solidFill>
              <a:effectLst/>
              <a:uLnTx/>
              <a:uFillTx/>
              <a:latin typeface="CiscoSansTT ExtraLight" panose="020B0303020201020303" pitchFamily="34" charset="0"/>
              <a:ea typeface="ＭＳ Ｐゴシック" charset="0"/>
              <a:cs typeface="CiscoSansTT ExtraLight" panose="020B0303020201020303" pitchFamily="34" charset="0"/>
              <a:sym typeface="Arial"/>
            </a:endParaRPr>
          </a:p>
        </p:txBody>
      </p:sp>
      <p:sp>
        <p:nvSpPr>
          <p:cNvPr id="59" name="Google Shape;791;p99">
            <a:extLst>
              <a:ext uri="{FF2B5EF4-FFF2-40B4-BE49-F238E27FC236}">
                <a16:creationId xmlns:a16="http://schemas.microsoft.com/office/drawing/2014/main" id="{182878EA-4BA6-423F-B6A9-888E010F98DB}"/>
              </a:ext>
            </a:extLst>
          </p:cNvPr>
          <p:cNvSpPr/>
          <p:nvPr/>
        </p:nvSpPr>
        <p:spPr>
          <a:xfrm>
            <a:off x="1283018" y="5382552"/>
            <a:ext cx="2775600" cy="2133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l" defTabSz="91433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>
                <a:srgbClr val="6EBE4A"/>
              </a:buClr>
              <a:buSzPct val="75000"/>
              <a:buFont typeface="Arial"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14284A"/>
                </a:solidFill>
                <a:effectLst/>
                <a:uLnTx/>
                <a:uFillTx/>
                <a:latin typeface="CiscoSansTT ExtraLight"/>
                <a:ea typeface="ＭＳ Ｐゴシック" charset="0"/>
                <a:cs typeface="CiscoSansTT" panose="020B0503020201020303" pitchFamily="34" charset="0"/>
                <a:sym typeface="Arial"/>
              </a:rPr>
              <a:t>Accelerators</a:t>
            </a:r>
          </a:p>
        </p:txBody>
      </p:sp>
      <p:sp>
        <p:nvSpPr>
          <p:cNvPr id="19" name="Footer Placeholder 18">
            <a:extLst>
              <a:ext uri="{FF2B5EF4-FFF2-40B4-BE49-F238E27FC236}">
                <a16:creationId xmlns:a16="http://schemas.microsoft.com/office/drawing/2014/main" id="{C5D1E529-DD58-4228-A2D9-AB456E6EEC0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4953000" y="6264276"/>
            <a:ext cx="6519333" cy="353484"/>
          </a:xfrm>
        </p:spPr>
        <p:txBody>
          <a:bodyPr anchor="b"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800" b="0" i="0" u="none" strike="noStrike" kern="0" cap="none" spc="0" normalizeH="0" baseline="0" noProof="0">
                <a:ln>
                  <a:noFill/>
                </a:ln>
                <a:solidFill>
                  <a:srgbClr val="FFFFFF">
                    <a:lumMod val="65000"/>
                  </a:srgbClr>
                </a:solidFill>
                <a:effectLst/>
                <a:uLnTx/>
                <a:uFillTx/>
                <a:latin typeface="CiscoSansTT ExtraLight"/>
                <a:cs typeface="Arial"/>
                <a:sym typeface="Arial"/>
              </a:rPr>
              <a:t>NOTE: Service consumable 1 at time (Sequential) and have variable duration. For Operational Insights, 1 deliverable per architecture at a time. Above quantities are estimates based on typical consumption profile Workshops scheduled in advance..</a:t>
            </a:r>
          </a:p>
        </p:txBody>
      </p:sp>
    </p:spTree>
    <p:extLst>
      <p:ext uri="{BB962C8B-B14F-4D97-AF65-F5344CB8AC3E}">
        <p14:creationId xmlns:p14="http://schemas.microsoft.com/office/powerpoint/2010/main" val="1169014460"/>
      </p:ext>
    </p:extLst>
  </p:cSld>
  <p:clrMapOvr>
    <a:masterClrMapping/>
  </p:clrMapOvr>
  <p:transition>
    <p:fade/>
  </p:transition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8" name="Group 17">
            <a:extLst>
              <a:ext uri="{FF2B5EF4-FFF2-40B4-BE49-F238E27FC236}">
                <a16:creationId xmlns:a16="http://schemas.microsoft.com/office/drawing/2014/main" id="{B4160881-E7D5-42CF-9997-38D4B7D1D35D}"/>
              </a:ext>
            </a:extLst>
          </p:cNvPr>
          <p:cNvGrpSpPr/>
          <p:nvPr/>
        </p:nvGrpSpPr>
        <p:grpSpPr>
          <a:xfrm>
            <a:off x="4298953" y="-21"/>
            <a:ext cx="7893049" cy="6858021"/>
            <a:chOff x="3224214" y="-16"/>
            <a:chExt cx="5919787" cy="5143516"/>
          </a:xfrm>
        </p:grpSpPr>
        <p:pic>
          <p:nvPicPr>
            <p:cNvPr id="37" name="Picture 36" descr="Two people looking at a computer&#10;&#10;Description automatically generated">
              <a:extLst>
                <a:ext uri="{FF2B5EF4-FFF2-40B4-BE49-F238E27FC236}">
                  <a16:creationId xmlns:a16="http://schemas.microsoft.com/office/drawing/2014/main" id="{5FE6A8C3-3728-4C40-8274-28D69E6FC851}"/>
                </a:ext>
              </a:extLst>
            </p:cNvPr>
            <p:cNvPicPr>
              <a:picLocks/>
            </p:cNvPicPr>
            <p:nvPr/>
          </p:nvPicPr>
          <p:blipFill rotWithShape="1">
            <a:blip r:embed="rId3" cstate="print">
              <a:extLst>
                <a:ext uri="{BEBA8EAE-BF5A-486C-A8C5-ECC9F3942E4B}">
                  <a14:imgProps xmlns:a14="http://schemas.microsoft.com/office/drawing/2010/main">
                    <a14:imgLayer r:embed="rId4">
                      <a14:imgEffect>
                        <a14:saturation sat="33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 l="24284" t="1" r="11037" b="353"/>
            <a:stretch/>
          </p:blipFill>
          <p:spPr>
            <a:xfrm>
              <a:off x="6182539" y="-16"/>
              <a:ext cx="1482300" cy="1714500"/>
            </a:xfrm>
            <a:prstGeom prst="rect">
              <a:avLst/>
            </a:prstGeom>
          </p:spPr>
        </p:pic>
        <p:pic>
          <p:nvPicPr>
            <p:cNvPr id="36" name="Picture 35" descr="A person standing in front of a window&#10;&#10;Description automatically generated">
              <a:extLst>
                <a:ext uri="{FF2B5EF4-FFF2-40B4-BE49-F238E27FC236}">
                  <a16:creationId xmlns:a16="http://schemas.microsoft.com/office/drawing/2014/main" id="{FCC7B89D-E3A3-4524-A632-C4ABE36EF850}"/>
                </a:ext>
              </a:extLst>
            </p:cNvPr>
            <p:cNvPicPr>
              <a:picLocks/>
            </p:cNvPicPr>
            <p:nvPr/>
          </p:nvPicPr>
          <p:blipFill rotWithShape="1">
            <a:blip r:embed="rId5" cstate="print">
              <a:extLst>
                <a:ext uri="{BEBA8EAE-BF5A-486C-A8C5-ECC9F3942E4B}">
                  <a14:imgProps xmlns:a14="http://schemas.microsoft.com/office/drawing/2010/main">
                    <a14:imgLayer r:embed="rId6">
                      <a14:imgEffect>
                        <a14:saturation sat="33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 l="25025" r="10204"/>
            <a:stretch/>
          </p:blipFill>
          <p:spPr>
            <a:xfrm>
              <a:off x="4703376" y="-16"/>
              <a:ext cx="1482300" cy="1714500"/>
            </a:xfrm>
            <a:prstGeom prst="rect">
              <a:avLst/>
            </a:prstGeom>
          </p:spPr>
        </p:pic>
        <p:pic>
          <p:nvPicPr>
            <p:cNvPr id="35" name="Picture 34" descr="A room filled with furniture and a large window&#10;&#10;Description automatically generated">
              <a:extLst>
                <a:ext uri="{FF2B5EF4-FFF2-40B4-BE49-F238E27FC236}">
                  <a16:creationId xmlns:a16="http://schemas.microsoft.com/office/drawing/2014/main" id="{8B3113DB-955C-4E23-A371-80A499F8ACBB}"/>
                </a:ext>
              </a:extLst>
            </p:cNvPr>
            <p:cNvPicPr>
              <a:picLocks/>
            </p:cNvPicPr>
            <p:nvPr/>
          </p:nvPicPr>
          <p:blipFill rotWithShape="1">
            <a:blip r:embed="rId7" cstate="print">
              <a:extLst>
                <a:ext uri="{BEBA8EAE-BF5A-486C-A8C5-ECC9F3942E4B}">
                  <a14:imgProps xmlns:a14="http://schemas.microsoft.com/office/drawing/2010/main">
                    <a14:imgLayer r:embed="rId8">
                      <a14:imgEffect>
                        <a14:saturation sat="33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 l="11279" t="1" r="24042" b="353"/>
            <a:stretch/>
          </p:blipFill>
          <p:spPr>
            <a:xfrm>
              <a:off x="3224214" y="-16"/>
              <a:ext cx="1482300" cy="1714500"/>
            </a:xfrm>
            <a:prstGeom prst="rect">
              <a:avLst/>
            </a:prstGeom>
          </p:spPr>
        </p:pic>
        <p:pic>
          <p:nvPicPr>
            <p:cNvPr id="39" name="Picture 38">
              <a:extLst>
                <a:ext uri="{FF2B5EF4-FFF2-40B4-BE49-F238E27FC236}">
                  <a16:creationId xmlns:a16="http://schemas.microsoft.com/office/drawing/2014/main" id="{828D499F-E12B-4B72-8192-CC3ABEAF2B73}"/>
                </a:ext>
              </a:extLst>
            </p:cNvPr>
            <p:cNvPicPr>
              <a:picLocks/>
            </p:cNvPicPr>
            <p:nvPr/>
          </p:nvPicPr>
          <p:blipFill rotWithShape="1">
            <a:blip r:embed="rId9" cstate="print">
              <a:extLst>
                <a:ext uri="{BEBA8EAE-BF5A-486C-A8C5-ECC9F3942E4B}">
                  <a14:imgProps xmlns:a14="http://schemas.microsoft.com/office/drawing/2010/main">
                    <a14:imgLayer r:embed="rId10">
                      <a14:imgEffect>
                        <a14:saturation sat="33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 l="8880" t="1" r="26441" b="353"/>
            <a:stretch/>
          </p:blipFill>
          <p:spPr>
            <a:xfrm>
              <a:off x="3224214" y="1714492"/>
              <a:ext cx="1482300" cy="1714500"/>
            </a:xfrm>
            <a:prstGeom prst="rect">
              <a:avLst/>
            </a:prstGeom>
          </p:spPr>
        </p:pic>
        <p:pic>
          <p:nvPicPr>
            <p:cNvPr id="40" name="Picture 39" descr="A person standing in front of a store&#10;&#10;Description automatically generated">
              <a:extLst>
                <a:ext uri="{FF2B5EF4-FFF2-40B4-BE49-F238E27FC236}">
                  <a16:creationId xmlns:a16="http://schemas.microsoft.com/office/drawing/2014/main" id="{984DD153-37C3-40F6-8571-AE9BCEE91BAA}"/>
                </a:ext>
              </a:extLst>
            </p:cNvPr>
            <p:cNvPicPr>
              <a:picLocks/>
            </p:cNvPicPr>
            <p:nvPr/>
          </p:nvPicPr>
          <p:blipFill rotWithShape="1">
            <a:blip r:embed="rId11" cstate="print">
              <a:extLst>
                <a:ext uri="{BEBA8EAE-BF5A-486C-A8C5-ECC9F3942E4B}">
                  <a14:imgProps xmlns:a14="http://schemas.microsoft.com/office/drawing/2010/main">
                    <a14:imgLayer r:embed="rId12">
                      <a14:imgEffect>
                        <a14:saturation sat="33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 l="20582" r="14739" b="353"/>
            <a:stretch/>
          </p:blipFill>
          <p:spPr>
            <a:xfrm>
              <a:off x="4703376" y="1714492"/>
              <a:ext cx="1482300" cy="1714500"/>
            </a:xfrm>
            <a:prstGeom prst="rect">
              <a:avLst/>
            </a:prstGeom>
          </p:spPr>
        </p:pic>
        <p:pic>
          <p:nvPicPr>
            <p:cNvPr id="41" name="Picture 40" descr="A person looking at the camera&#10;&#10;Description automatically generated">
              <a:extLst>
                <a:ext uri="{FF2B5EF4-FFF2-40B4-BE49-F238E27FC236}">
                  <a16:creationId xmlns:a16="http://schemas.microsoft.com/office/drawing/2014/main" id="{FABB4791-65D1-44FB-9968-0845F27AE95E}"/>
                </a:ext>
              </a:extLst>
            </p:cNvPr>
            <p:cNvPicPr>
              <a:picLocks/>
            </p:cNvPicPr>
            <p:nvPr/>
          </p:nvPicPr>
          <p:blipFill rotWithShape="1">
            <a:blip r:embed="rId13" cstate="print">
              <a:extLst>
                <a:ext uri="{BEBA8EAE-BF5A-486C-A8C5-ECC9F3942E4B}">
                  <a14:imgProps xmlns:a14="http://schemas.microsoft.com/office/drawing/2010/main">
                    <a14:imgLayer r:embed="rId14">
                      <a14:imgEffect>
                        <a14:saturation sat="33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 r="38158" b="4698"/>
            <a:stretch/>
          </p:blipFill>
          <p:spPr>
            <a:xfrm>
              <a:off x="6182539" y="1714492"/>
              <a:ext cx="1482300" cy="1714500"/>
            </a:xfrm>
            <a:prstGeom prst="rect">
              <a:avLst/>
            </a:prstGeom>
          </p:spPr>
        </p:pic>
        <p:pic>
          <p:nvPicPr>
            <p:cNvPr id="43" name="Picture 42" descr="A group of people looking at a computer&#10;&#10;Description automatically generated">
              <a:extLst>
                <a:ext uri="{FF2B5EF4-FFF2-40B4-BE49-F238E27FC236}">
                  <a16:creationId xmlns:a16="http://schemas.microsoft.com/office/drawing/2014/main" id="{2BE9B5D5-4AF7-467F-9B8D-1A568BB34568}"/>
                </a:ext>
              </a:extLst>
            </p:cNvPr>
            <p:cNvPicPr>
              <a:picLocks/>
            </p:cNvPicPr>
            <p:nvPr/>
          </p:nvPicPr>
          <p:blipFill rotWithShape="1">
            <a:blip r:embed="rId15" cstate="print">
              <a:extLst>
                <a:ext uri="{BEBA8EAE-BF5A-486C-A8C5-ECC9F3942E4B}">
                  <a14:imgProps xmlns:a14="http://schemas.microsoft.com/office/drawing/2010/main">
                    <a14:imgLayer r:embed="rId16">
                      <a14:imgEffect>
                        <a14:saturation sat="33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 l="34702" r="389" b="-8"/>
            <a:stretch/>
          </p:blipFill>
          <p:spPr>
            <a:xfrm>
              <a:off x="3224214" y="3429000"/>
              <a:ext cx="1482300" cy="1714500"/>
            </a:xfrm>
            <a:prstGeom prst="rect">
              <a:avLst/>
            </a:prstGeom>
          </p:spPr>
        </p:pic>
        <p:pic>
          <p:nvPicPr>
            <p:cNvPr id="44" name="Picture 43" descr="A person in glasses looking at the camera&#10;&#10;Description automatically generated">
              <a:extLst>
                <a:ext uri="{FF2B5EF4-FFF2-40B4-BE49-F238E27FC236}">
                  <a16:creationId xmlns:a16="http://schemas.microsoft.com/office/drawing/2014/main" id="{08979F24-133C-499B-B9FD-E1ECE4CD0708}"/>
                </a:ext>
              </a:extLst>
            </p:cNvPr>
            <p:cNvPicPr>
              <a:picLocks/>
            </p:cNvPicPr>
            <p:nvPr/>
          </p:nvPicPr>
          <p:blipFill rotWithShape="1">
            <a:blip r:embed="rId17" cstate="print">
              <a:extLst>
                <a:ext uri="{BEBA8EAE-BF5A-486C-A8C5-ECC9F3942E4B}">
                  <a14:imgProps xmlns:a14="http://schemas.microsoft.com/office/drawing/2010/main">
                    <a14:imgLayer r:embed="rId18">
                      <a14:imgEffect>
                        <a14:saturation sat="33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 l="14994" t="1" r="20327" b="353"/>
            <a:stretch/>
          </p:blipFill>
          <p:spPr>
            <a:xfrm>
              <a:off x="4703376" y="3429000"/>
              <a:ext cx="1482300" cy="1714500"/>
            </a:xfrm>
            <a:prstGeom prst="rect">
              <a:avLst/>
            </a:prstGeom>
          </p:spPr>
        </p:pic>
        <p:pic>
          <p:nvPicPr>
            <p:cNvPr id="45" name="Picture 44" descr="A group of people sitting at a table in front of a window&#10;&#10;Description automatically generated">
              <a:extLst>
                <a:ext uri="{FF2B5EF4-FFF2-40B4-BE49-F238E27FC236}">
                  <a16:creationId xmlns:a16="http://schemas.microsoft.com/office/drawing/2014/main" id="{161FD148-F762-4944-A811-F79967BC1259}"/>
                </a:ext>
              </a:extLst>
            </p:cNvPr>
            <p:cNvPicPr>
              <a:picLocks/>
            </p:cNvPicPr>
            <p:nvPr/>
          </p:nvPicPr>
          <p:blipFill rotWithShape="1">
            <a:blip r:embed="rId19" cstate="print">
              <a:extLst>
                <a:ext uri="{BEBA8EAE-BF5A-486C-A8C5-ECC9F3942E4B}">
                  <a14:imgProps xmlns:a14="http://schemas.microsoft.com/office/drawing/2010/main">
                    <a14:imgLayer r:embed="rId20">
                      <a14:imgEffect>
                        <a14:saturation sat="33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 t="-1" r="35109" b="-1"/>
            <a:stretch/>
          </p:blipFill>
          <p:spPr>
            <a:xfrm>
              <a:off x="6182539" y="3429000"/>
              <a:ext cx="1482300" cy="1714500"/>
            </a:xfrm>
            <a:prstGeom prst="rect">
              <a:avLst/>
            </a:prstGeom>
          </p:spPr>
        </p:pic>
        <p:pic>
          <p:nvPicPr>
            <p:cNvPr id="38" name="Picture 37" descr="Two people sitting at a table&#10;&#10;Description automatically generated">
              <a:extLst>
                <a:ext uri="{FF2B5EF4-FFF2-40B4-BE49-F238E27FC236}">
                  <a16:creationId xmlns:a16="http://schemas.microsoft.com/office/drawing/2014/main" id="{ED2FBAFF-8A21-4AF2-A48F-BD1E06B8BF93}"/>
                </a:ext>
              </a:extLst>
            </p:cNvPr>
            <p:cNvPicPr>
              <a:picLocks/>
            </p:cNvPicPr>
            <p:nvPr/>
          </p:nvPicPr>
          <p:blipFill rotWithShape="1">
            <a:blip r:embed="rId21" cstate="print">
              <a:extLst>
                <a:ext uri="{BEBA8EAE-BF5A-486C-A8C5-ECC9F3942E4B}">
                  <a14:imgProps xmlns:a14="http://schemas.microsoft.com/office/drawing/2010/main">
                    <a14:imgLayer r:embed="rId22">
                      <a14:imgEffect>
                        <a14:saturation sat="33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 l="20590" r="14502"/>
            <a:stretch/>
          </p:blipFill>
          <p:spPr>
            <a:xfrm>
              <a:off x="7661701" y="-16"/>
              <a:ext cx="1482300" cy="1714500"/>
            </a:xfrm>
            <a:prstGeom prst="rect">
              <a:avLst/>
            </a:prstGeom>
          </p:spPr>
        </p:pic>
        <p:pic>
          <p:nvPicPr>
            <p:cNvPr id="42" name="Picture 41" descr="A blurry image of a person&#10;&#10;Description automatically generated">
              <a:extLst>
                <a:ext uri="{FF2B5EF4-FFF2-40B4-BE49-F238E27FC236}">
                  <a16:creationId xmlns:a16="http://schemas.microsoft.com/office/drawing/2014/main" id="{510CAC6C-43E8-4A19-A99B-24D11FEA81FC}"/>
                </a:ext>
              </a:extLst>
            </p:cNvPr>
            <p:cNvPicPr>
              <a:picLocks/>
            </p:cNvPicPr>
            <p:nvPr/>
          </p:nvPicPr>
          <p:blipFill rotWithShape="1">
            <a:blip r:embed="rId23" cstate="print">
              <a:extLst>
                <a:ext uri="{BEBA8EAE-BF5A-486C-A8C5-ECC9F3942E4B}">
                  <a14:imgProps xmlns:a14="http://schemas.microsoft.com/office/drawing/2010/main">
                    <a14:imgLayer r:embed="rId24">
                      <a14:imgEffect>
                        <a14:saturation sat="33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 r="35154"/>
            <a:stretch/>
          </p:blipFill>
          <p:spPr>
            <a:xfrm>
              <a:off x="7661701" y="1714492"/>
              <a:ext cx="1482300" cy="1714500"/>
            </a:xfrm>
            <a:prstGeom prst="rect">
              <a:avLst/>
            </a:prstGeom>
          </p:spPr>
        </p:pic>
        <p:pic>
          <p:nvPicPr>
            <p:cNvPr id="46" name="Picture 45" descr="A picture containing object, sitting, engine, table&#10;&#10;Description automatically generated">
              <a:extLst>
                <a:ext uri="{FF2B5EF4-FFF2-40B4-BE49-F238E27FC236}">
                  <a16:creationId xmlns:a16="http://schemas.microsoft.com/office/drawing/2014/main" id="{699D8FFA-2AD7-492B-AF2E-A17B4CF274DE}"/>
                </a:ext>
              </a:extLst>
            </p:cNvPr>
            <p:cNvPicPr>
              <a:picLocks/>
            </p:cNvPicPr>
            <p:nvPr/>
          </p:nvPicPr>
          <p:blipFill rotWithShape="1">
            <a:blip r:embed="rId25" cstate="print">
              <a:extLst>
                <a:ext uri="{BEBA8EAE-BF5A-486C-A8C5-ECC9F3942E4B}">
                  <a14:imgProps xmlns:a14="http://schemas.microsoft.com/office/drawing/2010/main">
                    <a14:imgLayer r:embed="rId26">
                      <a14:imgEffect>
                        <a14:saturation sat="33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 l="21939" r="13171"/>
            <a:stretch/>
          </p:blipFill>
          <p:spPr>
            <a:xfrm>
              <a:off x="7661701" y="3429000"/>
              <a:ext cx="1482300" cy="1714500"/>
            </a:xfrm>
            <a:prstGeom prst="rect">
              <a:avLst/>
            </a:prstGeom>
          </p:spPr>
        </p:pic>
      </p:grpSp>
      <p:sp>
        <p:nvSpPr>
          <p:cNvPr id="209" name="Rectangle 208">
            <a:extLst>
              <a:ext uri="{FF2B5EF4-FFF2-40B4-BE49-F238E27FC236}">
                <a16:creationId xmlns:a16="http://schemas.microsoft.com/office/drawing/2014/main" id="{6319A158-8C8B-4112-9804-2AAFCF4EB3DC}"/>
              </a:ext>
            </a:extLst>
          </p:cNvPr>
          <p:cNvSpPr/>
          <p:nvPr/>
        </p:nvSpPr>
        <p:spPr>
          <a:xfrm>
            <a:off x="4298952" y="-627"/>
            <a:ext cx="7893048" cy="6858627"/>
          </a:xfrm>
          <a:prstGeom prst="rect">
            <a:avLst/>
          </a:prstGeom>
          <a:solidFill>
            <a:schemeClr val="tx1">
              <a:lumMod val="50000"/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6095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iscoSansTT ExtraLight"/>
              <a:ea typeface="+mn-ea"/>
              <a:cs typeface="+mn-cs"/>
            </a:endParaRPr>
          </a:p>
        </p:txBody>
      </p:sp>
      <p:sp>
        <p:nvSpPr>
          <p:cNvPr id="16" name="Title 15">
            <a:extLst>
              <a:ext uri="{FF2B5EF4-FFF2-40B4-BE49-F238E27FC236}">
                <a16:creationId xmlns:a16="http://schemas.microsoft.com/office/drawing/2014/main" id="{900D00D2-49C3-488D-A6A9-CA729DAAE692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485757" y="2170430"/>
            <a:ext cx="3103033" cy="865717"/>
          </a:xfrm>
        </p:spPr>
        <p:txBody>
          <a:bodyPr/>
          <a:lstStyle/>
          <a:p>
            <a:pPr algn="ctr"/>
            <a:r>
              <a:rPr lang="en-GB" sz="2400" b="1"/>
              <a:t>Business Critical Services Engagement</a:t>
            </a:r>
            <a:br>
              <a:rPr lang="en-GB" sz="2400"/>
            </a:br>
            <a:br>
              <a:rPr lang="en-GB" sz="2400"/>
            </a:br>
            <a:br>
              <a:rPr lang="en-GB" sz="2400"/>
            </a:br>
            <a:r>
              <a:rPr lang="en-GB" sz="2400" b="1">
                <a:solidFill>
                  <a:schemeClr val="accent5"/>
                </a:solidFill>
              </a:rPr>
              <a:t>Customer-Directed Flexible Consumption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C7A0AF59-0018-43A0-B543-4559581548EF}"/>
              </a:ext>
            </a:extLst>
          </p:cNvPr>
          <p:cNvSpPr/>
          <p:nvPr/>
        </p:nvSpPr>
        <p:spPr>
          <a:xfrm>
            <a:off x="1368" y="4856104"/>
            <a:ext cx="4022981" cy="1635125"/>
          </a:xfrm>
          <a:prstGeom prst="rect">
            <a:avLst/>
          </a:prstGeom>
          <a:solidFill>
            <a:srgbClr val="F4F7FA"/>
          </a:solidFill>
          <a:ln>
            <a:noFill/>
          </a:ln>
          <a:effectLst>
            <a:outerShdw dist="25400" dir="21540000" algn="l" rotWithShape="0">
              <a:schemeClr val="tx1"/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6000" tIns="48000" rIns="96000" bIns="48000" rtlCol="0" anchor="ctr"/>
          <a:lstStyle/>
          <a:p>
            <a:pPr marL="0" marR="0" lvl="0" indent="0" algn="l" defTabSz="914354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endParaRPr kumimoji="0" lang="en-US" sz="1067" b="0" i="0" u="none" strike="noStrike" kern="1200" cap="none" spc="0" normalizeH="0" baseline="0" noProof="0">
              <a:ln>
                <a:noFill/>
              </a:ln>
              <a:solidFill>
                <a:srgbClr val="14284A"/>
              </a:solidFill>
              <a:effectLst/>
              <a:uLnTx/>
              <a:uFillTx/>
              <a:latin typeface="CiscoSansTT ExtraLight"/>
              <a:ea typeface="+mn-ea"/>
              <a:cs typeface="+mn-cs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C53EC22E-4250-4E37-8D1F-3D31C6E8FD0E}"/>
              </a:ext>
            </a:extLst>
          </p:cNvPr>
          <p:cNvSpPr txBox="1"/>
          <p:nvPr/>
        </p:nvSpPr>
        <p:spPr>
          <a:xfrm>
            <a:off x="719139" y="4976604"/>
            <a:ext cx="674475" cy="2520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0" marR="0" lvl="0" indent="0" algn="l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2F446B"/>
                </a:solidFill>
                <a:effectLst/>
                <a:uLnTx/>
                <a:uFillTx/>
                <a:latin typeface="CiscoSansTT Light" panose="020B0503020201020303" pitchFamily="34" charset="0"/>
                <a:ea typeface="ＭＳ Ｐゴシック" charset="0"/>
                <a:cs typeface="CiscoSansTT Light" panose="020B0503020201020303" pitchFamily="34" charset="0"/>
              </a:rPr>
              <a:t>Legend</a:t>
            </a:r>
          </a:p>
        </p:txBody>
      </p:sp>
      <p:pic>
        <p:nvPicPr>
          <p:cNvPr id="21" name="Graphic 20">
            <a:extLst>
              <a:ext uri="{FF2B5EF4-FFF2-40B4-BE49-F238E27FC236}">
                <a16:creationId xmlns:a16="http://schemas.microsoft.com/office/drawing/2014/main" id="{34E249C2-7DC3-491C-AB0A-D0FB989F0BEF}"/>
              </a:ext>
            </a:extLst>
          </p:cNvPr>
          <p:cNvPicPr>
            <a:picLocks noChangeAspect="1"/>
          </p:cNvPicPr>
          <p:nvPr/>
        </p:nvPicPr>
        <p:blipFill>
          <a:blip r:embed="rId27">
            <a:extLst>
              <a:ext uri="{96DAC541-7B7A-43D3-8B79-37D633B846F1}">
                <asvg:svgBlip xmlns:asvg="http://schemas.microsoft.com/office/drawing/2016/SVG/main" r:embed="rId28"/>
              </a:ext>
            </a:extLst>
          </a:blip>
          <a:stretch>
            <a:fillRect/>
          </a:stretch>
        </p:blipFill>
        <p:spPr>
          <a:xfrm>
            <a:off x="719140" y="5433111"/>
            <a:ext cx="252737" cy="252000"/>
          </a:xfrm>
          <a:prstGeom prst="rect">
            <a:avLst/>
          </a:prstGeom>
        </p:spPr>
      </p:pic>
      <p:pic>
        <p:nvPicPr>
          <p:cNvPr id="22" name="Graphic 21">
            <a:extLst>
              <a:ext uri="{FF2B5EF4-FFF2-40B4-BE49-F238E27FC236}">
                <a16:creationId xmlns:a16="http://schemas.microsoft.com/office/drawing/2014/main" id="{72573ECF-5624-435D-A9C3-91252B2A3734}"/>
              </a:ext>
            </a:extLst>
          </p:cNvPr>
          <p:cNvPicPr>
            <a:picLocks noChangeAspect="1"/>
          </p:cNvPicPr>
          <p:nvPr/>
        </p:nvPicPr>
        <p:blipFill>
          <a:blip r:embed="rId29">
            <a:extLst>
              <a:ext uri="{96DAC541-7B7A-43D3-8B79-37D633B846F1}">
                <asvg:svgBlip xmlns:asvg="http://schemas.microsoft.com/office/drawing/2016/SVG/main" r:embed="rId30"/>
              </a:ext>
            </a:extLst>
          </a:blip>
          <a:stretch>
            <a:fillRect/>
          </a:stretch>
        </p:blipFill>
        <p:spPr>
          <a:xfrm>
            <a:off x="1767751" y="5433111"/>
            <a:ext cx="252007" cy="252000"/>
          </a:xfrm>
          <a:prstGeom prst="rect">
            <a:avLst/>
          </a:prstGeom>
        </p:spPr>
      </p:pic>
      <p:sp>
        <p:nvSpPr>
          <p:cNvPr id="23" name="TextBox 22">
            <a:extLst>
              <a:ext uri="{FF2B5EF4-FFF2-40B4-BE49-F238E27FC236}">
                <a16:creationId xmlns:a16="http://schemas.microsoft.com/office/drawing/2014/main" id="{CD9504A0-C6A8-45F0-81DC-60678177E136}"/>
              </a:ext>
            </a:extLst>
          </p:cNvPr>
          <p:cNvSpPr txBox="1"/>
          <p:nvPr/>
        </p:nvSpPr>
        <p:spPr>
          <a:xfrm>
            <a:off x="1025599" y="5349103"/>
            <a:ext cx="674476" cy="420016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marL="0" marR="0" lvl="0" indent="0" algn="l" defTabSz="914354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18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33" b="0" i="0" u="none" strike="noStrike" kern="1200" cap="none" spc="-13" normalizeH="0" baseline="0" noProof="0">
                <a:ln>
                  <a:noFill/>
                </a:ln>
                <a:solidFill>
                  <a:srgbClr val="14284A"/>
                </a:solidFill>
                <a:effectLst/>
                <a:uLnTx/>
                <a:uFillTx/>
                <a:latin typeface="CiscoSansTT Light" panose="020B0503020201020303" pitchFamily="34" charset="0"/>
                <a:ea typeface="ＭＳ Ｐゴシック" charset="0"/>
                <a:cs typeface="CiscoSansTT Light" panose="020B0503020201020303" pitchFamily="34" charset="0"/>
              </a:rPr>
              <a:t>Operational Insights Review</a:t>
            </a:r>
          </a:p>
        </p:txBody>
      </p:sp>
      <p:pic>
        <p:nvPicPr>
          <p:cNvPr id="24" name="Graphic 23">
            <a:extLst>
              <a:ext uri="{FF2B5EF4-FFF2-40B4-BE49-F238E27FC236}">
                <a16:creationId xmlns:a16="http://schemas.microsoft.com/office/drawing/2014/main" id="{990116A2-0F0A-4010-90E7-15962A156E4F}"/>
              </a:ext>
            </a:extLst>
          </p:cNvPr>
          <p:cNvPicPr>
            <a:picLocks noChangeAspect="1"/>
          </p:cNvPicPr>
          <p:nvPr/>
        </p:nvPicPr>
        <p:blipFill>
          <a:blip r:embed="rId31">
            <a:extLst>
              <a:ext uri="{96DAC541-7B7A-43D3-8B79-37D633B846F1}">
                <asvg:svgBlip xmlns:asvg="http://schemas.microsoft.com/office/drawing/2016/SVG/main" r:embed="rId32"/>
              </a:ext>
            </a:extLst>
          </a:blip>
          <a:stretch>
            <a:fillRect/>
          </a:stretch>
        </p:blipFill>
        <p:spPr>
          <a:xfrm>
            <a:off x="719139" y="5964168"/>
            <a:ext cx="252007" cy="252000"/>
          </a:xfrm>
          <a:prstGeom prst="rect">
            <a:avLst/>
          </a:prstGeom>
        </p:spPr>
      </p:pic>
      <p:sp>
        <p:nvSpPr>
          <p:cNvPr id="26" name="TextBox 25">
            <a:extLst>
              <a:ext uri="{FF2B5EF4-FFF2-40B4-BE49-F238E27FC236}">
                <a16:creationId xmlns:a16="http://schemas.microsoft.com/office/drawing/2014/main" id="{FCD488A8-88C0-4475-A066-6F7B9E561A2C}"/>
              </a:ext>
            </a:extLst>
          </p:cNvPr>
          <p:cNvSpPr txBox="1"/>
          <p:nvPr/>
        </p:nvSpPr>
        <p:spPr>
          <a:xfrm>
            <a:off x="2068289" y="5349103"/>
            <a:ext cx="674476" cy="420016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marL="0" marR="0" lvl="0" indent="0" algn="l" defTabSz="6095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18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33" b="0" i="0" u="none" strike="noStrike" kern="1200" cap="none" spc="-13" normalizeH="0" baseline="0" noProof="0">
                <a:ln>
                  <a:noFill/>
                </a:ln>
                <a:solidFill>
                  <a:srgbClr val="14284A"/>
                </a:solidFill>
                <a:effectLst/>
                <a:uLnTx/>
                <a:uFillTx/>
                <a:latin typeface="CiscoSansTT Light" panose="020B0503020201020303" pitchFamily="34" charset="0"/>
                <a:ea typeface="ＭＳ Ｐゴシック" charset="0"/>
                <a:cs typeface="CiscoSansTT Light" panose="020B0503020201020303" pitchFamily="34" charset="0"/>
              </a:rPr>
              <a:t>Change Window Support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B4FDE902-5D55-4353-A364-196C7373467E}"/>
              </a:ext>
            </a:extLst>
          </p:cNvPr>
          <p:cNvSpPr txBox="1"/>
          <p:nvPr/>
        </p:nvSpPr>
        <p:spPr>
          <a:xfrm>
            <a:off x="1025599" y="5880160"/>
            <a:ext cx="674476" cy="420016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marL="0" marR="0" lvl="0" indent="0" algn="l" defTabSz="6095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18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33" b="0" i="0" u="none" strike="noStrike" kern="1200" cap="none" spc="-13" normalizeH="0" baseline="0" noProof="0">
                <a:ln>
                  <a:noFill/>
                </a:ln>
                <a:solidFill>
                  <a:srgbClr val="14284A"/>
                </a:solidFill>
                <a:effectLst/>
                <a:uLnTx/>
                <a:uFillTx/>
                <a:latin typeface="CiscoSansTT Light" panose="020B0503020201020303" pitchFamily="34" charset="0"/>
                <a:ea typeface="ＭＳ Ｐゴシック" charset="0"/>
                <a:cs typeface="CiscoSansTT Light" panose="020B0503020201020303" pitchFamily="34" charset="0"/>
              </a:rPr>
              <a:t>Ask the Experts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7593A493-54BF-43EE-B972-E4ACFD8CC615}"/>
              </a:ext>
            </a:extLst>
          </p:cNvPr>
          <p:cNvSpPr txBox="1"/>
          <p:nvPr/>
        </p:nvSpPr>
        <p:spPr>
          <a:xfrm>
            <a:off x="2065922" y="5880160"/>
            <a:ext cx="674476" cy="420016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marL="0" marR="0" lvl="0" indent="0" algn="l" defTabSz="6095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18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33" b="0" i="0" u="none" strike="noStrike" kern="1200" cap="none" spc="-13" normalizeH="0" baseline="0" noProof="0">
                <a:ln>
                  <a:noFill/>
                </a:ln>
                <a:solidFill>
                  <a:srgbClr val="14284A"/>
                </a:solidFill>
                <a:effectLst/>
                <a:uLnTx/>
                <a:uFillTx/>
                <a:latin typeface="CiscoSansTT Light" panose="020B0503020201020303" pitchFamily="34" charset="0"/>
                <a:ea typeface="ＭＳ Ｐゴシック" charset="0"/>
                <a:cs typeface="CiscoSansTT Light" panose="020B0503020201020303" pitchFamily="34" charset="0"/>
              </a:rPr>
              <a:t>Expert </a:t>
            </a:r>
            <a:br>
              <a:rPr kumimoji="0" lang="en-US" sz="933" b="0" i="0" u="none" strike="noStrike" kern="1200" cap="none" spc="-13" normalizeH="0" baseline="0" noProof="0">
                <a:ln>
                  <a:noFill/>
                </a:ln>
                <a:solidFill>
                  <a:srgbClr val="14284A"/>
                </a:solidFill>
                <a:effectLst/>
                <a:uLnTx/>
                <a:uFillTx/>
                <a:latin typeface="CiscoSansTT Light" panose="020B0503020201020303" pitchFamily="34" charset="0"/>
                <a:ea typeface="ＭＳ Ｐゴシック" charset="0"/>
                <a:cs typeface="CiscoSansTT Light" panose="020B0503020201020303" pitchFamily="34" charset="0"/>
              </a:rPr>
            </a:br>
            <a:r>
              <a:rPr kumimoji="0" lang="en-US" sz="933" b="0" i="0" u="none" strike="noStrike" kern="1200" cap="none" spc="-13" normalizeH="0" baseline="0" noProof="0">
                <a:ln>
                  <a:noFill/>
                </a:ln>
                <a:solidFill>
                  <a:srgbClr val="14284A"/>
                </a:solidFill>
                <a:effectLst/>
                <a:uLnTx/>
                <a:uFillTx/>
                <a:latin typeface="CiscoSansTT Light" panose="020B0503020201020303" pitchFamily="34" charset="0"/>
                <a:ea typeface="ＭＳ Ｐゴシック" charset="0"/>
                <a:cs typeface="CiscoSansTT Light" panose="020B0503020201020303" pitchFamily="34" charset="0"/>
              </a:rPr>
              <a:t>Incident Review</a:t>
            </a:r>
          </a:p>
        </p:txBody>
      </p:sp>
      <p:pic>
        <p:nvPicPr>
          <p:cNvPr id="267" name="Graphic 266">
            <a:extLst>
              <a:ext uri="{FF2B5EF4-FFF2-40B4-BE49-F238E27FC236}">
                <a16:creationId xmlns:a16="http://schemas.microsoft.com/office/drawing/2014/main" id="{A33903D0-ABE9-40C6-AADD-77A19E001295}"/>
              </a:ext>
            </a:extLst>
          </p:cNvPr>
          <p:cNvPicPr>
            <a:picLocks noChangeAspect="1"/>
          </p:cNvPicPr>
          <p:nvPr/>
        </p:nvPicPr>
        <p:blipFill>
          <a:blip r:embed="rId33">
            <a:extLst>
              <a:ext uri="{96DAC541-7B7A-43D3-8B79-37D633B846F1}">
                <asvg:svgBlip xmlns:asvg="http://schemas.microsoft.com/office/drawing/2016/SVG/main" r:embed="rId34"/>
              </a:ext>
            </a:extLst>
          </a:blip>
          <a:stretch>
            <a:fillRect/>
          </a:stretch>
        </p:blipFill>
        <p:spPr>
          <a:xfrm>
            <a:off x="2815633" y="5433111"/>
            <a:ext cx="252000" cy="252000"/>
          </a:xfrm>
          <a:prstGeom prst="rect">
            <a:avLst/>
          </a:prstGeom>
        </p:spPr>
      </p:pic>
      <p:sp>
        <p:nvSpPr>
          <p:cNvPr id="268" name="TextBox 267">
            <a:extLst>
              <a:ext uri="{FF2B5EF4-FFF2-40B4-BE49-F238E27FC236}">
                <a16:creationId xmlns:a16="http://schemas.microsoft.com/office/drawing/2014/main" id="{6EBB2BBB-3B58-4491-BBFB-FBEE26EE5254}"/>
              </a:ext>
            </a:extLst>
          </p:cNvPr>
          <p:cNvSpPr txBox="1"/>
          <p:nvPr/>
        </p:nvSpPr>
        <p:spPr>
          <a:xfrm>
            <a:off x="3110979" y="5349103"/>
            <a:ext cx="674476" cy="420016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marL="0" marR="0" lvl="0" indent="0" algn="l" defTabSz="6095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18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33" b="0" i="0" u="none" strike="noStrike" kern="1200" cap="none" spc="-13" normalizeH="0" baseline="0" noProof="0">
                <a:ln>
                  <a:noFill/>
                </a:ln>
                <a:solidFill>
                  <a:srgbClr val="14284A"/>
                </a:solidFill>
                <a:effectLst/>
                <a:uLnTx/>
                <a:uFillTx/>
                <a:latin typeface="CiscoSansTT Light" panose="020B0503020201020303" pitchFamily="34" charset="0"/>
                <a:ea typeface="ＭＳ Ｐゴシック" charset="0"/>
                <a:cs typeface="CiscoSansTT Light" panose="020B0503020201020303" pitchFamily="34" charset="0"/>
              </a:rPr>
              <a:t>Expert Review Workshop</a:t>
            </a:r>
          </a:p>
        </p:txBody>
      </p:sp>
      <p:sp>
        <p:nvSpPr>
          <p:cNvPr id="269" name="TextBox 268">
            <a:extLst>
              <a:ext uri="{FF2B5EF4-FFF2-40B4-BE49-F238E27FC236}">
                <a16:creationId xmlns:a16="http://schemas.microsoft.com/office/drawing/2014/main" id="{CD7D6D14-D92E-4024-BBA1-2E3904B98369}"/>
              </a:ext>
            </a:extLst>
          </p:cNvPr>
          <p:cNvSpPr txBox="1"/>
          <p:nvPr/>
        </p:nvSpPr>
        <p:spPr>
          <a:xfrm>
            <a:off x="3106245" y="5880160"/>
            <a:ext cx="674476" cy="420016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marL="0" marR="0" lvl="0" indent="0" algn="l" defTabSz="6095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18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33" b="0" i="0" u="none" strike="noStrike" kern="1200" cap="none" spc="-13" normalizeH="0" baseline="0" noProof="0">
                <a:ln>
                  <a:noFill/>
                </a:ln>
                <a:solidFill>
                  <a:srgbClr val="14284A"/>
                </a:solidFill>
                <a:effectLst/>
                <a:uLnTx/>
                <a:uFillTx/>
                <a:latin typeface="CiscoSansTT Light" panose="020B0503020201020303" pitchFamily="34" charset="0"/>
                <a:ea typeface="ＭＳ Ｐゴシック" charset="0"/>
                <a:cs typeface="CiscoSansTT Light" panose="020B0503020201020303" pitchFamily="34" charset="0"/>
              </a:rPr>
              <a:t>Accelerators</a:t>
            </a:r>
          </a:p>
        </p:txBody>
      </p:sp>
      <p:pic>
        <p:nvPicPr>
          <p:cNvPr id="284" name="Graphic 283">
            <a:extLst>
              <a:ext uri="{FF2B5EF4-FFF2-40B4-BE49-F238E27FC236}">
                <a16:creationId xmlns:a16="http://schemas.microsoft.com/office/drawing/2014/main" id="{1F43165F-828C-45B5-8406-0A1A91D8F2E3}"/>
              </a:ext>
            </a:extLst>
          </p:cNvPr>
          <p:cNvPicPr>
            <a:picLocks noChangeAspect="1"/>
          </p:cNvPicPr>
          <p:nvPr/>
        </p:nvPicPr>
        <p:blipFill>
          <a:blip r:embed="rId35">
            <a:extLst>
              <a:ext uri="{96DAC541-7B7A-43D3-8B79-37D633B846F1}">
                <asvg:svgBlip xmlns:asvg="http://schemas.microsoft.com/office/drawing/2016/SVG/main" r:embed="rId36"/>
              </a:ext>
            </a:extLst>
          </a:blip>
          <a:stretch>
            <a:fillRect/>
          </a:stretch>
        </p:blipFill>
        <p:spPr>
          <a:xfrm>
            <a:off x="2815633" y="5964168"/>
            <a:ext cx="252000" cy="252000"/>
          </a:xfrm>
          <a:prstGeom prst="rect">
            <a:avLst/>
          </a:prstGeom>
        </p:spPr>
      </p:pic>
      <p:pic>
        <p:nvPicPr>
          <p:cNvPr id="285" name="Graphic 284">
            <a:extLst>
              <a:ext uri="{FF2B5EF4-FFF2-40B4-BE49-F238E27FC236}">
                <a16:creationId xmlns:a16="http://schemas.microsoft.com/office/drawing/2014/main" id="{A715880F-9D51-4806-BD7C-8F0A489DE077}"/>
              </a:ext>
            </a:extLst>
          </p:cNvPr>
          <p:cNvPicPr>
            <a:picLocks noChangeAspect="1"/>
          </p:cNvPicPr>
          <p:nvPr/>
        </p:nvPicPr>
        <p:blipFill>
          <a:blip r:embed="rId37">
            <a:extLst>
              <a:ext uri="{96DAC541-7B7A-43D3-8B79-37D633B846F1}">
                <asvg:svgBlip xmlns:asvg="http://schemas.microsoft.com/office/drawing/2016/SVG/main" r:embed="rId38"/>
              </a:ext>
            </a:extLst>
          </a:blip>
          <a:stretch>
            <a:fillRect/>
          </a:stretch>
        </p:blipFill>
        <p:spPr>
          <a:xfrm>
            <a:off x="1767751" y="5964168"/>
            <a:ext cx="252000" cy="252000"/>
          </a:xfrm>
          <a:prstGeom prst="rect">
            <a:avLst/>
          </a:prstGeom>
        </p:spPr>
      </p:pic>
      <p:sp>
        <p:nvSpPr>
          <p:cNvPr id="108" name="Text Placeholder 2">
            <a:extLst>
              <a:ext uri="{FF2B5EF4-FFF2-40B4-BE49-F238E27FC236}">
                <a16:creationId xmlns:a16="http://schemas.microsoft.com/office/drawing/2014/main" id="{F6CB98E4-D990-DB4A-8C1C-6D3C3B94618E}"/>
              </a:ext>
            </a:extLst>
          </p:cNvPr>
          <p:cNvSpPr txBox="1">
            <a:spLocks/>
          </p:cNvSpPr>
          <p:nvPr/>
        </p:nvSpPr>
        <p:spPr>
          <a:xfrm>
            <a:off x="211640" y="1081107"/>
            <a:ext cx="3764597" cy="70062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10000"/>
              </a:lnSpc>
              <a:spcBef>
                <a:spcPts val="0"/>
              </a:spcBef>
              <a:spcAft>
                <a:spcPts val="160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chemeClr val="tx1"/>
                </a:solidFill>
                <a:latin typeface="+mn-lt"/>
                <a:ea typeface="Arial"/>
                <a:cs typeface="Arial"/>
                <a:sym typeface="Arial"/>
              </a:defRPr>
            </a:lvl1pPr>
            <a:lvl2pPr marL="143996" marR="0" lvl="1" indent="143996" algn="l" rtl="0">
              <a:lnSpc>
                <a:spcPct val="110000"/>
              </a:lnSpc>
              <a:spcBef>
                <a:spcPts val="0"/>
              </a:spcBef>
              <a:spcAft>
                <a:spcPts val="160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chemeClr val="tx1"/>
                </a:solidFill>
                <a:latin typeface="+mn-lt"/>
                <a:ea typeface="Arial"/>
                <a:cs typeface="Arial"/>
                <a:sym typeface="Arial"/>
              </a:defRPr>
            </a:lvl2pPr>
            <a:lvl3pPr marL="287993" marR="0" lvl="2" indent="287993" algn="l" rtl="0">
              <a:lnSpc>
                <a:spcPct val="110000"/>
              </a:lnSpc>
              <a:spcBef>
                <a:spcPts val="0"/>
              </a:spcBef>
              <a:spcAft>
                <a:spcPts val="160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chemeClr val="tx1"/>
                </a:solidFill>
                <a:latin typeface="+mn-lt"/>
                <a:ea typeface="Arial"/>
                <a:cs typeface="Arial"/>
                <a:sym typeface="Arial"/>
              </a:defRPr>
            </a:lvl3pPr>
            <a:lvl4pPr marL="431989" marR="0" lvl="3" indent="431989" algn="l" rtl="0">
              <a:lnSpc>
                <a:spcPct val="110000"/>
              </a:lnSpc>
              <a:spcBef>
                <a:spcPts val="0"/>
              </a:spcBef>
              <a:spcAft>
                <a:spcPts val="160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chemeClr val="tx1"/>
                </a:solidFill>
                <a:latin typeface="+mn-lt"/>
                <a:ea typeface="Arial"/>
                <a:cs typeface="Arial"/>
                <a:sym typeface="Arial"/>
              </a:defRPr>
            </a:lvl4pPr>
            <a:lvl5pPr marL="575986" marR="0" lvl="4" indent="575986" algn="l" rtl="0">
              <a:lnSpc>
                <a:spcPct val="110000"/>
              </a:lnSpc>
              <a:spcBef>
                <a:spcPts val="0"/>
              </a:spcBef>
              <a:spcAft>
                <a:spcPts val="160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chemeClr val="tx1"/>
                </a:solidFill>
                <a:latin typeface="+mn-lt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ctr" defTabSz="609570" rtl="0" eaLnBrk="1" fontAlgn="base" latinLnBrk="0" hangingPunct="1">
              <a:lnSpc>
                <a:spcPct val="110000"/>
              </a:lnSpc>
              <a:spcBef>
                <a:spcPts val="0"/>
              </a:spcBef>
              <a:spcAft>
                <a:spcPts val="2133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GB" sz="4000" b="0" i="0" u="none" strike="noStrike" kern="0" cap="none" spc="0" normalizeH="0" baseline="0" noProof="0">
                <a:ln>
                  <a:noFill/>
                </a:ln>
                <a:solidFill>
                  <a:srgbClr val="FBAB18"/>
                </a:solidFill>
                <a:effectLst/>
                <a:uLnTx/>
                <a:uFillTx/>
                <a:latin typeface="CiscoSansTT ExtraLight"/>
                <a:cs typeface="Arial"/>
                <a:sym typeface="Arial"/>
              </a:rPr>
              <a:t>Premier Tier</a:t>
            </a:r>
            <a:br>
              <a:rPr kumimoji="0" lang="en-US" sz="1867" b="0" i="0" u="none" strike="noStrike" kern="1200" cap="none" spc="0" normalizeH="0" baseline="0" noProof="0">
                <a:ln>
                  <a:noFill/>
                </a:ln>
                <a:solidFill>
                  <a:srgbClr val="FBAB18"/>
                </a:solidFill>
                <a:effectLst/>
                <a:uLnTx/>
                <a:uFillTx/>
                <a:latin typeface="CiscoSansTT ExtraLight"/>
                <a:cs typeface="Arial"/>
                <a:sym typeface="Arial"/>
              </a:rPr>
            </a:br>
            <a:r>
              <a:rPr kumimoji="0" lang="en-GB" sz="2400" b="0" i="0" u="none" strike="noStrike" kern="0" cap="none" spc="0" normalizeH="0" baseline="0" noProof="0">
                <a:ln>
                  <a:noFill/>
                </a:ln>
                <a:solidFill>
                  <a:srgbClr val="FBAB18"/>
                </a:solidFill>
                <a:effectLst/>
                <a:uLnTx/>
                <a:uFillTx/>
                <a:latin typeface="CiscoSansTT ExtraLight"/>
                <a:cs typeface="Arial"/>
                <a:sym typeface="Arial"/>
              </a:rPr>
              <a:t>12-month example</a:t>
            </a:r>
            <a:endParaRPr kumimoji="0" lang="en-GB" sz="1867" b="0" i="0" u="none" strike="noStrike" kern="1200" cap="none" spc="0" normalizeH="0" baseline="0" noProof="0">
              <a:ln>
                <a:noFill/>
              </a:ln>
              <a:solidFill>
                <a:srgbClr val="FBAB18"/>
              </a:solidFill>
              <a:effectLst/>
              <a:uLnTx/>
              <a:uFillTx/>
              <a:latin typeface="CiscoSansTT ExtraLight"/>
              <a:cs typeface="Arial"/>
              <a:sym typeface="Arial"/>
            </a:endParaRP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77C409F2-B3CD-4835-827A-52CA471C530F}"/>
              </a:ext>
            </a:extLst>
          </p:cNvPr>
          <p:cNvGrpSpPr/>
          <p:nvPr/>
        </p:nvGrpSpPr>
        <p:grpSpPr>
          <a:xfrm>
            <a:off x="4556623" y="1646250"/>
            <a:ext cx="1584516" cy="542284"/>
            <a:chOff x="3329221" y="1138985"/>
            <a:chExt cx="1188387" cy="406713"/>
          </a:xfrm>
        </p:grpSpPr>
        <p:pic>
          <p:nvPicPr>
            <p:cNvPr id="112" name="Graphic 111">
              <a:extLst>
                <a:ext uri="{FF2B5EF4-FFF2-40B4-BE49-F238E27FC236}">
                  <a16:creationId xmlns:a16="http://schemas.microsoft.com/office/drawing/2014/main" id="{7E619E9D-B950-9E4B-9CF2-B63A242498E7}"/>
                </a:ext>
              </a:extLst>
            </p:cNvPr>
            <p:cNvPicPr>
              <a:picLocks noChangeAspect="1"/>
            </p:cNvPicPr>
            <p:nvPr/>
          </p:nvPicPr>
          <p:blipFill>
            <a:blip r:embed="rId27">
              <a:extLst>
                <a:ext uri="{96DAC541-7B7A-43D3-8B79-37D633B846F1}">
                  <asvg:svgBlip xmlns:asvg="http://schemas.microsoft.com/office/drawing/2016/SVG/main" r:embed="rId39"/>
                </a:ext>
              </a:extLst>
            </a:blip>
            <a:stretch>
              <a:fillRect/>
            </a:stretch>
          </p:blipFill>
          <p:spPr>
            <a:xfrm>
              <a:off x="3329221" y="1138985"/>
              <a:ext cx="189553" cy="189000"/>
            </a:xfrm>
            <a:prstGeom prst="rect">
              <a:avLst/>
            </a:prstGeom>
          </p:spPr>
        </p:pic>
        <p:pic>
          <p:nvPicPr>
            <p:cNvPr id="113" name="Graphic 112">
              <a:extLst>
                <a:ext uri="{FF2B5EF4-FFF2-40B4-BE49-F238E27FC236}">
                  <a16:creationId xmlns:a16="http://schemas.microsoft.com/office/drawing/2014/main" id="{39CF09F6-7D34-514C-B1E6-07B62DE8E6B9}"/>
                </a:ext>
              </a:extLst>
            </p:cNvPr>
            <p:cNvPicPr>
              <a:picLocks noChangeAspect="1"/>
            </p:cNvPicPr>
            <p:nvPr/>
          </p:nvPicPr>
          <p:blipFill>
            <a:blip r:embed="rId31">
              <a:extLst>
                <a:ext uri="{96DAC541-7B7A-43D3-8B79-37D633B846F1}">
                  <asvg:svgBlip xmlns:asvg="http://schemas.microsoft.com/office/drawing/2016/SVG/main" r:embed="rId40"/>
                </a:ext>
              </a:extLst>
            </a:blip>
            <a:stretch>
              <a:fillRect/>
            </a:stretch>
          </p:blipFill>
          <p:spPr>
            <a:xfrm>
              <a:off x="3723812" y="1138985"/>
              <a:ext cx="189005" cy="189000"/>
            </a:xfrm>
            <a:prstGeom prst="rect">
              <a:avLst/>
            </a:prstGeom>
          </p:spPr>
        </p:pic>
        <p:pic>
          <p:nvPicPr>
            <p:cNvPr id="114" name="Graphic 113">
              <a:extLst>
                <a:ext uri="{FF2B5EF4-FFF2-40B4-BE49-F238E27FC236}">
                  <a16:creationId xmlns:a16="http://schemas.microsoft.com/office/drawing/2014/main" id="{CB231CBB-C49F-5F43-A743-14B2569AA515}"/>
                </a:ext>
              </a:extLst>
            </p:cNvPr>
            <p:cNvPicPr>
              <a:picLocks noChangeAspect="1"/>
            </p:cNvPicPr>
            <p:nvPr/>
          </p:nvPicPr>
          <p:blipFill>
            <a:blip r:embed="rId29">
              <a:extLst>
                <a:ext uri="{96DAC541-7B7A-43D3-8B79-37D633B846F1}">
                  <asvg:svgBlip xmlns:asvg="http://schemas.microsoft.com/office/drawing/2016/SVG/main" r:embed="rId41"/>
                </a:ext>
              </a:extLst>
            </a:blip>
            <a:stretch>
              <a:fillRect/>
            </a:stretch>
          </p:blipFill>
          <p:spPr>
            <a:xfrm>
              <a:off x="4118475" y="1138985"/>
              <a:ext cx="189005" cy="189000"/>
            </a:xfrm>
            <a:prstGeom prst="rect">
              <a:avLst/>
            </a:prstGeom>
          </p:spPr>
        </p:pic>
        <p:pic>
          <p:nvPicPr>
            <p:cNvPr id="115" name="Graphic 114">
              <a:extLst>
                <a:ext uri="{FF2B5EF4-FFF2-40B4-BE49-F238E27FC236}">
                  <a16:creationId xmlns:a16="http://schemas.microsoft.com/office/drawing/2014/main" id="{88584647-E148-884A-82E4-49F31699DE5D}"/>
                </a:ext>
              </a:extLst>
            </p:cNvPr>
            <p:cNvPicPr>
              <a:picLocks noChangeAspect="1"/>
            </p:cNvPicPr>
            <p:nvPr/>
          </p:nvPicPr>
          <p:blipFill>
            <a:blip r:embed="rId33">
              <a:extLst>
                <a:ext uri="{96DAC541-7B7A-43D3-8B79-37D633B846F1}">
                  <asvg:svgBlip xmlns:asvg="http://schemas.microsoft.com/office/drawing/2016/SVG/main" r:embed="rId42"/>
                </a:ext>
              </a:extLst>
            </a:blip>
            <a:stretch>
              <a:fillRect/>
            </a:stretch>
          </p:blipFill>
          <p:spPr>
            <a:xfrm>
              <a:off x="3723538" y="1356698"/>
              <a:ext cx="189000" cy="189000"/>
            </a:xfrm>
            <a:prstGeom prst="rect">
              <a:avLst/>
            </a:prstGeom>
          </p:spPr>
        </p:pic>
        <p:pic>
          <p:nvPicPr>
            <p:cNvPr id="116" name="Graphic 115">
              <a:extLst>
                <a:ext uri="{FF2B5EF4-FFF2-40B4-BE49-F238E27FC236}">
                  <a16:creationId xmlns:a16="http://schemas.microsoft.com/office/drawing/2014/main" id="{C6E0462A-31DA-B940-A40D-52163B7ED0C1}"/>
                </a:ext>
              </a:extLst>
            </p:cNvPr>
            <p:cNvPicPr>
              <a:picLocks noChangeAspect="1"/>
            </p:cNvPicPr>
            <p:nvPr/>
          </p:nvPicPr>
          <p:blipFill>
            <a:blip r:embed="rId37">
              <a:extLst>
                <a:ext uri="{96DAC541-7B7A-43D3-8B79-37D633B846F1}">
                  <asvg:svgBlip xmlns:asvg="http://schemas.microsoft.com/office/drawing/2016/SVG/main" r:embed="rId43"/>
                </a:ext>
              </a:extLst>
            </a:blip>
            <a:stretch>
              <a:fillRect/>
            </a:stretch>
          </p:blipFill>
          <p:spPr>
            <a:xfrm>
              <a:off x="3329221" y="1356698"/>
              <a:ext cx="189000" cy="189000"/>
            </a:xfrm>
            <a:prstGeom prst="rect">
              <a:avLst/>
            </a:prstGeom>
          </p:spPr>
        </p:pic>
        <p:pic>
          <p:nvPicPr>
            <p:cNvPr id="117" name="Graphic 116">
              <a:extLst>
                <a:ext uri="{FF2B5EF4-FFF2-40B4-BE49-F238E27FC236}">
                  <a16:creationId xmlns:a16="http://schemas.microsoft.com/office/drawing/2014/main" id="{224FD141-EACE-1F40-874E-8DE5DA0DB4B1}"/>
                </a:ext>
              </a:extLst>
            </p:cNvPr>
            <p:cNvPicPr>
              <a:picLocks noChangeAspect="1"/>
            </p:cNvPicPr>
            <p:nvPr/>
          </p:nvPicPr>
          <p:blipFill>
            <a:blip r:embed="rId35">
              <a:extLst>
                <a:ext uri="{96DAC541-7B7A-43D3-8B79-37D633B846F1}">
                  <asvg:svgBlip xmlns:asvg="http://schemas.microsoft.com/office/drawing/2016/SVG/main" r:embed="rId44"/>
                </a:ext>
              </a:extLst>
            </a:blip>
            <a:stretch>
              <a:fillRect/>
            </a:stretch>
          </p:blipFill>
          <p:spPr>
            <a:xfrm>
              <a:off x="4118475" y="1356698"/>
              <a:ext cx="189000" cy="189000"/>
            </a:xfrm>
            <a:prstGeom prst="rect">
              <a:avLst/>
            </a:prstGeom>
          </p:spPr>
        </p:pic>
        <p:sp>
          <p:nvSpPr>
            <p:cNvPr id="118" name="TextBox 117">
              <a:extLst>
                <a:ext uri="{FF2B5EF4-FFF2-40B4-BE49-F238E27FC236}">
                  <a16:creationId xmlns:a16="http://schemas.microsoft.com/office/drawing/2014/main" id="{5EE0F201-04E6-3848-B7C3-9D17F472842C}"/>
                </a:ext>
              </a:extLst>
            </p:cNvPr>
            <p:cNvSpPr txBox="1"/>
            <p:nvPr/>
          </p:nvSpPr>
          <p:spPr>
            <a:xfrm>
              <a:off x="3541994" y="1155415"/>
              <a:ext cx="164495" cy="156141"/>
            </a:xfrm>
            <a:prstGeom prst="rect">
              <a:avLst/>
            </a:prstGeom>
            <a:noFill/>
          </p:spPr>
          <p:txBody>
            <a:bodyPr wrap="none" lIns="0" tIns="0" rIns="0" bIns="0" rtlCol="0">
              <a:noAutofit/>
            </a:bodyPr>
            <a:lstStyle/>
            <a:p>
              <a:pPr marL="0" marR="0" lvl="0" indent="0" algn="l" defTabSz="609570" rtl="0" eaLnBrk="1" fontAlgn="base" latinLnBrk="0" hangingPunct="1">
                <a:lnSpc>
                  <a:spcPct val="110000"/>
                </a:lnSpc>
                <a:spcBef>
                  <a:spcPct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67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iscoSansTT Light" panose="020B0503020201020303" pitchFamily="34" charset="0"/>
                  <a:ea typeface="ＭＳ Ｐゴシック" charset="0"/>
                  <a:cs typeface="CiscoSansTT Light" panose="020B0503020201020303" pitchFamily="34" charset="0"/>
                </a:rPr>
                <a:t>x12</a:t>
              </a:r>
            </a:p>
          </p:txBody>
        </p:sp>
        <p:sp>
          <p:nvSpPr>
            <p:cNvPr id="119" name="TextBox 118">
              <a:extLst>
                <a:ext uri="{FF2B5EF4-FFF2-40B4-BE49-F238E27FC236}">
                  <a16:creationId xmlns:a16="http://schemas.microsoft.com/office/drawing/2014/main" id="{AA9DCCC5-DC39-1043-9949-9BD77EA33D02}"/>
                </a:ext>
              </a:extLst>
            </p:cNvPr>
            <p:cNvSpPr txBox="1"/>
            <p:nvPr/>
          </p:nvSpPr>
          <p:spPr>
            <a:xfrm>
              <a:off x="4353113" y="1155415"/>
              <a:ext cx="164495" cy="156141"/>
            </a:xfrm>
            <a:prstGeom prst="rect">
              <a:avLst/>
            </a:prstGeom>
            <a:noFill/>
          </p:spPr>
          <p:txBody>
            <a:bodyPr wrap="none" lIns="0" tIns="0" rIns="0" bIns="0" rtlCol="0">
              <a:noAutofit/>
            </a:bodyPr>
            <a:lstStyle/>
            <a:p>
              <a:pPr marL="0" marR="0" lvl="0" indent="0" algn="l" defTabSz="609570" rtl="0" eaLnBrk="1" fontAlgn="base" latinLnBrk="0" hangingPunct="1">
                <a:lnSpc>
                  <a:spcPct val="110000"/>
                </a:lnSpc>
                <a:spcBef>
                  <a:spcPct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67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iscoSansTT Light" panose="020B0503020201020303" pitchFamily="34" charset="0"/>
                  <a:ea typeface="ＭＳ Ｐゴシック" charset="0"/>
                  <a:cs typeface="CiscoSansTT Light" panose="020B0503020201020303" pitchFamily="34" charset="0"/>
                </a:rPr>
                <a:t>x4</a:t>
              </a:r>
            </a:p>
          </p:txBody>
        </p:sp>
        <p:sp>
          <p:nvSpPr>
            <p:cNvPr id="120" name="TextBox 119">
              <a:extLst>
                <a:ext uri="{FF2B5EF4-FFF2-40B4-BE49-F238E27FC236}">
                  <a16:creationId xmlns:a16="http://schemas.microsoft.com/office/drawing/2014/main" id="{991BEF55-8CDA-B54B-9C1F-606D7A829C51}"/>
                </a:ext>
              </a:extLst>
            </p:cNvPr>
            <p:cNvSpPr txBox="1"/>
            <p:nvPr/>
          </p:nvSpPr>
          <p:spPr>
            <a:xfrm>
              <a:off x="3936414" y="1373128"/>
              <a:ext cx="164495" cy="156141"/>
            </a:xfrm>
            <a:prstGeom prst="rect">
              <a:avLst/>
            </a:prstGeom>
            <a:noFill/>
          </p:spPr>
          <p:txBody>
            <a:bodyPr wrap="none" lIns="0" tIns="0" rIns="0" bIns="0" rtlCol="0">
              <a:noAutofit/>
            </a:bodyPr>
            <a:lstStyle/>
            <a:p>
              <a:pPr marL="0" marR="0" lvl="0" indent="0" algn="l" defTabSz="609570" rtl="0" eaLnBrk="1" fontAlgn="base" latinLnBrk="0" hangingPunct="1">
                <a:lnSpc>
                  <a:spcPct val="110000"/>
                </a:lnSpc>
                <a:spcBef>
                  <a:spcPct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67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iscoSansTT Light" panose="020B0503020201020303" pitchFamily="34" charset="0"/>
                  <a:ea typeface="ＭＳ Ｐゴシック" charset="0"/>
                  <a:cs typeface="CiscoSansTT Light" panose="020B0503020201020303" pitchFamily="34" charset="0"/>
                </a:rPr>
                <a:t>x4</a:t>
              </a:r>
            </a:p>
          </p:txBody>
        </p:sp>
        <p:sp>
          <p:nvSpPr>
            <p:cNvPr id="122" name="TextBox 121">
              <a:extLst>
                <a:ext uri="{FF2B5EF4-FFF2-40B4-BE49-F238E27FC236}">
                  <a16:creationId xmlns:a16="http://schemas.microsoft.com/office/drawing/2014/main" id="{3D375FCE-14AB-C045-BC97-7A915F5B145E}"/>
                </a:ext>
              </a:extLst>
            </p:cNvPr>
            <p:cNvSpPr txBox="1"/>
            <p:nvPr/>
          </p:nvSpPr>
          <p:spPr>
            <a:xfrm>
              <a:off x="3948993" y="1155415"/>
              <a:ext cx="164495" cy="156141"/>
            </a:xfrm>
            <a:prstGeom prst="rect">
              <a:avLst/>
            </a:prstGeom>
            <a:noFill/>
          </p:spPr>
          <p:txBody>
            <a:bodyPr wrap="none" lIns="0" tIns="0" rIns="0" bIns="0" rtlCol="0">
              <a:noAutofit/>
            </a:bodyPr>
            <a:lstStyle/>
            <a:p>
              <a:pPr marL="0" marR="0" lvl="0" indent="0" algn="l" defTabSz="609570" rtl="0" eaLnBrk="1" fontAlgn="base" latinLnBrk="0" hangingPunct="1">
                <a:lnSpc>
                  <a:spcPct val="110000"/>
                </a:lnSpc>
                <a:spcBef>
                  <a:spcPct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67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iscoSansTT Light" panose="020B0503020201020303" pitchFamily="34" charset="0"/>
                  <a:ea typeface="ＭＳ Ｐゴシック" charset="0"/>
                  <a:cs typeface="CiscoSansTT Light" panose="020B0503020201020303" pitchFamily="34" charset="0"/>
                </a:rPr>
                <a:t>x11</a:t>
              </a:r>
            </a:p>
          </p:txBody>
        </p:sp>
        <p:sp>
          <p:nvSpPr>
            <p:cNvPr id="123" name="TextBox 122">
              <a:extLst>
                <a:ext uri="{FF2B5EF4-FFF2-40B4-BE49-F238E27FC236}">
                  <a16:creationId xmlns:a16="http://schemas.microsoft.com/office/drawing/2014/main" id="{0C2C4A13-4913-D44E-A4A0-3AE3C0A8A383}"/>
                </a:ext>
              </a:extLst>
            </p:cNvPr>
            <p:cNvSpPr txBox="1"/>
            <p:nvPr/>
          </p:nvSpPr>
          <p:spPr>
            <a:xfrm>
              <a:off x="4346717" y="1373128"/>
              <a:ext cx="164495" cy="156141"/>
            </a:xfrm>
            <a:prstGeom prst="rect">
              <a:avLst/>
            </a:prstGeom>
            <a:noFill/>
          </p:spPr>
          <p:txBody>
            <a:bodyPr wrap="none" lIns="0" tIns="0" rIns="0" bIns="0" rtlCol="0">
              <a:noAutofit/>
            </a:bodyPr>
            <a:lstStyle/>
            <a:p>
              <a:pPr marL="0" marR="0" lvl="0" indent="0" algn="l" defTabSz="609570" rtl="0" eaLnBrk="1" fontAlgn="base" latinLnBrk="0" hangingPunct="1">
                <a:lnSpc>
                  <a:spcPct val="110000"/>
                </a:lnSpc>
                <a:spcBef>
                  <a:spcPct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67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iscoSansTT Light" panose="020B0503020201020303" pitchFamily="34" charset="0"/>
                <a:ea typeface="ＭＳ Ｐゴシック" charset="0"/>
                <a:cs typeface="CiscoSansTT Light" panose="020B0503020201020303" pitchFamily="34" charset="0"/>
              </a:endParaRPr>
            </a:p>
          </p:txBody>
        </p:sp>
        <p:sp>
          <p:nvSpPr>
            <p:cNvPr id="124" name="TextBox 123">
              <a:extLst>
                <a:ext uri="{FF2B5EF4-FFF2-40B4-BE49-F238E27FC236}">
                  <a16:creationId xmlns:a16="http://schemas.microsoft.com/office/drawing/2014/main" id="{D75953CC-4B11-7F46-A04B-266CDDE10965}"/>
                </a:ext>
              </a:extLst>
            </p:cNvPr>
            <p:cNvSpPr txBox="1"/>
            <p:nvPr/>
          </p:nvSpPr>
          <p:spPr>
            <a:xfrm>
              <a:off x="4347015" y="1373128"/>
              <a:ext cx="164495" cy="156141"/>
            </a:xfrm>
            <a:prstGeom prst="rect">
              <a:avLst/>
            </a:prstGeom>
            <a:noFill/>
          </p:spPr>
          <p:txBody>
            <a:bodyPr wrap="none" lIns="0" tIns="0" rIns="0" bIns="0" rtlCol="0">
              <a:noAutofit/>
            </a:bodyPr>
            <a:lstStyle/>
            <a:p>
              <a:pPr marL="0" marR="0" lvl="0" indent="0" algn="l" defTabSz="609570" rtl="0" eaLnBrk="1" fontAlgn="base" latinLnBrk="0" hangingPunct="1">
                <a:lnSpc>
                  <a:spcPct val="110000"/>
                </a:lnSpc>
                <a:spcBef>
                  <a:spcPct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67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iscoSansTT Light" panose="020B0503020201020303" pitchFamily="34" charset="0"/>
                  <a:ea typeface="ＭＳ Ｐゴシック" charset="0"/>
                  <a:cs typeface="CiscoSansTT Light" panose="020B0503020201020303" pitchFamily="34" charset="0"/>
                </a:rPr>
                <a:t>x4</a:t>
              </a:r>
            </a:p>
          </p:txBody>
        </p:sp>
      </p:grpSp>
      <p:sp>
        <p:nvSpPr>
          <p:cNvPr id="212" name="TextBox 211">
            <a:extLst>
              <a:ext uri="{FF2B5EF4-FFF2-40B4-BE49-F238E27FC236}">
                <a16:creationId xmlns:a16="http://schemas.microsoft.com/office/drawing/2014/main" id="{C7530424-548A-48D1-99B8-010C2A8039A3}"/>
              </a:ext>
            </a:extLst>
          </p:cNvPr>
          <p:cNvSpPr txBox="1"/>
          <p:nvPr/>
        </p:nvSpPr>
        <p:spPr>
          <a:xfrm>
            <a:off x="4712199" y="794392"/>
            <a:ext cx="1149908" cy="79152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ctr" defTabSz="914354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iscoSansTT" panose="020B0503020201020303" pitchFamily="34" charset="0"/>
                <a:ea typeface="ＭＳ Ｐゴシック" charset="0"/>
                <a:cs typeface="CiscoSansTT" panose="020B0503020201020303" pitchFamily="34" charset="0"/>
              </a:rPr>
              <a:t>Month </a:t>
            </a:r>
            <a:b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iscoSansTT" panose="020B0503020201020303" pitchFamily="34" charset="0"/>
                <a:ea typeface="ＭＳ Ｐゴシック" charset="0"/>
                <a:cs typeface="CiscoSansTT" panose="020B0503020201020303" pitchFamily="34" charset="0"/>
              </a:rPr>
            </a:br>
            <a:r>
              <a:rPr kumimoji="0" lang="en-US" sz="4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iscoSansTT Light" panose="020B0503020201020303" pitchFamily="34" charset="0"/>
                <a:ea typeface="ＭＳ Ｐゴシック" charset="0"/>
                <a:cs typeface="CiscoSansTT Light" panose="020B0503020201020303" pitchFamily="34" charset="0"/>
              </a:rPr>
              <a:t>1</a:t>
            </a:r>
            <a:endParaRPr kumimoji="0" lang="en-US" sz="60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iscoSansTT Light" panose="020B0503020201020303" pitchFamily="34" charset="0"/>
              <a:ea typeface="ＭＳ Ｐゴシック" charset="0"/>
              <a:cs typeface="CiscoSansTT Light" panose="020B0503020201020303" pitchFamily="34" charset="0"/>
            </a:endParaRPr>
          </a:p>
        </p:txBody>
      </p:sp>
      <p:sp>
        <p:nvSpPr>
          <p:cNvPr id="292" name="TextBox 291">
            <a:extLst>
              <a:ext uri="{FF2B5EF4-FFF2-40B4-BE49-F238E27FC236}">
                <a16:creationId xmlns:a16="http://schemas.microsoft.com/office/drawing/2014/main" id="{84C88A43-90F8-49DD-9F40-6F04DA7F41C8}"/>
              </a:ext>
            </a:extLst>
          </p:cNvPr>
          <p:cNvSpPr txBox="1"/>
          <p:nvPr/>
        </p:nvSpPr>
        <p:spPr>
          <a:xfrm>
            <a:off x="4500532" y="309752"/>
            <a:ext cx="1573243" cy="37147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ctr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FBAB18"/>
                </a:solidFill>
                <a:effectLst/>
                <a:uLnTx/>
                <a:uFillTx/>
                <a:latin typeface="CiscoSansTT" panose="020B0503020201020303" pitchFamily="34" charset="0"/>
                <a:ea typeface="ＭＳ Ｐゴシック" charset="0"/>
                <a:cs typeface="CiscoSansTT" panose="020B0503020201020303" pitchFamily="34" charset="0"/>
              </a:rPr>
              <a:t>Priority Validation Workshop</a:t>
            </a:r>
          </a:p>
        </p:txBody>
      </p:sp>
      <p:sp>
        <p:nvSpPr>
          <p:cNvPr id="293" name="TextBox 292">
            <a:extLst>
              <a:ext uri="{FF2B5EF4-FFF2-40B4-BE49-F238E27FC236}">
                <a16:creationId xmlns:a16="http://schemas.microsoft.com/office/drawing/2014/main" id="{02629370-D40F-4457-B03E-B74DAB39059A}"/>
              </a:ext>
            </a:extLst>
          </p:cNvPr>
          <p:cNvSpPr txBox="1"/>
          <p:nvPr/>
        </p:nvSpPr>
        <p:spPr>
          <a:xfrm>
            <a:off x="6665905" y="794392"/>
            <a:ext cx="1186928" cy="79152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ctr" defTabSz="914354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iscoSansTT" panose="020B0503020201020303" pitchFamily="34" charset="0"/>
                <a:ea typeface="ＭＳ Ｐゴシック" charset="0"/>
                <a:cs typeface="CiscoSansTT" panose="020B0503020201020303" pitchFamily="34" charset="0"/>
              </a:rPr>
              <a:t>Month </a:t>
            </a:r>
            <a:b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iscoSansTT" panose="020B0503020201020303" pitchFamily="34" charset="0"/>
                <a:ea typeface="ＭＳ Ｐゴシック" charset="0"/>
                <a:cs typeface="CiscoSansTT" panose="020B0503020201020303" pitchFamily="34" charset="0"/>
              </a:rPr>
            </a:br>
            <a:r>
              <a:rPr kumimoji="0" lang="en-US" sz="4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iscoSansTT Light" panose="020B0503020201020303" pitchFamily="34" charset="0"/>
                <a:ea typeface="ＭＳ Ｐゴシック" charset="0"/>
                <a:cs typeface="CiscoSansTT Light" panose="020B0503020201020303" pitchFamily="34" charset="0"/>
              </a:rPr>
              <a:t>2</a:t>
            </a:r>
            <a:endParaRPr kumimoji="0" lang="en-US" sz="60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iscoSansTT Light" panose="020B0503020201020303" pitchFamily="34" charset="0"/>
              <a:ea typeface="ＭＳ Ｐゴシック" charset="0"/>
              <a:cs typeface="CiscoSansTT Light" panose="020B0503020201020303" pitchFamily="34" charset="0"/>
            </a:endParaRPr>
          </a:p>
        </p:txBody>
      </p:sp>
      <p:sp>
        <p:nvSpPr>
          <p:cNvPr id="294" name="TextBox 293">
            <a:extLst>
              <a:ext uri="{FF2B5EF4-FFF2-40B4-BE49-F238E27FC236}">
                <a16:creationId xmlns:a16="http://schemas.microsoft.com/office/drawing/2014/main" id="{37CF56E0-405E-4C1A-9CDF-0DCD02EFA3CD}"/>
              </a:ext>
            </a:extLst>
          </p:cNvPr>
          <p:cNvSpPr txBox="1"/>
          <p:nvPr/>
        </p:nvSpPr>
        <p:spPr>
          <a:xfrm>
            <a:off x="8638123" y="794392"/>
            <a:ext cx="1186928" cy="79152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ctr" defTabSz="914354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iscoSansTT" panose="020B0503020201020303" pitchFamily="34" charset="0"/>
                <a:ea typeface="ＭＳ Ｐゴシック" charset="0"/>
                <a:cs typeface="CiscoSansTT" panose="020B0503020201020303" pitchFamily="34" charset="0"/>
              </a:rPr>
              <a:t>Month </a:t>
            </a:r>
            <a:b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iscoSansTT" panose="020B0503020201020303" pitchFamily="34" charset="0"/>
                <a:ea typeface="ＭＳ Ｐゴシック" charset="0"/>
                <a:cs typeface="CiscoSansTT" panose="020B0503020201020303" pitchFamily="34" charset="0"/>
              </a:rPr>
            </a:br>
            <a:r>
              <a:rPr kumimoji="0" lang="en-US" sz="4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iscoSansTT Light" panose="020B0503020201020303" pitchFamily="34" charset="0"/>
                <a:ea typeface="ＭＳ Ｐゴシック" charset="0"/>
                <a:cs typeface="CiscoSansTT Light" panose="020B0503020201020303" pitchFamily="34" charset="0"/>
              </a:rPr>
              <a:t>3</a:t>
            </a:r>
            <a:endParaRPr kumimoji="0" lang="en-US" sz="60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iscoSansTT Light" panose="020B0503020201020303" pitchFamily="34" charset="0"/>
              <a:ea typeface="ＭＳ Ｐゴシック" charset="0"/>
              <a:cs typeface="CiscoSansTT Light" panose="020B0503020201020303" pitchFamily="34" charset="0"/>
            </a:endParaRPr>
          </a:p>
        </p:txBody>
      </p:sp>
      <p:sp>
        <p:nvSpPr>
          <p:cNvPr id="296" name="TextBox 295">
            <a:extLst>
              <a:ext uri="{FF2B5EF4-FFF2-40B4-BE49-F238E27FC236}">
                <a16:creationId xmlns:a16="http://schemas.microsoft.com/office/drawing/2014/main" id="{BE7EE249-4763-4600-8DE6-A43076BBEBAA}"/>
              </a:ext>
            </a:extLst>
          </p:cNvPr>
          <p:cNvSpPr txBox="1"/>
          <p:nvPr/>
        </p:nvSpPr>
        <p:spPr>
          <a:xfrm>
            <a:off x="8517987" y="309752"/>
            <a:ext cx="1427199" cy="37147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ctr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FBAB18"/>
                </a:solidFill>
                <a:effectLst/>
                <a:uLnTx/>
                <a:uFillTx/>
                <a:latin typeface="CiscoSansTT" panose="020B0503020201020303" pitchFamily="34" charset="0"/>
                <a:ea typeface="ＭＳ Ｐゴシック" charset="0"/>
                <a:cs typeface="CiscoSansTT" panose="020B0503020201020303" pitchFamily="34" charset="0"/>
              </a:rPr>
              <a:t>90-Day Review</a:t>
            </a:r>
          </a:p>
        </p:txBody>
      </p:sp>
      <p:sp>
        <p:nvSpPr>
          <p:cNvPr id="297" name="TextBox 296">
            <a:extLst>
              <a:ext uri="{FF2B5EF4-FFF2-40B4-BE49-F238E27FC236}">
                <a16:creationId xmlns:a16="http://schemas.microsoft.com/office/drawing/2014/main" id="{29C9FC18-01ED-4BE8-80AC-319DB8FFC688}"/>
              </a:ext>
            </a:extLst>
          </p:cNvPr>
          <p:cNvSpPr txBox="1"/>
          <p:nvPr/>
        </p:nvSpPr>
        <p:spPr>
          <a:xfrm>
            <a:off x="10610339" y="794392"/>
            <a:ext cx="1186928" cy="79152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ctr" defTabSz="914354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iscoSansTT" panose="020B0503020201020303" pitchFamily="34" charset="0"/>
                <a:ea typeface="ＭＳ Ｐゴシック" charset="0"/>
                <a:cs typeface="CiscoSansTT" panose="020B0503020201020303" pitchFamily="34" charset="0"/>
              </a:rPr>
              <a:t>Month </a:t>
            </a:r>
            <a:b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iscoSansTT" panose="020B0503020201020303" pitchFamily="34" charset="0"/>
                <a:ea typeface="ＭＳ Ｐゴシック" charset="0"/>
                <a:cs typeface="CiscoSansTT" panose="020B0503020201020303" pitchFamily="34" charset="0"/>
              </a:rPr>
            </a:br>
            <a:r>
              <a:rPr kumimoji="0" lang="en-US" sz="4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iscoSansTT Light" panose="020B0503020201020303" pitchFamily="34" charset="0"/>
                <a:ea typeface="ＭＳ Ｐゴシック" charset="0"/>
                <a:cs typeface="CiscoSansTT Light" panose="020B0503020201020303" pitchFamily="34" charset="0"/>
              </a:rPr>
              <a:t>4</a:t>
            </a:r>
            <a:endParaRPr kumimoji="0" lang="en-US" sz="60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iscoSansTT Light" panose="020B0503020201020303" pitchFamily="34" charset="0"/>
              <a:ea typeface="ＭＳ Ｐゴシック" charset="0"/>
              <a:cs typeface="CiscoSansTT Light" panose="020B0503020201020303" pitchFamily="34" charset="0"/>
            </a:endParaRPr>
          </a:p>
        </p:txBody>
      </p:sp>
      <p:grpSp>
        <p:nvGrpSpPr>
          <p:cNvPr id="299" name="Group 298">
            <a:extLst>
              <a:ext uri="{FF2B5EF4-FFF2-40B4-BE49-F238E27FC236}">
                <a16:creationId xmlns:a16="http://schemas.microsoft.com/office/drawing/2014/main" id="{AA64EE80-302A-4174-A527-1AD4C69CA8CF}"/>
              </a:ext>
            </a:extLst>
          </p:cNvPr>
          <p:cNvGrpSpPr/>
          <p:nvPr/>
        </p:nvGrpSpPr>
        <p:grpSpPr>
          <a:xfrm>
            <a:off x="6528839" y="1646250"/>
            <a:ext cx="1584516" cy="542284"/>
            <a:chOff x="3329221" y="1138985"/>
            <a:chExt cx="1188387" cy="406713"/>
          </a:xfrm>
        </p:grpSpPr>
        <p:pic>
          <p:nvPicPr>
            <p:cNvPr id="300" name="Graphic 299">
              <a:extLst>
                <a:ext uri="{FF2B5EF4-FFF2-40B4-BE49-F238E27FC236}">
                  <a16:creationId xmlns:a16="http://schemas.microsoft.com/office/drawing/2014/main" id="{F8AEFD9B-E17A-4E1A-8B28-D6C5F7018F55}"/>
                </a:ext>
              </a:extLst>
            </p:cNvPr>
            <p:cNvPicPr>
              <a:picLocks noChangeAspect="1"/>
            </p:cNvPicPr>
            <p:nvPr/>
          </p:nvPicPr>
          <p:blipFill>
            <a:blip r:embed="rId27">
              <a:extLst>
                <a:ext uri="{96DAC541-7B7A-43D3-8B79-37D633B846F1}">
                  <asvg:svgBlip xmlns:asvg="http://schemas.microsoft.com/office/drawing/2016/SVG/main" r:embed="rId39"/>
                </a:ext>
              </a:extLst>
            </a:blip>
            <a:stretch>
              <a:fillRect/>
            </a:stretch>
          </p:blipFill>
          <p:spPr>
            <a:xfrm>
              <a:off x="3329221" y="1138985"/>
              <a:ext cx="189553" cy="189000"/>
            </a:xfrm>
            <a:prstGeom prst="rect">
              <a:avLst/>
            </a:prstGeom>
          </p:spPr>
        </p:pic>
        <p:pic>
          <p:nvPicPr>
            <p:cNvPr id="301" name="Graphic 300">
              <a:extLst>
                <a:ext uri="{FF2B5EF4-FFF2-40B4-BE49-F238E27FC236}">
                  <a16:creationId xmlns:a16="http://schemas.microsoft.com/office/drawing/2014/main" id="{8D48DC93-01A6-4141-888A-818F53A0A190}"/>
                </a:ext>
              </a:extLst>
            </p:cNvPr>
            <p:cNvPicPr>
              <a:picLocks noChangeAspect="1"/>
            </p:cNvPicPr>
            <p:nvPr/>
          </p:nvPicPr>
          <p:blipFill>
            <a:blip r:embed="rId31">
              <a:extLst>
                <a:ext uri="{96DAC541-7B7A-43D3-8B79-37D633B846F1}">
                  <asvg:svgBlip xmlns:asvg="http://schemas.microsoft.com/office/drawing/2016/SVG/main" r:embed="rId40"/>
                </a:ext>
              </a:extLst>
            </a:blip>
            <a:stretch>
              <a:fillRect/>
            </a:stretch>
          </p:blipFill>
          <p:spPr>
            <a:xfrm>
              <a:off x="3723812" y="1138985"/>
              <a:ext cx="189005" cy="189000"/>
            </a:xfrm>
            <a:prstGeom prst="rect">
              <a:avLst/>
            </a:prstGeom>
          </p:spPr>
        </p:pic>
        <p:pic>
          <p:nvPicPr>
            <p:cNvPr id="302" name="Graphic 301">
              <a:extLst>
                <a:ext uri="{FF2B5EF4-FFF2-40B4-BE49-F238E27FC236}">
                  <a16:creationId xmlns:a16="http://schemas.microsoft.com/office/drawing/2014/main" id="{15B9F673-6E30-4651-82AB-58477FE5A295}"/>
                </a:ext>
              </a:extLst>
            </p:cNvPr>
            <p:cNvPicPr>
              <a:picLocks noChangeAspect="1"/>
            </p:cNvPicPr>
            <p:nvPr/>
          </p:nvPicPr>
          <p:blipFill>
            <a:blip r:embed="rId29">
              <a:extLst>
                <a:ext uri="{96DAC541-7B7A-43D3-8B79-37D633B846F1}">
                  <asvg:svgBlip xmlns:asvg="http://schemas.microsoft.com/office/drawing/2016/SVG/main" r:embed="rId41"/>
                </a:ext>
              </a:extLst>
            </a:blip>
            <a:stretch>
              <a:fillRect/>
            </a:stretch>
          </p:blipFill>
          <p:spPr>
            <a:xfrm>
              <a:off x="4118475" y="1138985"/>
              <a:ext cx="189005" cy="189000"/>
            </a:xfrm>
            <a:prstGeom prst="rect">
              <a:avLst/>
            </a:prstGeom>
          </p:spPr>
        </p:pic>
        <p:pic>
          <p:nvPicPr>
            <p:cNvPr id="303" name="Graphic 302">
              <a:extLst>
                <a:ext uri="{FF2B5EF4-FFF2-40B4-BE49-F238E27FC236}">
                  <a16:creationId xmlns:a16="http://schemas.microsoft.com/office/drawing/2014/main" id="{2050025F-9906-4E6A-B4B3-8E736DDC9CE6}"/>
                </a:ext>
              </a:extLst>
            </p:cNvPr>
            <p:cNvPicPr>
              <a:picLocks noChangeAspect="1"/>
            </p:cNvPicPr>
            <p:nvPr/>
          </p:nvPicPr>
          <p:blipFill>
            <a:blip r:embed="rId33">
              <a:extLst>
                <a:ext uri="{96DAC541-7B7A-43D3-8B79-37D633B846F1}">
                  <asvg:svgBlip xmlns:asvg="http://schemas.microsoft.com/office/drawing/2016/SVG/main" r:embed="rId42"/>
                </a:ext>
              </a:extLst>
            </a:blip>
            <a:stretch>
              <a:fillRect/>
            </a:stretch>
          </p:blipFill>
          <p:spPr>
            <a:xfrm>
              <a:off x="3723538" y="1356698"/>
              <a:ext cx="189000" cy="189000"/>
            </a:xfrm>
            <a:prstGeom prst="rect">
              <a:avLst/>
            </a:prstGeom>
          </p:spPr>
        </p:pic>
        <p:pic>
          <p:nvPicPr>
            <p:cNvPr id="304" name="Graphic 303">
              <a:extLst>
                <a:ext uri="{FF2B5EF4-FFF2-40B4-BE49-F238E27FC236}">
                  <a16:creationId xmlns:a16="http://schemas.microsoft.com/office/drawing/2014/main" id="{F55BA0F9-CCD5-4D42-8FAE-6CA2B56544EE}"/>
                </a:ext>
              </a:extLst>
            </p:cNvPr>
            <p:cNvPicPr>
              <a:picLocks noChangeAspect="1"/>
            </p:cNvPicPr>
            <p:nvPr/>
          </p:nvPicPr>
          <p:blipFill>
            <a:blip r:embed="rId37">
              <a:extLst>
                <a:ext uri="{96DAC541-7B7A-43D3-8B79-37D633B846F1}">
                  <asvg:svgBlip xmlns:asvg="http://schemas.microsoft.com/office/drawing/2016/SVG/main" r:embed="rId43"/>
                </a:ext>
              </a:extLst>
            </a:blip>
            <a:stretch>
              <a:fillRect/>
            </a:stretch>
          </p:blipFill>
          <p:spPr>
            <a:xfrm>
              <a:off x="3329221" y="1356698"/>
              <a:ext cx="189000" cy="189000"/>
            </a:xfrm>
            <a:prstGeom prst="rect">
              <a:avLst/>
            </a:prstGeom>
          </p:spPr>
        </p:pic>
        <p:pic>
          <p:nvPicPr>
            <p:cNvPr id="305" name="Graphic 304">
              <a:extLst>
                <a:ext uri="{FF2B5EF4-FFF2-40B4-BE49-F238E27FC236}">
                  <a16:creationId xmlns:a16="http://schemas.microsoft.com/office/drawing/2014/main" id="{72A92C95-A69E-4DFC-B4F6-41F98177437C}"/>
                </a:ext>
              </a:extLst>
            </p:cNvPr>
            <p:cNvPicPr>
              <a:picLocks noChangeAspect="1"/>
            </p:cNvPicPr>
            <p:nvPr/>
          </p:nvPicPr>
          <p:blipFill>
            <a:blip r:embed="rId35">
              <a:extLst>
                <a:ext uri="{96DAC541-7B7A-43D3-8B79-37D633B846F1}">
                  <asvg:svgBlip xmlns:asvg="http://schemas.microsoft.com/office/drawing/2016/SVG/main" r:embed="rId44"/>
                </a:ext>
              </a:extLst>
            </a:blip>
            <a:stretch>
              <a:fillRect/>
            </a:stretch>
          </p:blipFill>
          <p:spPr>
            <a:xfrm>
              <a:off x="4118475" y="1356698"/>
              <a:ext cx="189000" cy="189000"/>
            </a:xfrm>
            <a:prstGeom prst="rect">
              <a:avLst/>
            </a:prstGeom>
          </p:spPr>
        </p:pic>
        <p:sp>
          <p:nvSpPr>
            <p:cNvPr id="306" name="TextBox 305">
              <a:extLst>
                <a:ext uri="{FF2B5EF4-FFF2-40B4-BE49-F238E27FC236}">
                  <a16:creationId xmlns:a16="http://schemas.microsoft.com/office/drawing/2014/main" id="{3982DD32-1A7E-408C-95F1-8511297A0502}"/>
                </a:ext>
              </a:extLst>
            </p:cNvPr>
            <p:cNvSpPr txBox="1"/>
            <p:nvPr/>
          </p:nvSpPr>
          <p:spPr>
            <a:xfrm>
              <a:off x="3541994" y="1155415"/>
              <a:ext cx="164495" cy="156141"/>
            </a:xfrm>
            <a:prstGeom prst="rect">
              <a:avLst/>
            </a:prstGeom>
            <a:noFill/>
          </p:spPr>
          <p:txBody>
            <a:bodyPr wrap="none" lIns="0" tIns="0" rIns="0" bIns="0" rtlCol="0">
              <a:noAutofit/>
            </a:bodyPr>
            <a:lstStyle/>
            <a:p>
              <a:pPr marL="0" marR="0" lvl="0" indent="0" algn="l" defTabSz="609570" rtl="0" eaLnBrk="1" fontAlgn="base" latinLnBrk="0" hangingPunct="1">
                <a:lnSpc>
                  <a:spcPct val="110000"/>
                </a:lnSpc>
                <a:spcBef>
                  <a:spcPct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67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iscoSansTT Light" panose="020B0503020201020303" pitchFamily="34" charset="0"/>
                  <a:ea typeface="ＭＳ Ｐゴシック" charset="0"/>
                  <a:cs typeface="CiscoSansTT Light" panose="020B0503020201020303" pitchFamily="34" charset="0"/>
                </a:rPr>
                <a:t>x12</a:t>
              </a:r>
            </a:p>
          </p:txBody>
        </p:sp>
        <p:sp>
          <p:nvSpPr>
            <p:cNvPr id="307" name="TextBox 306">
              <a:extLst>
                <a:ext uri="{FF2B5EF4-FFF2-40B4-BE49-F238E27FC236}">
                  <a16:creationId xmlns:a16="http://schemas.microsoft.com/office/drawing/2014/main" id="{0B1192FE-4C5A-4DD8-829C-A5142FA5CEB3}"/>
                </a:ext>
              </a:extLst>
            </p:cNvPr>
            <p:cNvSpPr txBox="1"/>
            <p:nvPr/>
          </p:nvSpPr>
          <p:spPr>
            <a:xfrm>
              <a:off x="4353113" y="1155415"/>
              <a:ext cx="164495" cy="156141"/>
            </a:xfrm>
            <a:prstGeom prst="rect">
              <a:avLst/>
            </a:prstGeom>
            <a:noFill/>
          </p:spPr>
          <p:txBody>
            <a:bodyPr wrap="none" lIns="0" tIns="0" rIns="0" bIns="0" rtlCol="0">
              <a:noAutofit/>
            </a:bodyPr>
            <a:lstStyle/>
            <a:p>
              <a:pPr marL="0" marR="0" lvl="0" indent="0" algn="l" defTabSz="609570" rtl="0" eaLnBrk="1" fontAlgn="base" latinLnBrk="0" hangingPunct="1">
                <a:lnSpc>
                  <a:spcPct val="110000"/>
                </a:lnSpc>
                <a:spcBef>
                  <a:spcPct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67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iscoSansTT Light" panose="020B0503020201020303" pitchFamily="34" charset="0"/>
                  <a:ea typeface="ＭＳ Ｐゴシック" charset="0"/>
                  <a:cs typeface="CiscoSansTT Light" panose="020B0503020201020303" pitchFamily="34" charset="0"/>
                </a:rPr>
                <a:t>x4</a:t>
              </a:r>
            </a:p>
          </p:txBody>
        </p:sp>
        <p:sp>
          <p:nvSpPr>
            <p:cNvPr id="308" name="TextBox 307">
              <a:extLst>
                <a:ext uri="{FF2B5EF4-FFF2-40B4-BE49-F238E27FC236}">
                  <a16:creationId xmlns:a16="http://schemas.microsoft.com/office/drawing/2014/main" id="{63F2E910-4E95-4741-B5FC-911544EFE447}"/>
                </a:ext>
              </a:extLst>
            </p:cNvPr>
            <p:cNvSpPr txBox="1"/>
            <p:nvPr/>
          </p:nvSpPr>
          <p:spPr>
            <a:xfrm>
              <a:off x="3936414" y="1373128"/>
              <a:ext cx="164495" cy="156141"/>
            </a:xfrm>
            <a:prstGeom prst="rect">
              <a:avLst/>
            </a:prstGeom>
            <a:noFill/>
          </p:spPr>
          <p:txBody>
            <a:bodyPr wrap="none" lIns="0" tIns="0" rIns="0" bIns="0" rtlCol="0">
              <a:noAutofit/>
            </a:bodyPr>
            <a:lstStyle/>
            <a:p>
              <a:pPr marL="0" marR="0" lvl="0" indent="0" algn="l" defTabSz="609570" rtl="0" eaLnBrk="1" fontAlgn="base" latinLnBrk="0" hangingPunct="1">
                <a:lnSpc>
                  <a:spcPct val="110000"/>
                </a:lnSpc>
                <a:spcBef>
                  <a:spcPct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67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iscoSansTT Light" panose="020B0503020201020303" pitchFamily="34" charset="0"/>
                  <a:ea typeface="ＭＳ Ｐゴシック" charset="0"/>
                  <a:cs typeface="CiscoSansTT Light" panose="020B0503020201020303" pitchFamily="34" charset="0"/>
                </a:rPr>
                <a:t>x4</a:t>
              </a:r>
            </a:p>
          </p:txBody>
        </p:sp>
        <p:sp>
          <p:nvSpPr>
            <p:cNvPr id="309" name="TextBox 308">
              <a:extLst>
                <a:ext uri="{FF2B5EF4-FFF2-40B4-BE49-F238E27FC236}">
                  <a16:creationId xmlns:a16="http://schemas.microsoft.com/office/drawing/2014/main" id="{2FBDF7FA-0F07-4F70-A85A-9EE9E77BDB88}"/>
                </a:ext>
              </a:extLst>
            </p:cNvPr>
            <p:cNvSpPr txBox="1"/>
            <p:nvPr/>
          </p:nvSpPr>
          <p:spPr>
            <a:xfrm>
              <a:off x="3948993" y="1155415"/>
              <a:ext cx="164495" cy="156141"/>
            </a:xfrm>
            <a:prstGeom prst="rect">
              <a:avLst/>
            </a:prstGeom>
            <a:noFill/>
          </p:spPr>
          <p:txBody>
            <a:bodyPr wrap="none" lIns="0" tIns="0" rIns="0" bIns="0" rtlCol="0">
              <a:noAutofit/>
            </a:bodyPr>
            <a:lstStyle/>
            <a:p>
              <a:pPr marL="0" marR="0" lvl="0" indent="0" algn="l" defTabSz="609570" rtl="0" eaLnBrk="1" fontAlgn="base" latinLnBrk="0" hangingPunct="1">
                <a:lnSpc>
                  <a:spcPct val="110000"/>
                </a:lnSpc>
                <a:spcBef>
                  <a:spcPct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67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iscoSansTT Light" panose="020B0503020201020303" pitchFamily="34" charset="0"/>
                  <a:ea typeface="ＭＳ Ｐゴシック" charset="0"/>
                  <a:cs typeface="CiscoSansTT Light" panose="020B0503020201020303" pitchFamily="34" charset="0"/>
                </a:rPr>
                <a:t>x17</a:t>
              </a:r>
            </a:p>
          </p:txBody>
        </p:sp>
        <p:sp>
          <p:nvSpPr>
            <p:cNvPr id="310" name="TextBox 309">
              <a:extLst>
                <a:ext uri="{FF2B5EF4-FFF2-40B4-BE49-F238E27FC236}">
                  <a16:creationId xmlns:a16="http://schemas.microsoft.com/office/drawing/2014/main" id="{47DB7D0D-B75D-4CF7-B30F-43C78D60879D}"/>
                </a:ext>
              </a:extLst>
            </p:cNvPr>
            <p:cNvSpPr txBox="1"/>
            <p:nvPr/>
          </p:nvSpPr>
          <p:spPr>
            <a:xfrm>
              <a:off x="4346717" y="1373128"/>
              <a:ext cx="164495" cy="156141"/>
            </a:xfrm>
            <a:prstGeom prst="rect">
              <a:avLst/>
            </a:prstGeom>
            <a:noFill/>
          </p:spPr>
          <p:txBody>
            <a:bodyPr wrap="none" lIns="0" tIns="0" rIns="0" bIns="0" rtlCol="0">
              <a:noAutofit/>
            </a:bodyPr>
            <a:lstStyle/>
            <a:p>
              <a:pPr marL="0" marR="0" lvl="0" indent="0" algn="l" defTabSz="609570" rtl="0" eaLnBrk="1" fontAlgn="base" latinLnBrk="0" hangingPunct="1">
                <a:lnSpc>
                  <a:spcPct val="110000"/>
                </a:lnSpc>
                <a:spcBef>
                  <a:spcPct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67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iscoSansTT Light" panose="020B0503020201020303" pitchFamily="34" charset="0"/>
                <a:ea typeface="ＭＳ Ｐゴシック" charset="0"/>
                <a:cs typeface="CiscoSansTT Light" panose="020B0503020201020303" pitchFamily="34" charset="0"/>
              </a:endParaRPr>
            </a:p>
          </p:txBody>
        </p:sp>
        <p:sp>
          <p:nvSpPr>
            <p:cNvPr id="311" name="TextBox 310">
              <a:extLst>
                <a:ext uri="{FF2B5EF4-FFF2-40B4-BE49-F238E27FC236}">
                  <a16:creationId xmlns:a16="http://schemas.microsoft.com/office/drawing/2014/main" id="{6EB086BB-8304-498D-B8A6-28450F5B3C5A}"/>
                </a:ext>
              </a:extLst>
            </p:cNvPr>
            <p:cNvSpPr txBox="1"/>
            <p:nvPr/>
          </p:nvSpPr>
          <p:spPr>
            <a:xfrm>
              <a:off x="4347015" y="1373128"/>
              <a:ext cx="164495" cy="156141"/>
            </a:xfrm>
            <a:prstGeom prst="rect">
              <a:avLst/>
            </a:prstGeom>
            <a:noFill/>
          </p:spPr>
          <p:txBody>
            <a:bodyPr wrap="none" lIns="0" tIns="0" rIns="0" bIns="0" rtlCol="0">
              <a:noAutofit/>
            </a:bodyPr>
            <a:lstStyle/>
            <a:p>
              <a:pPr marL="0" marR="0" lvl="0" indent="0" algn="l" defTabSz="609570" rtl="0" eaLnBrk="1" fontAlgn="base" latinLnBrk="0" hangingPunct="1">
                <a:lnSpc>
                  <a:spcPct val="110000"/>
                </a:lnSpc>
                <a:spcBef>
                  <a:spcPct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67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iscoSansTT Light" panose="020B0503020201020303" pitchFamily="34" charset="0"/>
                  <a:ea typeface="ＭＳ Ｐゴシック" charset="0"/>
                  <a:cs typeface="CiscoSansTT Light" panose="020B0503020201020303" pitchFamily="34" charset="0"/>
                </a:rPr>
                <a:t>x4</a:t>
              </a:r>
            </a:p>
          </p:txBody>
        </p:sp>
      </p:grpSp>
      <p:grpSp>
        <p:nvGrpSpPr>
          <p:cNvPr id="312" name="Group 311">
            <a:extLst>
              <a:ext uri="{FF2B5EF4-FFF2-40B4-BE49-F238E27FC236}">
                <a16:creationId xmlns:a16="http://schemas.microsoft.com/office/drawing/2014/main" id="{ED8A40BA-D6B0-4857-9ADE-52A054D46C6A}"/>
              </a:ext>
            </a:extLst>
          </p:cNvPr>
          <p:cNvGrpSpPr/>
          <p:nvPr/>
        </p:nvGrpSpPr>
        <p:grpSpPr>
          <a:xfrm>
            <a:off x="8501057" y="1646250"/>
            <a:ext cx="1584516" cy="542284"/>
            <a:chOff x="3329221" y="1138985"/>
            <a:chExt cx="1188387" cy="406713"/>
          </a:xfrm>
        </p:grpSpPr>
        <p:pic>
          <p:nvPicPr>
            <p:cNvPr id="313" name="Graphic 312">
              <a:extLst>
                <a:ext uri="{FF2B5EF4-FFF2-40B4-BE49-F238E27FC236}">
                  <a16:creationId xmlns:a16="http://schemas.microsoft.com/office/drawing/2014/main" id="{7E7DD024-B516-4972-8D4C-8B9F851FF12C}"/>
                </a:ext>
              </a:extLst>
            </p:cNvPr>
            <p:cNvPicPr>
              <a:picLocks noChangeAspect="1"/>
            </p:cNvPicPr>
            <p:nvPr/>
          </p:nvPicPr>
          <p:blipFill>
            <a:blip r:embed="rId27">
              <a:extLst>
                <a:ext uri="{96DAC541-7B7A-43D3-8B79-37D633B846F1}">
                  <asvg:svgBlip xmlns:asvg="http://schemas.microsoft.com/office/drawing/2016/SVG/main" r:embed="rId39"/>
                </a:ext>
              </a:extLst>
            </a:blip>
            <a:stretch>
              <a:fillRect/>
            </a:stretch>
          </p:blipFill>
          <p:spPr>
            <a:xfrm>
              <a:off x="3329221" y="1138985"/>
              <a:ext cx="189553" cy="189000"/>
            </a:xfrm>
            <a:prstGeom prst="rect">
              <a:avLst/>
            </a:prstGeom>
          </p:spPr>
        </p:pic>
        <p:pic>
          <p:nvPicPr>
            <p:cNvPr id="314" name="Graphic 313">
              <a:extLst>
                <a:ext uri="{FF2B5EF4-FFF2-40B4-BE49-F238E27FC236}">
                  <a16:creationId xmlns:a16="http://schemas.microsoft.com/office/drawing/2014/main" id="{BF9D0BD1-A1A2-4FFD-B469-17AE03F8696E}"/>
                </a:ext>
              </a:extLst>
            </p:cNvPr>
            <p:cNvPicPr>
              <a:picLocks noChangeAspect="1"/>
            </p:cNvPicPr>
            <p:nvPr/>
          </p:nvPicPr>
          <p:blipFill>
            <a:blip r:embed="rId31">
              <a:extLst>
                <a:ext uri="{96DAC541-7B7A-43D3-8B79-37D633B846F1}">
                  <asvg:svgBlip xmlns:asvg="http://schemas.microsoft.com/office/drawing/2016/SVG/main" r:embed="rId40"/>
                </a:ext>
              </a:extLst>
            </a:blip>
            <a:stretch>
              <a:fillRect/>
            </a:stretch>
          </p:blipFill>
          <p:spPr>
            <a:xfrm>
              <a:off x="3723812" y="1138985"/>
              <a:ext cx="189005" cy="189000"/>
            </a:xfrm>
            <a:prstGeom prst="rect">
              <a:avLst/>
            </a:prstGeom>
          </p:spPr>
        </p:pic>
        <p:pic>
          <p:nvPicPr>
            <p:cNvPr id="315" name="Graphic 314">
              <a:extLst>
                <a:ext uri="{FF2B5EF4-FFF2-40B4-BE49-F238E27FC236}">
                  <a16:creationId xmlns:a16="http://schemas.microsoft.com/office/drawing/2014/main" id="{EE17D315-1092-4812-BBF4-6F897D7A2AED}"/>
                </a:ext>
              </a:extLst>
            </p:cNvPr>
            <p:cNvPicPr>
              <a:picLocks noChangeAspect="1"/>
            </p:cNvPicPr>
            <p:nvPr/>
          </p:nvPicPr>
          <p:blipFill>
            <a:blip r:embed="rId29">
              <a:extLst>
                <a:ext uri="{96DAC541-7B7A-43D3-8B79-37D633B846F1}">
                  <asvg:svgBlip xmlns:asvg="http://schemas.microsoft.com/office/drawing/2016/SVG/main" r:embed="rId41"/>
                </a:ext>
              </a:extLst>
            </a:blip>
            <a:stretch>
              <a:fillRect/>
            </a:stretch>
          </p:blipFill>
          <p:spPr>
            <a:xfrm>
              <a:off x="4118475" y="1138985"/>
              <a:ext cx="189005" cy="189000"/>
            </a:xfrm>
            <a:prstGeom prst="rect">
              <a:avLst/>
            </a:prstGeom>
          </p:spPr>
        </p:pic>
        <p:pic>
          <p:nvPicPr>
            <p:cNvPr id="316" name="Graphic 315">
              <a:extLst>
                <a:ext uri="{FF2B5EF4-FFF2-40B4-BE49-F238E27FC236}">
                  <a16:creationId xmlns:a16="http://schemas.microsoft.com/office/drawing/2014/main" id="{56AC35FD-4310-4377-B49C-AB2DE592692C}"/>
                </a:ext>
              </a:extLst>
            </p:cNvPr>
            <p:cNvPicPr>
              <a:picLocks noChangeAspect="1"/>
            </p:cNvPicPr>
            <p:nvPr/>
          </p:nvPicPr>
          <p:blipFill>
            <a:blip r:embed="rId33">
              <a:extLst>
                <a:ext uri="{96DAC541-7B7A-43D3-8B79-37D633B846F1}">
                  <asvg:svgBlip xmlns:asvg="http://schemas.microsoft.com/office/drawing/2016/SVG/main" r:embed="rId42"/>
                </a:ext>
              </a:extLst>
            </a:blip>
            <a:stretch>
              <a:fillRect/>
            </a:stretch>
          </p:blipFill>
          <p:spPr>
            <a:xfrm>
              <a:off x="3723538" y="1356698"/>
              <a:ext cx="189000" cy="189000"/>
            </a:xfrm>
            <a:prstGeom prst="rect">
              <a:avLst/>
            </a:prstGeom>
          </p:spPr>
        </p:pic>
        <p:pic>
          <p:nvPicPr>
            <p:cNvPr id="317" name="Graphic 316">
              <a:extLst>
                <a:ext uri="{FF2B5EF4-FFF2-40B4-BE49-F238E27FC236}">
                  <a16:creationId xmlns:a16="http://schemas.microsoft.com/office/drawing/2014/main" id="{8AB2F86C-140D-4944-BF92-6E6C0243F0EB}"/>
                </a:ext>
              </a:extLst>
            </p:cNvPr>
            <p:cNvPicPr>
              <a:picLocks noChangeAspect="1"/>
            </p:cNvPicPr>
            <p:nvPr/>
          </p:nvPicPr>
          <p:blipFill>
            <a:blip r:embed="rId37">
              <a:extLst>
                <a:ext uri="{96DAC541-7B7A-43D3-8B79-37D633B846F1}">
                  <asvg:svgBlip xmlns:asvg="http://schemas.microsoft.com/office/drawing/2016/SVG/main" r:embed="rId43"/>
                </a:ext>
              </a:extLst>
            </a:blip>
            <a:stretch>
              <a:fillRect/>
            </a:stretch>
          </p:blipFill>
          <p:spPr>
            <a:xfrm>
              <a:off x="3329221" y="1356698"/>
              <a:ext cx="189000" cy="189000"/>
            </a:xfrm>
            <a:prstGeom prst="rect">
              <a:avLst/>
            </a:prstGeom>
          </p:spPr>
        </p:pic>
        <p:pic>
          <p:nvPicPr>
            <p:cNvPr id="318" name="Graphic 317">
              <a:extLst>
                <a:ext uri="{FF2B5EF4-FFF2-40B4-BE49-F238E27FC236}">
                  <a16:creationId xmlns:a16="http://schemas.microsoft.com/office/drawing/2014/main" id="{BB212D19-F757-47CF-B0EA-D906EFFDD30B}"/>
                </a:ext>
              </a:extLst>
            </p:cNvPr>
            <p:cNvPicPr>
              <a:picLocks noChangeAspect="1"/>
            </p:cNvPicPr>
            <p:nvPr/>
          </p:nvPicPr>
          <p:blipFill>
            <a:blip r:embed="rId35">
              <a:extLst>
                <a:ext uri="{96DAC541-7B7A-43D3-8B79-37D633B846F1}">
                  <asvg:svgBlip xmlns:asvg="http://schemas.microsoft.com/office/drawing/2016/SVG/main" r:embed="rId44"/>
                </a:ext>
              </a:extLst>
            </a:blip>
            <a:stretch>
              <a:fillRect/>
            </a:stretch>
          </p:blipFill>
          <p:spPr>
            <a:xfrm>
              <a:off x="4118475" y="1356698"/>
              <a:ext cx="189000" cy="189000"/>
            </a:xfrm>
            <a:prstGeom prst="rect">
              <a:avLst/>
            </a:prstGeom>
          </p:spPr>
        </p:pic>
        <p:sp>
          <p:nvSpPr>
            <p:cNvPr id="319" name="TextBox 318">
              <a:extLst>
                <a:ext uri="{FF2B5EF4-FFF2-40B4-BE49-F238E27FC236}">
                  <a16:creationId xmlns:a16="http://schemas.microsoft.com/office/drawing/2014/main" id="{113F6989-8722-44BA-900E-C3B30250E37E}"/>
                </a:ext>
              </a:extLst>
            </p:cNvPr>
            <p:cNvSpPr txBox="1"/>
            <p:nvPr/>
          </p:nvSpPr>
          <p:spPr>
            <a:xfrm>
              <a:off x="3541994" y="1155415"/>
              <a:ext cx="164495" cy="156141"/>
            </a:xfrm>
            <a:prstGeom prst="rect">
              <a:avLst/>
            </a:prstGeom>
            <a:noFill/>
          </p:spPr>
          <p:txBody>
            <a:bodyPr wrap="none" lIns="0" tIns="0" rIns="0" bIns="0" rtlCol="0">
              <a:noAutofit/>
            </a:bodyPr>
            <a:lstStyle/>
            <a:p>
              <a:pPr marL="0" marR="0" lvl="0" indent="0" algn="l" defTabSz="609570" rtl="0" eaLnBrk="1" fontAlgn="base" latinLnBrk="0" hangingPunct="1">
                <a:lnSpc>
                  <a:spcPct val="110000"/>
                </a:lnSpc>
                <a:spcBef>
                  <a:spcPct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67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iscoSansTT Light" panose="020B0503020201020303" pitchFamily="34" charset="0"/>
                  <a:ea typeface="ＭＳ Ｐゴシック" charset="0"/>
                  <a:cs typeface="CiscoSansTT Light" panose="020B0503020201020303" pitchFamily="34" charset="0"/>
                </a:rPr>
                <a:t>x12</a:t>
              </a:r>
            </a:p>
          </p:txBody>
        </p:sp>
        <p:sp>
          <p:nvSpPr>
            <p:cNvPr id="320" name="TextBox 319">
              <a:extLst>
                <a:ext uri="{FF2B5EF4-FFF2-40B4-BE49-F238E27FC236}">
                  <a16:creationId xmlns:a16="http://schemas.microsoft.com/office/drawing/2014/main" id="{04965DAE-0399-4D48-B97D-A5F03C18BA35}"/>
                </a:ext>
              </a:extLst>
            </p:cNvPr>
            <p:cNvSpPr txBox="1"/>
            <p:nvPr/>
          </p:nvSpPr>
          <p:spPr>
            <a:xfrm>
              <a:off x="4353113" y="1155415"/>
              <a:ext cx="164495" cy="156141"/>
            </a:xfrm>
            <a:prstGeom prst="rect">
              <a:avLst/>
            </a:prstGeom>
            <a:noFill/>
          </p:spPr>
          <p:txBody>
            <a:bodyPr wrap="none" lIns="0" tIns="0" rIns="0" bIns="0" rtlCol="0">
              <a:noAutofit/>
            </a:bodyPr>
            <a:lstStyle/>
            <a:p>
              <a:pPr marL="0" marR="0" lvl="0" indent="0" algn="l" defTabSz="609570" rtl="0" eaLnBrk="1" fontAlgn="base" latinLnBrk="0" hangingPunct="1">
                <a:lnSpc>
                  <a:spcPct val="110000"/>
                </a:lnSpc>
                <a:spcBef>
                  <a:spcPct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67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iscoSansTT Light" panose="020B0503020201020303" pitchFamily="34" charset="0"/>
                  <a:ea typeface="ＭＳ Ｐゴシック" charset="0"/>
                  <a:cs typeface="CiscoSansTT Light" panose="020B0503020201020303" pitchFamily="34" charset="0"/>
                </a:rPr>
                <a:t>x4</a:t>
              </a:r>
            </a:p>
          </p:txBody>
        </p:sp>
        <p:sp>
          <p:nvSpPr>
            <p:cNvPr id="321" name="TextBox 320">
              <a:extLst>
                <a:ext uri="{FF2B5EF4-FFF2-40B4-BE49-F238E27FC236}">
                  <a16:creationId xmlns:a16="http://schemas.microsoft.com/office/drawing/2014/main" id="{BD2CC331-A8D9-4EB9-8133-7BBB7D80A781}"/>
                </a:ext>
              </a:extLst>
            </p:cNvPr>
            <p:cNvSpPr txBox="1"/>
            <p:nvPr/>
          </p:nvSpPr>
          <p:spPr>
            <a:xfrm>
              <a:off x="3936414" y="1373128"/>
              <a:ext cx="164495" cy="156141"/>
            </a:xfrm>
            <a:prstGeom prst="rect">
              <a:avLst/>
            </a:prstGeom>
            <a:noFill/>
          </p:spPr>
          <p:txBody>
            <a:bodyPr wrap="none" lIns="0" tIns="0" rIns="0" bIns="0" rtlCol="0">
              <a:noAutofit/>
            </a:bodyPr>
            <a:lstStyle/>
            <a:p>
              <a:pPr marL="0" marR="0" lvl="0" indent="0" algn="l" defTabSz="609570" rtl="0" eaLnBrk="1" fontAlgn="base" latinLnBrk="0" hangingPunct="1">
                <a:lnSpc>
                  <a:spcPct val="110000"/>
                </a:lnSpc>
                <a:spcBef>
                  <a:spcPct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67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iscoSansTT Light" panose="020B0503020201020303" pitchFamily="34" charset="0"/>
                  <a:ea typeface="ＭＳ Ｐゴシック" charset="0"/>
                  <a:cs typeface="CiscoSansTT Light" panose="020B0503020201020303" pitchFamily="34" charset="0"/>
                </a:rPr>
                <a:t>x4</a:t>
              </a:r>
            </a:p>
          </p:txBody>
        </p:sp>
        <p:sp>
          <p:nvSpPr>
            <p:cNvPr id="322" name="TextBox 321">
              <a:extLst>
                <a:ext uri="{FF2B5EF4-FFF2-40B4-BE49-F238E27FC236}">
                  <a16:creationId xmlns:a16="http://schemas.microsoft.com/office/drawing/2014/main" id="{0AEE75B7-4002-4F8D-9C5E-938B0E19714C}"/>
                </a:ext>
              </a:extLst>
            </p:cNvPr>
            <p:cNvSpPr txBox="1"/>
            <p:nvPr/>
          </p:nvSpPr>
          <p:spPr>
            <a:xfrm>
              <a:off x="3948993" y="1155415"/>
              <a:ext cx="164495" cy="156141"/>
            </a:xfrm>
            <a:prstGeom prst="rect">
              <a:avLst/>
            </a:prstGeom>
            <a:noFill/>
          </p:spPr>
          <p:txBody>
            <a:bodyPr wrap="none" lIns="0" tIns="0" rIns="0" bIns="0" rtlCol="0">
              <a:noAutofit/>
            </a:bodyPr>
            <a:lstStyle/>
            <a:p>
              <a:pPr marL="0" marR="0" lvl="0" indent="0" algn="l" defTabSz="609570" rtl="0" eaLnBrk="1" fontAlgn="base" latinLnBrk="0" hangingPunct="1">
                <a:lnSpc>
                  <a:spcPct val="110000"/>
                </a:lnSpc>
                <a:spcBef>
                  <a:spcPct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67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iscoSansTT Light" panose="020B0503020201020303" pitchFamily="34" charset="0"/>
                  <a:ea typeface="ＭＳ Ｐゴシック" charset="0"/>
                  <a:cs typeface="CiscoSansTT Light" panose="020B0503020201020303" pitchFamily="34" charset="0"/>
                </a:rPr>
                <a:t>x7</a:t>
              </a:r>
            </a:p>
          </p:txBody>
        </p:sp>
        <p:sp>
          <p:nvSpPr>
            <p:cNvPr id="323" name="TextBox 322">
              <a:extLst>
                <a:ext uri="{FF2B5EF4-FFF2-40B4-BE49-F238E27FC236}">
                  <a16:creationId xmlns:a16="http://schemas.microsoft.com/office/drawing/2014/main" id="{2F3B7DA2-B777-47B2-A4B1-659FFE2C4646}"/>
                </a:ext>
              </a:extLst>
            </p:cNvPr>
            <p:cNvSpPr txBox="1"/>
            <p:nvPr/>
          </p:nvSpPr>
          <p:spPr>
            <a:xfrm>
              <a:off x="4346717" y="1373128"/>
              <a:ext cx="164495" cy="156141"/>
            </a:xfrm>
            <a:prstGeom prst="rect">
              <a:avLst/>
            </a:prstGeom>
            <a:noFill/>
          </p:spPr>
          <p:txBody>
            <a:bodyPr wrap="none" lIns="0" tIns="0" rIns="0" bIns="0" rtlCol="0">
              <a:noAutofit/>
            </a:bodyPr>
            <a:lstStyle/>
            <a:p>
              <a:pPr marL="0" marR="0" lvl="0" indent="0" algn="l" defTabSz="609570" rtl="0" eaLnBrk="1" fontAlgn="base" latinLnBrk="0" hangingPunct="1">
                <a:lnSpc>
                  <a:spcPct val="110000"/>
                </a:lnSpc>
                <a:spcBef>
                  <a:spcPct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67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iscoSansTT Light" panose="020B0503020201020303" pitchFamily="34" charset="0"/>
                <a:ea typeface="ＭＳ Ｐゴシック" charset="0"/>
                <a:cs typeface="CiscoSansTT Light" panose="020B0503020201020303" pitchFamily="34" charset="0"/>
              </a:endParaRPr>
            </a:p>
          </p:txBody>
        </p:sp>
        <p:sp>
          <p:nvSpPr>
            <p:cNvPr id="324" name="TextBox 323">
              <a:extLst>
                <a:ext uri="{FF2B5EF4-FFF2-40B4-BE49-F238E27FC236}">
                  <a16:creationId xmlns:a16="http://schemas.microsoft.com/office/drawing/2014/main" id="{AEE108A1-428D-495D-8C56-F7976B344D81}"/>
                </a:ext>
              </a:extLst>
            </p:cNvPr>
            <p:cNvSpPr txBox="1"/>
            <p:nvPr/>
          </p:nvSpPr>
          <p:spPr>
            <a:xfrm>
              <a:off x="4347015" y="1373128"/>
              <a:ext cx="164495" cy="156141"/>
            </a:xfrm>
            <a:prstGeom prst="rect">
              <a:avLst/>
            </a:prstGeom>
            <a:noFill/>
          </p:spPr>
          <p:txBody>
            <a:bodyPr wrap="none" lIns="0" tIns="0" rIns="0" bIns="0" rtlCol="0">
              <a:noAutofit/>
            </a:bodyPr>
            <a:lstStyle/>
            <a:p>
              <a:pPr marL="0" marR="0" lvl="0" indent="0" algn="l" defTabSz="609570" rtl="0" eaLnBrk="1" fontAlgn="base" latinLnBrk="0" hangingPunct="1">
                <a:lnSpc>
                  <a:spcPct val="110000"/>
                </a:lnSpc>
                <a:spcBef>
                  <a:spcPct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67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iscoSansTT Light" panose="020B0503020201020303" pitchFamily="34" charset="0"/>
                  <a:ea typeface="ＭＳ Ｐゴシック" charset="0"/>
                  <a:cs typeface="CiscoSansTT Light" panose="020B0503020201020303" pitchFamily="34" charset="0"/>
                </a:rPr>
                <a:t>x4</a:t>
              </a:r>
            </a:p>
          </p:txBody>
        </p:sp>
        <p:sp>
          <p:nvSpPr>
            <p:cNvPr id="339" name="TextBox 338">
              <a:extLst>
                <a:ext uri="{FF2B5EF4-FFF2-40B4-BE49-F238E27FC236}">
                  <a16:creationId xmlns:a16="http://schemas.microsoft.com/office/drawing/2014/main" id="{41208AE3-CDF2-4894-B2D8-2946857B53FF}"/>
                </a:ext>
              </a:extLst>
            </p:cNvPr>
            <p:cNvSpPr txBox="1"/>
            <p:nvPr/>
          </p:nvSpPr>
          <p:spPr>
            <a:xfrm>
              <a:off x="3541994" y="1373128"/>
              <a:ext cx="164495" cy="156141"/>
            </a:xfrm>
            <a:prstGeom prst="rect">
              <a:avLst/>
            </a:prstGeom>
            <a:noFill/>
          </p:spPr>
          <p:txBody>
            <a:bodyPr wrap="none" lIns="0" tIns="0" rIns="0" bIns="0" rtlCol="0">
              <a:noAutofit/>
            </a:bodyPr>
            <a:lstStyle/>
            <a:p>
              <a:pPr marL="0" marR="0" lvl="0" indent="0" algn="l" defTabSz="609570" rtl="0" eaLnBrk="1" fontAlgn="base" latinLnBrk="0" hangingPunct="1">
                <a:lnSpc>
                  <a:spcPct val="110000"/>
                </a:lnSpc>
                <a:spcBef>
                  <a:spcPct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67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iscoSansTT Light" panose="020B0503020201020303" pitchFamily="34" charset="0"/>
                  <a:ea typeface="ＭＳ Ｐゴシック" charset="0"/>
                  <a:cs typeface="CiscoSansTT Light" panose="020B0503020201020303" pitchFamily="34" charset="0"/>
                </a:rPr>
                <a:t>x1</a:t>
              </a:r>
            </a:p>
          </p:txBody>
        </p:sp>
      </p:grpSp>
      <p:grpSp>
        <p:nvGrpSpPr>
          <p:cNvPr id="325" name="Group 324">
            <a:extLst>
              <a:ext uri="{FF2B5EF4-FFF2-40B4-BE49-F238E27FC236}">
                <a16:creationId xmlns:a16="http://schemas.microsoft.com/office/drawing/2014/main" id="{8ACD6D89-EA23-473D-9274-27B9EC67399A}"/>
              </a:ext>
            </a:extLst>
          </p:cNvPr>
          <p:cNvGrpSpPr/>
          <p:nvPr/>
        </p:nvGrpSpPr>
        <p:grpSpPr>
          <a:xfrm>
            <a:off x="10473273" y="1646250"/>
            <a:ext cx="1584516" cy="542284"/>
            <a:chOff x="3329221" y="1138985"/>
            <a:chExt cx="1188387" cy="406713"/>
          </a:xfrm>
        </p:grpSpPr>
        <p:pic>
          <p:nvPicPr>
            <p:cNvPr id="326" name="Graphic 325">
              <a:extLst>
                <a:ext uri="{FF2B5EF4-FFF2-40B4-BE49-F238E27FC236}">
                  <a16:creationId xmlns:a16="http://schemas.microsoft.com/office/drawing/2014/main" id="{CA08C08F-2318-4CD6-8D92-D8A7A4C5D206}"/>
                </a:ext>
              </a:extLst>
            </p:cNvPr>
            <p:cNvPicPr>
              <a:picLocks noChangeAspect="1"/>
            </p:cNvPicPr>
            <p:nvPr/>
          </p:nvPicPr>
          <p:blipFill>
            <a:blip r:embed="rId27">
              <a:extLst>
                <a:ext uri="{96DAC541-7B7A-43D3-8B79-37D633B846F1}">
                  <asvg:svgBlip xmlns:asvg="http://schemas.microsoft.com/office/drawing/2016/SVG/main" r:embed="rId39"/>
                </a:ext>
              </a:extLst>
            </a:blip>
            <a:stretch>
              <a:fillRect/>
            </a:stretch>
          </p:blipFill>
          <p:spPr>
            <a:xfrm>
              <a:off x="3329221" y="1138985"/>
              <a:ext cx="189553" cy="189000"/>
            </a:xfrm>
            <a:prstGeom prst="rect">
              <a:avLst/>
            </a:prstGeom>
          </p:spPr>
        </p:pic>
        <p:pic>
          <p:nvPicPr>
            <p:cNvPr id="327" name="Graphic 326">
              <a:extLst>
                <a:ext uri="{FF2B5EF4-FFF2-40B4-BE49-F238E27FC236}">
                  <a16:creationId xmlns:a16="http://schemas.microsoft.com/office/drawing/2014/main" id="{ECFFD919-ABD8-41CB-9DA9-8111820889A4}"/>
                </a:ext>
              </a:extLst>
            </p:cNvPr>
            <p:cNvPicPr>
              <a:picLocks noChangeAspect="1"/>
            </p:cNvPicPr>
            <p:nvPr/>
          </p:nvPicPr>
          <p:blipFill>
            <a:blip r:embed="rId31">
              <a:extLst>
                <a:ext uri="{96DAC541-7B7A-43D3-8B79-37D633B846F1}">
                  <asvg:svgBlip xmlns:asvg="http://schemas.microsoft.com/office/drawing/2016/SVG/main" r:embed="rId40"/>
                </a:ext>
              </a:extLst>
            </a:blip>
            <a:stretch>
              <a:fillRect/>
            </a:stretch>
          </p:blipFill>
          <p:spPr>
            <a:xfrm>
              <a:off x="3723812" y="1138985"/>
              <a:ext cx="189005" cy="189000"/>
            </a:xfrm>
            <a:prstGeom prst="rect">
              <a:avLst/>
            </a:prstGeom>
          </p:spPr>
        </p:pic>
        <p:pic>
          <p:nvPicPr>
            <p:cNvPr id="328" name="Graphic 327">
              <a:extLst>
                <a:ext uri="{FF2B5EF4-FFF2-40B4-BE49-F238E27FC236}">
                  <a16:creationId xmlns:a16="http://schemas.microsoft.com/office/drawing/2014/main" id="{E57369CD-4883-4DDD-871B-FD95F99AFFD0}"/>
                </a:ext>
              </a:extLst>
            </p:cNvPr>
            <p:cNvPicPr>
              <a:picLocks noChangeAspect="1"/>
            </p:cNvPicPr>
            <p:nvPr/>
          </p:nvPicPr>
          <p:blipFill>
            <a:blip r:embed="rId29">
              <a:extLst>
                <a:ext uri="{96DAC541-7B7A-43D3-8B79-37D633B846F1}">
                  <asvg:svgBlip xmlns:asvg="http://schemas.microsoft.com/office/drawing/2016/SVG/main" r:embed="rId41"/>
                </a:ext>
              </a:extLst>
            </a:blip>
            <a:stretch>
              <a:fillRect/>
            </a:stretch>
          </p:blipFill>
          <p:spPr>
            <a:xfrm>
              <a:off x="4118475" y="1138985"/>
              <a:ext cx="189005" cy="189000"/>
            </a:xfrm>
            <a:prstGeom prst="rect">
              <a:avLst/>
            </a:prstGeom>
          </p:spPr>
        </p:pic>
        <p:pic>
          <p:nvPicPr>
            <p:cNvPr id="329" name="Graphic 328">
              <a:extLst>
                <a:ext uri="{FF2B5EF4-FFF2-40B4-BE49-F238E27FC236}">
                  <a16:creationId xmlns:a16="http://schemas.microsoft.com/office/drawing/2014/main" id="{A2CE932E-9044-4478-B7C7-4BB094B72481}"/>
                </a:ext>
              </a:extLst>
            </p:cNvPr>
            <p:cNvPicPr>
              <a:picLocks noChangeAspect="1"/>
            </p:cNvPicPr>
            <p:nvPr/>
          </p:nvPicPr>
          <p:blipFill>
            <a:blip r:embed="rId33">
              <a:extLst>
                <a:ext uri="{96DAC541-7B7A-43D3-8B79-37D633B846F1}">
                  <asvg:svgBlip xmlns:asvg="http://schemas.microsoft.com/office/drawing/2016/SVG/main" r:embed="rId42"/>
                </a:ext>
              </a:extLst>
            </a:blip>
            <a:stretch>
              <a:fillRect/>
            </a:stretch>
          </p:blipFill>
          <p:spPr>
            <a:xfrm>
              <a:off x="3723538" y="1356698"/>
              <a:ext cx="189000" cy="189000"/>
            </a:xfrm>
            <a:prstGeom prst="rect">
              <a:avLst/>
            </a:prstGeom>
          </p:spPr>
        </p:pic>
        <p:pic>
          <p:nvPicPr>
            <p:cNvPr id="330" name="Graphic 329">
              <a:extLst>
                <a:ext uri="{FF2B5EF4-FFF2-40B4-BE49-F238E27FC236}">
                  <a16:creationId xmlns:a16="http://schemas.microsoft.com/office/drawing/2014/main" id="{A2710AD3-2047-4111-890D-405A95218C81}"/>
                </a:ext>
              </a:extLst>
            </p:cNvPr>
            <p:cNvPicPr>
              <a:picLocks noChangeAspect="1"/>
            </p:cNvPicPr>
            <p:nvPr/>
          </p:nvPicPr>
          <p:blipFill>
            <a:blip r:embed="rId37">
              <a:extLst>
                <a:ext uri="{96DAC541-7B7A-43D3-8B79-37D633B846F1}">
                  <asvg:svgBlip xmlns:asvg="http://schemas.microsoft.com/office/drawing/2016/SVG/main" r:embed="rId43"/>
                </a:ext>
              </a:extLst>
            </a:blip>
            <a:stretch>
              <a:fillRect/>
            </a:stretch>
          </p:blipFill>
          <p:spPr>
            <a:xfrm>
              <a:off x="3329221" y="1356698"/>
              <a:ext cx="189000" cy="189000"/>
            </a:xfrm>
            <a:prstGeom prst="rect">
              <a:avLst/>
            </a:prstGeom>
          </p:spPr>
        </p:pic>
        <p:pic>
          <p:nvPicPr>
            <p:cNvPr id="331" name="Graphic 330">
              <a:extLst>
                <a:ext uri="{FF2B5EF4-FFF2-40B4-BE49-F238E27FC236}">
                  <a16:creationId xmlns:a16="http://schemas.microsoft.com/office/drawing/2014/main" id="{77C3DEF9-EFAA-455F-BB69-897E2743083A}"/>
                </a:ext>
              </a:extLst>
            </p:cNvPr>
            <p:cNvPicPr>
              <a:picLocks noChangeAspect="1"/>
            </p:cNvPicPr>
            <p:nvPr/>
          </p:nvPicPr>
          <p:blipFill>
            <a:blip r:embed="rId35">
              <a:extLst>
                <a:ext uri="{96DAC541-7B7A-43D3-8B79-37D633B846F1}">
                  <asvg:svgBlip xmlns:asvg="http://schemas.microsoft.com/office/drawing/2016/SVG/main" r:embed="rId44"/>
                </a:ext>
              </a:extLst>
            </a:blip>
            <a:stretch>
              <a:fillRect/>
            </a:stretch>
          </p:blipFill>
          <p:spPr>
            <a:xfrm>
              <a:off x="4118475" y="1356698"/>
              <a:ext cx="189000" cy="189000"/>
            </a:xfrm>
            <a:prstGeom prst="rect">
              <a:avLst/>
            </a:prstGeom>
          </p:spPr>
        </p:pic>
        <p:sp>
          <p:nvSpPr>
            <p:cNvPr id="332" name="TextBox 331">
              <a:extLst>
                <a:ext uri="{FF2B5EF4-FFF2-40B4-BE49-F238E27FC236}">
                  <a16:creationId xmlns:a16="http://schemas.microsoft.com/office/drawing/2014/main" id="{82254605-165B-4862-B6CC-ACA8D62DD7B6}"/>
                </a:ext>
              </a:extLst>
            </p:cNvPr>
            <p:cNvSpPr txBox="1"/>
            <p:nvPr/>
          </p:nvSpPr>
          <p:spPr>
            <a:xfrm>
              <a:off x="3541994" y="1155415"/>
              <a:ext cx="164495" cy="156141"/>
            </a:xfrm>
            <a:prstGeom prst="rect">
              <a:avLst/>
            </a:prstGeom>
            <a:noFill/>
          </p:spPr>
          <p:txBody>
            <a:bodyPr wrap="none" lIns="0" tIns="0" rIns="0" bIns="0" rtlCol="0">
              <a:noAutofit/>
            </a:bodyPr>
            <a:lstStyle/>
            <a:p>
              <a:pPr marL="0" marR="0" lvl="0" indent="0" algn="l" defTabSz="609570" rtl="0" eaLnBrk="1" fontAlgn="base" latinLnBrk="0" hangingPunct="1">
                <a:lnSpc>
                  <a:spcPct val="110000"/>
                </a:lnSpc>
                <a:spcBef>
                  <a:spcPct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67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iscoSansTT Light" panose="020B0503020201020303" pitchFamily="34" charset="0"/>
                  <a:ea typeface="ＭＳ Ｐゴシック" charset="0"/>
                  <a:cs typeface="CiscoSansTT Light" panose="020B0503020201020303" pitchFamily="34" charset="0"/>
                </a:rPr>
                <a:t>x12</a:t>
              </a:r>
            </a:p>
          </p:txBody>
        </p:sp>
        <p:sp>
          <p:nvSpPr>
            <p:cNvPr id="333" name="TextBox 332">
              <a:extLst>
                <a:ext uri="{FF2B5EF4-FFF2-40B4-BE49-F238E27FC236}">
                  <a16:creationId xmlns:a16="http://schemas.microsoft.com/office/drawing/2014/main" id="{D77FB3BD-100E-42B9-9487-D4BFD476DAB1}"/>
                </a:ext>
              </a:extLst>
            </p:cNvPr>
            <p:cNvSpPr txBox="1"/>
            <p:nvPr/>
          </p:nvSpPr>
          <p:spPr>
            <a:xfrm>
              <a:off x="4353113" y="1155415"/>
              <a:ext cx="164495" cy="156141"/>
            </a:xfrm>
            <a:prstGeom prst="rect">
              <a:avLst/>
            </a:prstGeom>
            <a:noFill/>
          </p:spPr>
          <p:txBody>
            <a:bodyPr wrap="none" lIns="0" tIns="0" rIns="0" bIns="0" rtlCol="0">
              <a:noAutofit/>
            </a:bodyPr>
            <a:lstStyle/>
            <a:p>
              <a:pPr marL="0" marR="0" lvl="0" indent="0" algn="l" defTabSz="609570" rtl="0" eaLnBrk="1" fontAlgn="base" latinLnBrk="0" hangingPunct="1">
                <a:lnSpc>
                  <a:spcPct val="110000"/>
                </a:lnSpc>
                <a:spcBef>
                  <a:spcPct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67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iscoSansTT Light" panose="020B0503020201020303" pitchFamily="34" charset="0"/>
                  <a:ea typeface="ＭＳ Ｐゴシック" charset="0"/>
                  <a:cs typeface="CiscoSansTT Light" panose="020B0503020201020303" pitchFamily="34" charset="0"/>
                </a:rPr>
                <a:t>x4</a:t>
              </a:r>
            </a:p>
          </p:txBody>
        </p:sp>
        <p:sp>
          <p:nvSpPr>
            <p:cNvPr id="334" name="TextBox 333">
              <a:extLst>
                <a:ext uri="{FF2B5EF4-FFF2-40B4-BE49-F238E27FC236}">
                  <a16:creationId xmlns:a16="http://schemas.microsoft.com/office/drawing/2014/main" id="{86356E7D-04B0-4D9B-B6F6-8B9B1E34A283}"/>
                </a:ext>
              </a:extLst>
            </p:cNvPr>
            <p:cNvSpPr txBox="1"/>
            <p:nvPr/>
          </p:nvSpPr>
          <p:spPr>
            <a:xfrm>
              <a:off x="3936414" y="1373128"/>
              <a:ext cx="164495" cy="156141"/>
            </a:xfrm>
            <a:prstGeom prst="rect">
              <a:avLst/>
            </a:prstGeom>
            <a:noFill/>
          </p:spPr>
          <p:txBody>
            <a:bodyPr wrap="none" lIns="0" tIns="0" rIns="0" bIns="0" rtlCol="0">
              <a:noAutofit/>
            </a:bodyPr>
            <a:lstStyle/>
            <a:p>
              <a:pPr marL="0" marR="0" lvl="0" indent="0" algn="l" defTabSz="609570" rtl="0" eaLnBrk="1" fontAlgn="base" latinLnBrk="0" hangingPunct="1">
                <a:lnSpc>
                  <a:spcPct val="110000"/>
                </a:lnSpc>
                <a:spcBef>
                  <a:spcPct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67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iscoSansTT Light" panose="020B0503020201020303" pitchFamily="34" charset="0"/>
                  <a:ea typeface="ＭＳ Ｐゴシック" charset="0"/>
                  <a:cs typeface="CiscoSansTT Light" panose="020B0503020201020303" pitchFamily="34" charset="0"/>
                </a:rPr>
                <a:t>x4</a:t>
              </a:r>
            </a:p>
          </p:txBody>
        </p:sp>
        <p:sp>
          <p:nvSpPr>
            <p:cNvPr id="335" name="TextBox 334">
              <a:extLst>
                <a:ext uri="{FF2B5EF4-FFF2-40B4-BE49-F238E27FC236}">
                  <a16:creationId xmlns:a16="http://schemas.microsoft.com/office/drawing/2014/main" id="{7E2F6A8F-8F37-4F95-BB46-65865CCC01EF}"/>
                </a:ext>
              </a:extLst>
            </p:cNvPr>
            <p:cNvSpPr txBox="1"/>
            <p:nvPr/>
          </p:nvSpPr>
          <p:spPr>
            <a:xfrm>
              <a:off x="3948993" y="1155415"/>
              <a:ext cx="164495" cy="156141"/>
            </a:xfrm>
            <a:prstGeom prst="rect">
              <a:avLst/>
            </a:prstGeom>
            <a:noFill/>
          </p:spPr>
          <p:txBody>
            <a:bodyPr wrap="none" lIns="0" tIns="0" rIns="0" bIns="0" rtlCol="0">
              <a:noAutofit/>
            </a:bodyPr>
            <a:lstStyle/>
            <a:p>
              <a:pPr marL="0" marR="0" lvl="0" indent="0" algn="l" defTabSz="609570" rtl="0" eaLnBrk="1" fontAlgn="base" latinLnBrk="0" hangingPunct="1">
                <a:lnSpc>
                  <a:spcPct val="110000"/>
                </a:lnSpc>
                <a:spcBef>
                  <a:spcPct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67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iscoSansTT Light" panose="020B0503020201020303" pitchFamily="34" charset="0"/>
                  <a:ea typeface="ＭＳ Ｐゴシック" charset="0"/>
                  <a:cs typeface="CiscoSansTT Light" panose="020B0503020201020303" pitchFamily="34" charset="0"/>
                </a:rPr>
                <a:t>x14</a:t>
              </a:r>
            </a:p>
          </p:txBody>
        </p:sp>
        <p:sp>
          <p:nvSpPr>
            <p:cNvPr id="336" name="TextBox 335">
              <a:extLst>
                <a:ext uri="{FF2B5EF4-FFF2-40B4-BE49-F238E27FC236}">
                  <a16:creationId xmlns:a16="http://schemas.microsoft.com/office/drawing/2014/main" id="{C2CE0092-F607-42E4-82F9-DDA7BB15892A}"/>
                </a:ext>
              </a:extLst>
            </p:cNvPr>
            <p:cNvSpPr txBox="1"/>
            <p:nvPr/>
          </p:nvSpPr>
          <p:spPr>
            <a:xfrm>
              <a:off x="4346717" y="1373128"/>
              <a:ext cx="164495" cy="156141"/>
            </a:xfrm>
            <a:prstGeom prst="rect">
              <a:avLst/>
            </a:prstGeom>
            <a:noFill/>
          </p:spPr>
          <p:txBody>
            <a:bodyPr wrap="none" lIns="0" tIns="0" rIns="0" bIns="0" rtlCol="0">
              <a:noAutofit/>
            </a:bodyPr>
            <a:lstStyle/>
            <a:p>
              <a:pPr marL="0" marR="0" lvl="0" indent="0" algn="l" defTabSz="609570" rtl="0" eaLnBrk="1" fontAlgn="base" latinLnBrk="0" hangingPunct="1">
                <a:lnSpc>
                  <a:spcPct val="110000"/>
                </a:lnSpc>
                <a:spcBef>
                  <a:spcPct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67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iscoSansTT Light" panose="020B0503020201020303" pitchFamily="34" charset="0"/>
                <a:ea typeface="ＭＳ Ｐゴシック" charset="0"/>
                <a:cs typeface="CiscoSansTT Light" panose="020B0503020201020303" pitchFamily="34" charset="0"/>
              </a:endParaRPr>
            </a:p>
          </p:txBody>
        </p:sp>
        <p:sp>
          <p:nvSpPr>
            <p:cNvPr id="337" name="TextBox 336">
              <a:extLst>
                <a:ext uri="{FF2B5EF4-FFF2-40B4-BE49-F238E27FC236}">
                  <a16:creationId xmlns:a16="http://schemas.microsoft.com/office/drawing/2014/main" id="{58EF170F-5518-4179-A13C-5BD9F4503E2C}"/>
                </a:ext>
              </a:extLst>
            </p:cNvPr>
            <p:cNvSpPr txBox="1"/>
            <p:nvPr/>
          </p:nvSpPr>
          <p:spPr>
            <a:xfrm>
              <a:off x="4347015" y="1373128"/>
              <a:ext cx="164495" cy="156141"/>
            </a:xfrm>
            <a:prstGeom prst="rect">
              <a:avLst/>
            </a:prstGeom>
            <a:noFill/>
          </p:spPr>
          <p:txBody>
            <a:bodyPr wrap="none" lIns="0" tIns="0" rIns="0" bIns="0" rtlCol="0">
              <a:noAutofit/>
            </a:bodyPr>
            <a:lstStyle/>
            <a:p>
              <a:pPr marL="0" marR="0" lvl="0" indent="0" algn="l" defTabSz="609570" rtl="0" eaLnBrk="1" fontAlgn="base" latinLnBrk="0" hangingPunct="1">
                <a:lnSpc>
                  <a:spcPct val="110000"/>
                </a:lnSpc>
                <a:spcBef>
                  <a:spcPct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67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iscoSansTT Light" panose="020B0503020201020303" pitchFamily="34" charset="0"/>
                  <a:ea typeface="ＭＳ Ｐゴシック" charset="0"/>
                  <a:cs typeface="CiscoSansTT Light" panose="020B0503020201020303" pitchFamily="34" charset="0"/>
                </a:rPr>
                <a:t>x4</a:t>
              </a:r>
            </a:p>
          </p:txBody>
        </p:sp>
      </p:grpSp>
      <p:sp>
        <p:nvSpPr>
          <p:cNvPr id="388" name="TextBox 387">
            <a:extLst>
              <a:ext uri="{FF2B5EF4-FFF2-40B4-BE49-F238E27FC236}">
                <a16:creationId xmlns:a16="http://schemas.microsoft.com/office/drawing/2014/main" id="{4919404F-8EC2-4B86-A5E2-343E0585573D}"/>
              </a:ext>
            </a:extLst>
          </p:cNvPr>
          <p:cNvSpPr txBox="1"/>
          <p:nvPr/>
        </p:nvSpPr>
        <p:spPr>
          <a:xfrm>
            <a:off x="4712199" y="3036147"/>
            <a:ext cx="1149908" cy="79152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ctr" defTabSz="914354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iscoSansTT" panose="020B0503020201020303" pitchFamily="34" charset="0"/>
                <a:ea typeface="ＭＳ Ｐゴシック" charset="0"/>
                <a:cs typeface="CiscoSansTT" panose="020B0503020201020303" pitchFamily="34" charset="0"/>
              </a:rPr>
              <a:t>Month </a:t>
            </a:r>
            <a:b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iscoSansTT" panose="020B0503020201020303" pitchFamily="34" charset="0"/>
                <a:ea typeface="ＭＳ Ｐゴシック" charset="0"/>
                <a:cs typeface="CiscoSansTT" panose="020B0503020201020303" pitchFamily="34" charset="0"/>
              </a:rPr>
            </a:br>
            <a:r>
              <a:rPr kumimoji="0" lang="en-US" sz="4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iscoSansTT Light" panose="020B0503020201020303" pitchFamily="34" charset="0"/>
                <a:ea typeface="ＭＳ Ｐゴシック" charset="0"/>
                <a:cs typeface="CiscoSansTT Light" panose="020B0503020201020303" pitchFamily="34" charset="0"/>
              </a:rPr>
              <a:t>5</a:t>
            </a:r>
            <a:endParaRPr kumimoji="0" lang="en-US" sz="60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iscoSansTT Light" panose="020B0503020201020303" pitchFamily="34" charset="0"/>
              <a:ea typeface="ＭＳ Ｐゴシック" charset="0"/>
              <a:cs typeface="CiscoSansTT Light" panose="020B0503020201020303" pitchFamily="34" charset="0"/>
            </a:endParaRPr>
          </a:p>
        </p:txBody>
      </p:sp>
      <p:sp>
        <p:nvSpPr>
          <p:cNvPr id="389" name="TextBox 388">
            <a:extLst>
              <a:ext uri="{FF2B5EF4-FFF2-40B4-BE49-F238E27FC236}">
                <a16:creationId xmlns:a16="http://schemas.microsoft.com/office/drawing/2014/main" id="{76F1718A-CE1D-4FD4-A4EC-D2428099F7EB}"/>
              </a:ext>
            </a:extLst>
          </p:cNvPr>
          <p:cNvSpPr txBox="1"/>
          <p:nvPr/>
        </p:nvSpPr>
        <p:spPr>
          <a:xfrm>
            <a:off x="6684415" y="3036147"/>
            <a:ext cx="1149908" cy="79152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ctr" defTabSz="914354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iscoSansTT" panose="020B0503020201020303" pitchFamily="34" charset="0"/>
                <a:ea typeface="ＭＳ Ｐゴシック" charset="0"/>
                <a:cs typeface="CiscoSansTT" panose="020B0503020201020303" pitchFamily="34" charset="0"/>
              </a:rPr>
              <a:t>Month </a:t>
            </a:r>
            <a:b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iscoSansTT" panose="020B0503020201020303" pitchFamily="34" charset="0"/>
                <a:ea typeface="ＭＳ Ｐゴシック" charset="0"/>
                <a:cs typeface="CiscoSansTT" panose="020B0503020201020303" pitchFamily="34" charset="0"/>
              </a:rPr>
            </a:br>
            <a:r>
              <a:rPr kumimoji="0" lang="en-US" sz="4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iscoSansTT Light" panose="020B0503020201020303" pitchFamily="34" charset="0"/>
                <a:ea typeface="ＭＳ Ｐゴシック" charset="0"/>
                <a:cs typeface="CiscoSansTT Light" panose="020B0503020201020303" pitchFamily="34" charset="0"/>
              </a:rPr>
              <a:t>6</a:t>
            </a:r>
            <a:endParaRPr kumimoji="0" lang="en-US" sz="60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iscoSansTT Light" panose="020B0503020201020303" pitchFamily="34" charset="0"/>
              <a:ea typeface="ＭＳ Ｐゴシック" charset="0"/>
              <a:cs typeface="CiscoSansTT Light" panose="020B0503020201020303" pitchFamily="34" charset="0"/>
            </a:endParaRPr>
          </a:p>
        </p:txBody>
      </p:sp>
      <p:sp>
        <p:nvSpPr>
          <p:cNvPr id="390" name="TextBox 389">
            <a:extLst>
              <a:ext uri="{FF2B5EF4-FFF2-40B4-BE49-F238E27FC236}">
                <a16:creationId xmlns:a16="http://schemas.microsoft.com/office/drawing/2014/main" id="{16C12945-BAF6-4E29-B361-FACD99511A3C}"/>
              </a:ext>
            </a:extLst>
          </p:cNvPr>
          <p:cNvSpPr txBox="1"/>
          <p:nvPr/>
        </p:nvSpPr>
        <p:spPr>
          <a:xfrm>
            <a:off x="8656633" y="3036147"/>
            <a:ext cx="1149908" cy="79152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ctr" defTabSz="914354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iscoSansTT" panose="020B0503020201020303" pitchFamily="34" charset="0"/>
                <a:ea typeface="ＭＳ Ｐゴシック" charset="0"/>
                <a:cs typeface="CiscoSansTT" panose="020B0503020201020303" pitchFamily="34" charset="0"/>
              </a:rPr>
              <a:t>Month </a:t>
            </a:r>
            <a:b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iscoSansTT" panose="020B0503020201020303" pitchFamily="34" charset="0"/>
                <a:ea typeface="ＭＳ Ｐゴシック" charset="0"/>
                <a:cs typeface="CiscoSansTT" panose="020B0503020201020303" pitchFamily="34" charset="0"/>
              </a:rPr>
            </a:br>
            <a:r>
              <a:rPr kumimoji="0" lang="en-US" sz="4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iscoSansTT Light" panose="020B0503020201020303" pitchFamily="34" charset="0"/>
                <a:ea typeface="ＭＳ Ｐゴシック" charset="0"/>
                <a:cs typeface="CiscoSansTT Light" panose="020B0503020201020303" pitchFamily="34" charset="0"/>
              </a:rPr>
              <a:t>7</a:t>
            </a:r>
            <a:endParaRPr kumimoji="0" lang="en-US" sz="60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iscoSansTT Light" panose="020B0503020201020303" pitchFamily="34" charset="0"/>
              <a:ea typeface="ＭＳ Ｐゴシック" charset="0"/>
              <a:cs typeface="CiscoSansTT Light" panose="020B0503020201020303" pitchFamily="34" charset="0"/>
            </a:endParaRPr>
          </a:p>
        </p:txBody>
      </p:sp>
      <p:sp>
        <p:nvSpPr>
          <p:cNvPr id="391" name="TextBox 390">
            <a:extLst>
              <a:ext uri="{FF2B5EF4-FFF2-40B4-BE49-F238E27FC236}">
                <a16:creationId xmlns:a16="http://schemas.microsoft.com/office/drawing/2014/main" id="{1EAA5CFD-2324-47AC-A137-EBAC8336E569}"/>
              </a:ext>
            </a:extLst>
          </p:cNvPr>
          <p:cNvSpPr txBox="1"/>
          <p:nvPr/>
        </p:nvSpPr>
        <p:spPr>
          <a:xfrm>
            <a:off x="10628849" y="3036147"/>
            <a:ext cx="1149908" cy="79152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ctr" defTabSz="914354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iscoSansTT" panose="020B0503020201020303" pitchFamily="34" charset="0"/>
                <a:ea typeface="ＭＳ Ｐゴシック" charset="0"/>
                <a:cs typeface="CiscoSansTT" panose="020B0503020201020303" pitchFamily="34" charset="0"/>
              </a:rPr>
              <a:t>Month </a:t>
            </a:r>
            <a:b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iscoSansTT" panose="020B0503020201020303" pitchFamily="34" charset="0"/>
                <a:ea typeface="ＭＳ Ｐゴシック" charset="0"/>
                <a:cs typeface="CiscoSansTT" panose="020B0503020201020303" pitchFamily="34" charset="0"/>
              </a:rPr>
            </a:br>
            <a:r>
              <a:rPr kumimoji="0" lang="en-US" sz="4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iscoSansTT Light" panose="020B0503020201020303" pitchFamily="34" charset="0"/>
                <a:ea typeface="ＭＳ Ｐゴシック" charset="0"/>
                <a:cs typeface="CiscoSansTT Light" panose="020B0503020201020303" pitchFamily="34" charset="0"/>
              </a:rPr>
              <a:t>8</a:t>
            </a:r>
            <a:endParaRPr kumimoji="0" lang="en-US" sz="60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iscoSansTT Light" panose="020B0503020201020303" pitchFamily="34" charset="0"/>
              <a:ea typeface="ＭＳ Ｐゴシック" charset="0"/>
              <a:cs typeface="CiscoSansTT Light" panose="020B0503020201020303" pitchFamily="34" charset="0"/>
            </a:endParaRPr>
          </a:p>
        </p:txBody>
      </p:sp>
      <p:sp>
        <p:nvSpPr>
          <p:cNvPr id="392" name="TextBox 391">
            <a:extLst>
              <a:ext uri="{FF2B5EF4-FFF2-40B4-BE49-F238E27FC236}">
                <a16:creationId xmlns:a16="http://schemas.microsoft.com/office/drawing/2014/main" id="{3165C492-098E-40B5-9D04-DD3634711C05}"/>
              </a:ext>
            </a:extLst>
          </p:cNvPr>
          <p:cNvSpPr txBox="1"/>
          <p:nvPr/>
        </p:nvSpPr>
        <p:spPr>
          <a:xfrm>
            <a:off x="6545770" y="2551505"/>
            <a:ext cx="1427199" cy="37147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ctr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FBAB18"/>
                </a:solidFill>
                <a:effectLst/>
                <a:uLnTx/>
                <a:uFillTx/>
                <a:latin typeface="CiscoSansTT" panose="020B0503020201020303" pitchFamily="34" charset="0"/>
                <a:ea typeface="ＭＳ Ｐゴシック" charset="0"/>
                <a:cs typeface="CiscoSansTT" panose="020B0503020201020303" pitchFamily="34" charset="0"/>
              </a:rPr>
              <a:t>90-Day Review</a:t>
            </a:r>
          </a:p>
        </p:txBody>
      </p:sp>
      <p:grpSp>
        <p:nvGrpSpPr>
          <p:cNvPr id="394" name="Group 393">
            <a:extLst>
              <a:ext uri="{FF2B5EF4-FFF2-40B4-BE49-F238E27FC236}">
                <a16:creationId xmlns:a16="http://schemas.microsoft.com/office/drawing/2014/main" id="{1666FB85-579A-4047-A308-21CA2790525A}"/>
              </a:ext>
            </a:extLst>
          </p:cNvPr>
          <p:cNvGrpSpPr/>
          <p:nvPr/>
        </p:nvGrpSpPr>
        <p:grpSpPr>
          <a:xfrm>
            <a:off x="4556623" y="3888002"/>
            <a:ext cx="1584516" cy="542284"/>
            <a:chOff x="3329221" y="1138985"/>
            <a:chExt cx="1188387" cy="406713"/>
          </a:xfrm>
        </p:grpSpPr>
        <p:pic>
          <p:nvPicPr>
            <p:cNvPr id="395" name="Graphic 394">
              <a:extLst>
                <a:ext uri="{FF2B5EF4-FFF2-40B4-BE49-F238E27FC236}">
                  <a16:creationId xmlns:a16="http://schemas.microsoft.com/office/drawing/2014/main" id="{60D92883-5710-4251-B913-BB027ACEF607}"/>
                </a:ext>
              </a:extLst>
            </p:cNvPr>
            <p:cNvPicPr>
              <a:picLocks noChangeAspect="1"/>
            </p:cNvPicPr>
            <p:nvPr/>
          </p:nvPicPr>
          <p:blipFill>
            <a:blip r:embed="rId27">
              <a:extLst>
                <a:ext uri="{96DAC541-7B7A-43D3-8B79-37D633B846F1}">
                  <asvg:svgBlip xmlns:asvg="http://schemas.microsoft.com/office/drawing/2016/SVG/main" r:embed="rId39"/>
                </a:ext>
              </a:extLst>
            </a:blip>
            <a:stretch>
              <a:fillRect/>
            </a:stretch>
          </p:blipFill>
          <p:spPr>
            <a:xfrm>
              <a:off x="3329221" y="1138985"/>
              <a:ext cx="189553" cy="189000"/>
            </a:xfrm>
            <a:prstGeom prst="rect">
              <a:avLst/>
            </a:prstGeom>
          </p:spPr>
        </p:pic>
        <p:pic>
          <p:nvPicPr>
            <p:cNvPr id="396" name="Graphic 395">
              <a:extLst>
                <a:ext uri="{FF2B5EF4-FFF2-40B4-BE49-F238E27FC236}">
                  <a16:creationId xmlns:a16="http://schemas.microsoft.com/office/drawing/2014/main" id="{9E87E6A5-4417-4009-B88C-F361F1F3E7C4}"/>
                </a:ext>
              </a:extLst>
            </p:cNvPr>
            <p:cNvPicPr>
              <a:picLocks noChangeAspect="1"/>
            </p:cNvPicPr>
            <p:nvPr/>
          </p:nvPicPr>
          <p:blipFill>
            <a:blip r:embed="rId31">
              <a:extLst>
                <a:ext uri="{96DAC541-7B7A-43D3-8B79-37D633B846F1}">
                  <asvg:svgBlip xmlns:asvg="http://schemas.microsoft.com/office/drawing/2016/SVG/main" r:embed="rId40"/>
                </a:ext>
              </a:extLst>
            </a:blip>
            <a:stretch>
              <a:fillRect/>
            </a:stretch>
          </p:blipFill>
          <p:spPr>
            <a:xfrm>
              <a:off x="3723812" y="1138985"/>
              <a:ext cx="189005" cy="189000"/>
            </a:xfrm>
            <a:prstGeom prst="rect">
              <a:avLst/>
            </a:prstGeom>
          </p:spPr>
        </p:pic>
        <p:pic>
          <p:nvPicPr>
            <p:cNvPr id="397" name="Graphic 396">
              <a:extLst>
                <a:ext uri="{FF2B5EF4-FFF2-40B4-BE49-F238E27FC236}">
                  <a16:creationId xmlns:a16="http://schemas.microsoft.com/office/drawing/2014/main" id="{4B7DA49E-F2B6-4791-8F45-9ACA287C892D}"/>
                </a:ext>
              </a:extLst>
            </p:cNvPr>
            <p:cNvPicPr>
              <a:picLocks noChangeAspect="1"/>
            </p:cNvPicPr>
            <p:nvPr/>
          </p:nvPicPr>
          <p:blipFill>
            <a:blip r:embed="rId29">
              <a:extLst>
                <a:ext uri="{96DAC541-7B7A-43D3-8B79-37D633B846F1}">
                  <asvg:svgBlip xmlns:asvg="http://schemas.microsoft.com/office/drawing/2016/SVG/main" r:embed="rId41"/>
                </a:ext>
              </a:extLst>
            </a:blip>
            <a:stretch>
              <a:fillRect/>
            </a:stretch>
          </p:blipFill>
          <p:spPr>
            <a:xfrm>
              <a:off x="4118475" y="1138985"/>
              <a:ext cx="189005" cy="189000"/>
            </a:xfrm>
            <a:prstGeom prst="rect">
              <a:avLst/>
            </a:prstGeom>
          </p:spPr>
        </p:pic>
        <p:pic>
          <p:nvPicPr>
            <p:cNvPr id="398" name="Graphic 397">
              <a:extLst>
                <a:ext uri="{FF2B5EF4-FFF2-40B4-BE49-F238E27FC236}">
                  <a16:creationId xmlns:a16="http://schemas.microsoft.com/office/drawing/2014/main" id="{63CC40DC-F2F2-4C1A-A3A6-738ACC7C388C}"/>
                </a:ext>
              </a:extLst>
            </p:cNvPr>
            <p:cNvPicPr>
              <a:picLocks noChangeAspect="1"/>
            </p:cNvPicPr>
            <p:nvPr/>
          </p:nvPicPr>
          <p:blipFill>
            <a:blip r:embed="rId33">
              <a:extLst>
                <a:ext uri="{96DAC541-7B7A-43D3-8B79-37D633B846F1}">
                  <asvg:svgBlip xmlns:asvg="http://schemas.microsoft.com/office/drawing/2016/SVG/main" r:embed="rId42"/>
                </a:ext>
              </a:extLst>
            </a:blip>
            <a:stretch>
              <a:fillRect/>
            </a:stretch>
          </p:blipFill>
          <p:spPr>
            <a:xfrm>
              <a:off x="3723538" y="1356698"/>
              <a:ext cx="189000" cy="189000"/>
            </a:xfrm>
            <a:prstGeom prst="rect">
              <a:avLst/>
            </a:prstGeom>
          </p:spPr>
        </p:pic>
        <p:pic>
          <p:nvPicPr>
            <p:cNvPr id="399" name="Graphic 398">
              <a:extLst>
                <a:ext uri="{FF2B5EF4-FFF2-40B4-BE49-F238E27FC236}">
                  <a16:creationId xmlns:a16="http://schemas.microsoft.com/office/drawing/2014/main" id="{4138A792-C6A1-4431-B599-3EC85C39569E}"/>
                </a:ext>
              </a:extLst>
            </p:cNvPr>
            <p:cNvPicPr>
              <a:picLocks noChangeAspect="1"/>
            </p:cNvPicPr>
            <p:nvPr/>
          </p:nvPicPr>
          <p:blipFill>
            <a:blip r:embed="rId37">
              <a:extLst>
                <a:ext uri="{96DAC541-7B7A-43D3-8B79-37D633B846F1}">
                  <asvg:svgBlip xmlns:asvg="http://schemas.microsoft.com/office/drawing/2016/SVG/main" r:embed="rId43"/>
                </a:ext>
              </a:extLst>
            </a:blip>
            <a:stretch>
              <a:fillRect/>
            </a:stretch>
          </p:blipFill>
          <p:spPr>
            <a:xfrm>
              <a:off x="3329221" y="1356698"/>
              <a:ext cx="189000" cy="189000"/>
            </a:xfrm>
            <a:prstGeom prst="rect">
              <a:avLst/>
            </a:prstGeom>
          </p:spPr>
        </p:pic>
        <p:pic>
          <p:nvPicPr>
            <p:cNvPr id="400" name="Graphic 399">
              <a:extLst>
                <a:ext uri="{FF2B5EF4-FFF2-40B4-BE49-F238E27FC236}">
                  <a16:creationId xmlns:a16="http://schemas.microsoft.com/office/drawing/2014/main" id="{0EB86EA6-38EC-4CDB-A4EE-A381CCECCDA5}"/>
                </a:ext>
              </a:extLst>
            </p:cNvPr>
            <p:cNvPicPr>
              <a:picLocks noChangeAspect="1"/>
            </p:cNvPicPr>
            <p:nvPr/>
          </p:nvPicPr>
          <p:blipFill>
            <a:blip r:embed="rId35">
              <a:extLst>
                <a:ext uri="{96DAC541-7B7A-43D3-8B79-37D633B846F1}">
                  <asvg:svgBlip xmlns:asvg="http://schemas.microsoft.com/office/drawing/2016/SVG/main" r:embed="rId44"/>
                </a:ext>
              </a:extLst>
            </a:blip>
            <a:stretch>
              <a:fillRect/>
            </a:stretch>
          </p:blipFill>
          <p:spPr>
            <a:xfrm>
              <a:off x="4118475" y="1356698"/>
              <a:ext cx="189000" cy="189000"/>
            </a:xfrm>
            <a:prstGeom prst="rect">
              <a:avLst/>
            </a:prstGeom>
          </p:spPr>
        </p:pic>
        <p:sp>
          <p:nvSpPr>
            <p:cNvPr id="401" name="TextBox 400">
              <a:extLst>
                <a:ext uri="{FF2B5EF4-FFF2-40B4-BE49-F238E27FC236}">
                  <a16:creationId xmlns:a16="http://schemas.microsoft.com/office/drawing/2014/main" id="{B763C87F-1C86-479F-8D33-1BFAD51CCCDD}"/>
                </a:ext>
              </a:extLst>
            </p:cNvPr>
            <p:cNvSpPr txBox="1"/>
            <p:nvPr/>
          </p:nvSpPr>
          <p:spPr>
            <a:xfrm>
              <a:off x="3541994" y="1155415"/>
              <a:ext cx="164495" cy="156141"/>
            </a:xfrm>
            <a:prstGeom prst="rect">
              <a:avLst/>
            </a:prstGeom>
            <a:noFill/>
          </p:spPr>
          <p:txBody>
            <a:bodyPr wrap="none" lIns="0" tIns="0" rIns="0" bIns="0" rtlCol="0">
              <a:noAutofit/>
            </a:bodyPr>
            <a:lstStyle/>
            <a:p>
              <a:pPr marL="0" marR="0" lvl="0" indent="0" algn="l" defTabSz="609570" rtl="0" eaLnBrk="1" fontAlgn="base" latinLnBrk="0" hangingPunct="1">
                <a:lnSpc>
                  <a:spcPct val="110000"/>
                </a:lnSpc>
                <a:spcBef>
                  <a:spcPct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67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iscoSansTT Light" panose="020B0503020201020303" pitchFamily="34" charset="0"/>
                  <a:ea typeface="ＭＳ Ｐゴシック" charset="0"/>
                  <a:cs typeface="CiscoSansTT Light" panose="020B0503020201020303" pitchFamily="34" charset="0"/>
                </a:rPr>
                <a:t>x12</a:t>
              </a:r>
            </a:p>
          </p:txBody>
        </p:sp>
        <p:sp>
          <p:nvSpPr>
            <p:cNvPr id="402" name="TextBox 401">
              <a:extLst>
                <a:ext uri="{FF2B5EF4-FFF2-40B4-BE49-F238E27FC236}">
                  <a16:creationId xmlns:a16="http://schemas.microsoft.com/office/drawing/2014/main" id="{D6AF5174-8FAC-4C12-88E1-37D919CE7151}"/>
                </a:ext>
              </a:extLst>
            </p:cNvPr>
            <p:cNvSpPr txBox="1"/>
            <p:nvPr/>
          </p:nvSpPr>
          <p:spPr>
            <a:xfrm>
              <a:off x="4353113" y="1155415"/>
              <a:ext cx="164495" cy="156141"/>
            </a:xfrm>
            <a:prstGeom prst="rect">
              <a:avLst/>
            </a:prstGeom>
            <a:noFill/>
          </p:spPr>
          <p:txBody>
            <a:bodyPr wrap="none" lIns="0" tIns="0" rIns="0" bIns="0" rtlCol="0">
              <a:noAutofit/>
            </a:bodyPr>
            <a:lstStyle/>
            <a:p>
              <a:pPr marL="0" marR="0" lvl="0" indent="0" algn="l" defTabSz="609570" rtl="0" eaLnBrk="1" fontAlgn="base" latinLnBrk="0" hangingPunct="1">
                <a:lnSpc>
                  <a:spcPct val="110000"/>
                </a:lnSpc>
                <a:spcBef>
                  <a:spcPct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67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iscoSansTT Light" panose="020B0503020201020303" pitchFamily="34" charset="0"/>
                  <a:ea typeface="ＭＳ Ｐゴシック" charset="0"/>
                  <a:cs typeface="CiscoSansTT Light" panose="020B0503020201020303" pitchFamily="34" charset="0"/>
                </a:rPr>
                <a:t>x4</a:t>
              </a:r>
            </a:p>
          </p:txBody>
        </p:sp>
        <p:sp>
          <p:nvSpPr>
            <p:cNvPr id="403" name="TextBox 402">
              <a:extLst>
                <a:ext uri="{FF2B5EF4-FFF2-40B4-BE49-F238E27FC236}">
                  <a16:creationId xmlns:a16="http://schemas.microsoft.com/office/drawing/2014/main" id="{AD6DC3FF-1408-46AD-9C78-1338885527F9}"/>
                </a:ext>
              </a:extLst>
            </p:cNvPr>
            <p:cNvSpPr txBox="1"/>
            <p:nvPr/>
          </p:nvSpPr>
          <p:spPr>
            <a:xfrm>
              <a:off x="3936414" y="1373128"/>
              <a:ext cx="164495" cy="156141"/>
            </a:xfrm>
            <a:prstGeom prst="rect">
              <a:avLst/>
            </a:prstGeom>
            <a:noFill/>
          </p:spPr>
          <p:txBody>
            <a:bodyPr wrap="none" lIns="0" tIns="0" rIns="0" bIns="0" rtlCol="0">
              <a:noAutofit/>
            </a:bodyPr>
            <a:lstStyle/>
            <a:p>
              <a:pPr marL="0" marR="0" lvl="0" indent="0" algn="l" defTabSz="609570" rtl="0" eaLnBrk="1" fontAlgn="base" latinLnBrk="0" hangingPunct="1">
                <a:lnSpc>
                  <a:spcPct val="110000"/>
                </a:lnSpc>
                <a:spcBef>
                  <a:spcPct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67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iscoSansTT Light" panose="020B0503020201020303" pitchFamily="34" charset="0"/>
                  <a:ea typeface="ＭＳ Ｐゴシック" charset="0"/>
                  <a:cs typeface="CiscoSansTT Light" panose="020B0503020201020303" pitchFamily="34" charset="0"/>
                </a:rPr>
                <a:t>x4</a:t>
              </a:r>
            </a:p>
          </p:txBody>
        </p:sp>
        <p:sp>
          <p:nvSpPr>
            <p:cNvPr id="404" name="TextBox 403">
              <a:extLst>
                <a:ext uri="{FF2B5EF4-FFF2-40B4-BE49-F238E27FC236}">
                  <a16:creationId xmlns:a16="http://schemas.microsoft.com/office/drawing/2014/main" id="{A24C5B81-EF25-44D3-A544-2D9F78DFD22A}"/>
                </a:ext>
              </a:extLst>
            </p:cNvPr>
            <p:cNvSpPr txBox="1"/>
            <p:nvPr/>
          </p:nvSpPr>
          <p:spPr>
            <a:xfrm>
              <a:off x="3948993" y="1155415"/>
              <a:ext cx="164495" cy="156141"/>
            </a:xfrm>
            <a:prstGeom prst="rect">
              <a:avLst/>
            </a:prstGeom>
            <a:noFill/>
          </p:spPr>
          <p:txBody>
            <a:bodyPr wrap="none" lIns="0" tIns="0" rIns="0" bIns="0" rtlCol="0">
              <a:noAutofit/>
            </a:bodyPr>
            <a:lstStyle/>
            <a:p>
              <a:pPr marL="0" marR="0" lvl="0" indent="0" algn="l" defTabSz="609570" rtl="0" eaLnBrk="1" fontAlgn="base" latinLnBrk="0" hangingPunct="1">
                <a:lnSpc>
                  <a:spcPct val="110000"/>
                </a:lnSpc>
                <a:spcBef>
                  <a:spcPct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67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iscoSansTT Light" panose="020B0503020201020303" pitchFamily="34" charset="0"/>
                  <a:ea typeface="ＭＳ Ｐゴシック" charset="0"/>
                  <a:cs typeface="CiscoSansTT Light" panose="020B0503020201020303" pitchFamily="34" charset="0"/>
                </a:rPr>
                <a:t>x16</a:t>
              </a:r>
            </a:p>
          </p:txBody>
        </p:sp>
        <p:sp>
          <p:nvSpPr>
            <p:cNvPr id="405" name="TextBox 404">
              <a:extLst>
                <a:ext uri="{FF2B5EF4-FFF2-40B4-BE49-F238E27FC236}">
                  <a16:creationId xmlns:a16="http://schemas.microsoft.com/office/drawing/2014/main" id="{8FB4313F-985E-4F4A-8AC9-EAA317011689}"/>
                </a:ext>
              </a:extLst>
            </p:cNvPr>
            <p:cNvSpPr txBox="1"/>
            <p:nvPr/>
          </p:nvSpPr>
          <p:spPr>
            <a:xfrm>
              <a:off x="4346717" y="1373128"/>
              <a:ext cx="164495" cy="156141"/>
            </a:xfrm>
            <a:prstGeom prst="rect">
              <a:avLst/>
            </a:prstGeom>
            <a:noFill/>
          </p:spPr>
          <p:txBody>
            <a:bodyPr wrap="none" lIns="0" tIns="0" rIns="0" bIns="0" rtlCol="0">
              <a:noAutofit/>
            </a:bodyPr>
            <a:lstStyle/>
            <a:p>
              <a:pPr marL="0" marR="0" lvl="0" indent="0" algn="l" defTabSz="609570" rtl="0" eaLnBrk="1" fontAlgn="base" latinLnBrk="0" hangingPunct="1">
                <a:lnSpc>
                  <a:spcPct val="110000"/>
                </a:lnSpc>
                <a:spcBef>
                  <a:spcPct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67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iscoSansTT Light" panose="020B0503020201020303" pitchFamily="34" charset="0"/>
                <a:ea typeface="ＭＳ Ｐゴシック" charset="0"/>
                <a:cs typeface="CiscoSansTT Light" panose="020B0503020201020303" pitchFamily="34" charset="0"/>
              </a:endParaRPr>
            </a:p>
          </p:txBody>
        </p:sp>
        <p:sp>
          <p:nvSpPr>
            <p:cNvPr id="406" name="TextBox 405">
              <a:extLst>
                <a:ext uri="{FF2B5EF4-FFF2-40B4-BE49-F238E27FC236}">
                  <a16:creationId xmlns:a16="http://schemas.microsoft.com/office/drawing/2014/main" id="{4366B3E2-D97B-4B6F-94E9-EEAA81E8AA22}"/>
                </a:ext>
              </a:extLst>
            </p:cNvPr>
            <p:cNvSpPr txBox="1"/>
            <p:nvPr/>
          </p:nvSpPr>
          <p:spPr>
            <a:xfrm>
              <a:off x="4347015" y="1373128"/>
              <a:ext cx="164495" cy="156141"/>
            </a:xfrm>
            <a:prstGeom prst="rect">
              <a:avLst/>
            </a:prstGeom>
            <a:noFill/>
          </p:spPr>
          <p:txBody>
            <a:bodyPr wrap="none" lIns="0" tIns="0" rIns="0" bIns="0" rtlCol="0">
              <a:noAutofit/>
            </a:bodyPr>
            <a:lstStyle/>
            <a:p>
              <a:pPr marL="0" marR="0" lvl="0" indent="0" algn="l" defTabSz="609570" rtl="0" eaLnBrk="1" fontAlgn="base" latinLnBrk="0" hangingPunct="1">
                <a:lnSpc>
                  <a:spcPct val="110000"/>
                </a:lnSpc>
                <a:spcBef>
                  <a:spcPct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67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iscoSansTT Light" panose="020B0503020201020303" pitchFamily="34" charset="0"/>
                  <a:ea typeface="ＭＳ Ｐゴシック" charset="0"/>
                  <a:cs typeface="CiscoSansTT Light" panose="020B0503020201020303" pitchFamily="34" charset="0"/>
                </a:rPr>
                <a:t>x4</a:t>
              </a:r>
            </a:p>
          </p:txBody>
        </p:sp>
      </p:grpSp>
      <p:grpSp>
        <p:nvGrpSpPr>
          <p:cNvPr id="407" name="Group 406">
            <a:extLst>
              <a:ext uri="{FF2B5EF4-FFF2-40B4-BE49-F238E27FC236}">
                <a16:creationId xmlns:a16="http://schemas.microsoft.com/office/drawing/2014/main" id="{54F01D53-143B-4456-8122-6AF4058E05C0}"/>
              </a:ext>
            </a:extLst>
          </p:cNvPr>
          <p:cNvGrpSpPr/>
          <p:nvPr/>
        </p:nvGrpSpPr>
        <p:grpSpPr>
          <a:xfrm>
            <a:off x="6528839" y="3888002"/>
            <a:ext cx="1584516" cy="542284"/>
            <a:chOff x="3329221" y="1138985"/>
            <a:chExt cx="1188387" cy="406713"/>
          </a:xfrm>
        </p:grpSpPr>
        <p:pic>
          <p:nvPicPr>
            <p:cNvPr id="408" name="Graphic 407">
              <a:extLst>
                <a:ext uri="{FF2B5EF4-FFF2-40B4-BE49-F238E27FC236}">
                  <a16:creationId xmlns:a16="http://schemas.microsoft.com/office/drawing/2014/main" id="{0A96906F-9273-4F6B-B312-308916978704}"/>
                </a:ext>
              </a:extLst>
            </p:cNvPr>
            <p:cNvPicPr>
              <a:picLocks noChangeAspect="1"/>
            </p:cNvPicPr>
            <p:nvPr/>
          </p:nvPicPr>
          <p:blipFill>
            <a:blip r:embed="rId27">
              <a:extLst>
                <a:ext uri="{96DAC541-7B7A-43D3-8B79-37D633B846F1}">
                  <asvg:svgBlip xmlns:asvg="http://schemas.microsoft.com/office/drawing/2016/SVG/main" r:embed="rId39"/>
                </a:ext>
              </a:extLst>
            </a:blip>
            <a:stretch>
              <a:fillRect/>
            </a:stretch>
          </p:blipFill>
          <p:spPr>
            <a:xfrm>
              <a:off x="3329221" y="1138985"/>
              <a:ext cx="189553" cy="189000"/>
            </a:xfrm>
            <a:prstGeom prst="rect">
              <a:avLst/>
            </a:prstGeom>
          </p:spPr>
        </p:pic>
        <p:pic>
          <p:nvPicPr>
            <p:cNvPr id="409" name="Graphic 408">
              <a:extLst>
                <a:ext uri="{FF2B5EF4-FFF2-40B4-BE49-F238E27FC236}">
                  <a16:creationId xmlns:a16="http://schemas.microsoft.com/office/drawing/2014/main" id="{63C8CA2C-4DEF-4B3B-B057-E1E501954360}"/>
                </a:ext>
              </a:extLst>
            </p:cNvPr>
            <p:cNvPicPr>
              <a:picLocks noChangeAspect="1"/>
            </p:cNvPicPr>
            <p:nvPr/>
          </p:nvPicPr>
          <p:blipFill>
            <a:blip r:embed="rId31">
              <a:extLst>
                <a:ext uri="{96DAC541-7B7A-43D3-8B79-37D633B846F1}">
                  <asvg:svgBlip xmlns:asvg="http://schemas.microsoft.com/office/drawing/2016/SVG/main" r:embed="rId40"/>
                </a:ext>
              </a:extLst>
            </a:blip>
            <a:stretch>
              <a:fillRect/>
            </a:stretch>
          </p:blipFill>
          <p:spPr>
            <a:xfrm>
              <a:off x="3723812" y="1138985"/>
              <a:ext cx="189005" cy="189000"/>
            </a:xfrm>
            <a:prstGeom prst="rect">
              <a:avLst/>
            </a:prstGeom>
          </p:spPr>
        </p:pic>
        <p:pic>
          <p:nvPicPr>
            <p:cNvPr id="410" name="Graphic 409">
              <a:extLst>
                <a:ext uri="{FF2B5EF4-FFF2-40B4-BE49-F238E27FC236}">
                  <a16:creationId xmlns:a16="http://schemas.microsoft.com/office/drawing/2014/main" id="{05D3C0E3-0312-4A34-BF08-3D9EC9DEE68F}"/>
                </a:ext>
              </a:extLst>
            </p:cNvPr>
            <p:cNvPicPr>
              <a:picLocks noChangeAspect="1"/>
            </p:cNvPicPr>
            <p:nvPr/>
          </p:nvPicPr>
          <p:blipFill>
            <a:blip r:embed="rId29">
              <a:extLst>
                <a:ext uri="{96DAC541-7B7A-43D3-8B79-37D633B846F1}">
                  <asvg:svgBlip xmlns:asvg="http://schemas.microsoft.com/office/drawing/2016/SVG/main" r:embed="rId41"/>
                </a:ext>
              </a:extLst>
            </a:blip>
            <a:stretch>
              <a:fillRect/>
            </a:stretch>
          </p:blipFill>
          <p:spPr>
            <a:xfrm>
              <a:off x="4118475" y="1138985"/>
              <a:ext cx="189005" cy="189000"/>
            </a:xfrm>
            <a:prstGeom prst="rect">
              <a:avLst/>
            </a:prstGeom>
          </p:spPr>
        </p:pic>
        <p:pic>
          <p:nvPicPr>
            <p:cNvPr id="411" name="Graphic 410">
              <a:extLst>
                <a:ext uri="{FF2B5EF4-FFF2-40B4-BE49-F238E27FC236}">
                  <a16:creationId xmlns:a16="http://schemas.microsoft.com/office/drawing/2014/main" id="{929850D0-E80E-4F82-8B2A-4AC84E3F898C}"/>
                </a:ext>
              </a:extLst>
            </p:cNvPr>
            <p:cNvPicPr>
              <a:picLocks noChangeAspect="1"/>
            </p:cNvPicPr>
            <p:nvPr/>
          </p:nvPicPr>
          <p:blipFill>
            <a:blip r:embed="rId33">
              <a:extLst>
                <a:ext uri="{96DAC541-7B7A-43D3-8B79-37D633B846F1}">
                  <asvg:svgBlip xmlns:asvg="http://schemas.microsoft.com/office/drawing/2016/SVG/main" r:embed="rId42"/>
                </a:ext>
              </a:extLst>
            </a:blip>
            <a:stretch>
              <a:fillRect/>
            </a:stretch>
          </p:blipFill>
          <p:spPr>
            <a:xfrm>
              <a:off x="3723538" y="1356698"/>
              <a:ext cx="189000" cy="189000"/>
            </a:xfrm>
            <a:prstGeom prst="rect">
              <a:avLst/>
            </a:prstGeom>
          </p:spPr>
        </p:pic>
        <p:pic>
          <p:nvPicPr>
            <p:cNvPr id="412" name="Graphic 411">
              <a:extLst>
                <a:ext uri="{FF2B5EF4-FFF2-40B4-BE49-F238E27FC236}">
                  <a16:creationId xmlns:a16="http://schemas.microsoft.com/office/drawing/2014/main" id="{1F2B44C7-9969-4463-9429-C1896E4B4283}"/>
                </a:ext>
              </a:extLst>
            </p:cNvPr>
            <p:cNvPicPr>
              <a:picLocks noChangeAspect="1"/>
            </p:cNvPicPr>
            <p:nvPr/>
          </p:nvPicPr>
          <p:blipFill>
            <a:blip r:embed="rId37">
              <a:extLst>
                <a:ext uri="{96DAC541-7B7A-43D3-8B79-37D633B846F1}">
                  <asvg:svgBlip xmlns:asvg="http://schemas.microsoft.com/office/drawing/2016/SVG/main" r:embed="rId43"/>
                </a:ext>
              </a:extLst>
            </a:blip>
            <a:stretch>
              <a:fillRect/>
            </a:stretch>
          </p:blipFill>
          <p:spPr>
            <a:xfrm>
              <a:off x="3329221" y="1356698"/>
              <a:ext cx="189000" cy="189000"/>
            </a:xfrm>
            <a:prstGeom prst="rect">
              <a:avLst/>
            </a:prstGeom>
          </p:spPr>
        </p:pic>
        <p:pic>
          <p:nvPicPr>
            <p:cNvPr id="413" name="Graphic 412">
              <a:extLst>
                <a:ext uri="{FF2B5EF4-FFF2-40B4-BE49-F238E27FC236}">
                  <a16:creationId xmlns:a16="http://schemas.microsoft.com/office/drawing/2014/main" id="{70947BF5-C16C-4E63-821A-D727EFA932FF}"/>
                </a:ext>
              </a:extLst>
            </p:cNvPr>
            <p:cNvPicPr>
              <a:picLocks noChangeAspect="1"/>
            </p:cNvPicPr>
            <p:nvPr/>
          </p:nvPicPr>
          <p:blipFill>
            <a:blip r:embed="rId35">
              <a:extLst>
                <a:ext uri="{96DAC541-7B7A-43D3-8B79-37D633B846F1}">
                  <asvg:svgBlip xmlns:asvg="http://schemas.microsoft.com/office/drawing/2016/SVG/main" r:embed="rId44"/>
                </a:ext>
              </a:extLst>
            </a:blip>
            <a:stretch>
              <a:fillRect/>
            </a:stretch>
          </p:blipFill>
          <p:spPr>
            <a:xfrm>
              <a:off x="4118475" y="1356698"/>
              <a:ext cx="189000" cy="189000"/>
            </a:xfrm>
            <a:prstGeom prst="rect">
              <a:avLst/>
            </a:prstGeom>
          </p:spPr>
        </p:pic>
        <p:sp>
          <p:nvSpPr>
            <p:cNvPr id="414" name="TextBox 413">
              <a:extLst>
                <a:ext uri="{FF2B5EF4-FFF2-40B4-BE49-F238E27FC236}">
                  <a16:creationId xmlns:a16="http://schemas.microsoft.com/office/drawing/2014/main" id="{57C8E816-9681-4796-A882-3FAF8462891C}"/>
                </a:ext>
              </a:extLst>
            </p:cNvPr>
            <p:cNvSpPr txBox="1"/>
            <p:nvPr/>
          </p:nvSpPr>
          <p:spPr>
            <a:xfrm>
              <a:off x="3541994" y="1155415"/>
              <a:ext cx="164495" cy="156141"/>
            </a:xfrm>
            <a:prstGeom prst="rect">
              <a:avLst/>
            </a:prstGeom>
            <a:noFill/>
          </p:spPr>
          <p:txBody>
            <a:bodyPr wrap="none" lIns="0" tIns="0" rIns="0" bIns="0" rtlCol="0">
              <a:noAutofit/>
            </a:bodyPr>
            <a:lstStyle/>
            <a:p>
              <a:pPr marL="0" marR="0" lvl="0" indent="0" algn="l" defTabSz="609570" rtl="0" eaLnBrk="1" fontAlgn="base" latinLnBrk="0" hangingPunct="1">
                <a:lnSpc>
                  <a:spcPct val="110000"/>
                </a:lnSpc>
                <a:spcBef>
                  <a:spcPct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67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iscoSansTT Light" panose="020B0503020201020303" pitchFamily="34" charset="0"/>
                  <a:ea typeface="ＭＳ Ｐゴシック" charset="0"/>
                  <a:cs typeface="CiscoSansTT Light" panose="020B0503020201020303" pitchFamily="34" charset="0"/>
                </a:rPr>
                <a:t>x12</a:t>
              </a:r>
            </a:p>
          </p:txBody>
        </p:sp>
        <p:sp>
          <p:nvSpPr>
            <p:cNvPr id="415" name="TextBox 414">
              <a:extLst>
                <a:ext uri="{FF2B5EF4-FFF2-40B4-BE49-F238E27FC236}">
                  <a16:creationId xmlns:a16="http://schemas.microsoft.com/office/drawing/2014/main" id="{8FC87176-649C-4E4E-A820-A1FF8BDB5C69}"/>
                </a:ext>
              </a:extLst>
            </p:cNvPr>
            <p:cNvSpPr txBox="1"/>
            <p:nvPr/>
          </p:nvSpPr>
          <p:spPr>
            <a:xfrm>
              <a:off x="4353113" y="1155415"/>
              <a:ext cx="164495" cy="156141"/>
            </a:xfrm>
            <a:prstGeom prst="rect">
              <a:avLst/>
            </a:prstGeom>
            <a:noFill/>
          </p:spPr>
          <p:txBody>
            <a:bodyPr wrap="none" lIns="0" tIns="0" rIns="0" bIns="0" rtlCol="0">
              <a:noAutofit/>
            </a:bodyPr>
            <a:lstStyle/>
            <a:p>
              <a:pPr marL="0" marR="0" lvl="0" indent="0" algn="l" defTabSz="609570" rtl="0" eaLnBrk="1" fontAlgn="base" latinLnBrk="0" hangingPunct="1">
                <a:lnSpc>
                  <a:spcPct val="110000"/>
                </a:lnSpc>
                <a:spcBef>
                  <a:spcPct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67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iscoSansTT Light" panose="020B0503020201020303" pitchFamily="34" charset="0"/>
                  <a:ea typeface="ＭＳ Ｐゴシック" charset="0"/>
                  <a:cs typeface="CiscoSansTT Light" panose="020B0503020201020303" pitchFamily="34" charset="0"/>
                </a:rPr>
                <a:t>x5</a:t>
              </a:r>
            </a:p>
          </p:txBody>
        </p:sp>
        <p:sp>
          <p:nvSpPr>
            <p:cNvPr id="416" name="TextBox 415">
              <a:extLst>
                <a:ext uri="{FF2B5EF4-FFF2-40B4-BE49-F238E27FC236}">
                  <a16:creationId xmlns:a16="http://schemas.microsoft.com/office/drawing/2014/main" id="{547764DA-2E9B-4587-9361-99752AA4BD2B}"/>
                </a:ext>
              </a:extLst>
            </p:cNvPr>
            <p:cNvSpPr txBox="1"/>
            <p:nvPr/>
          </p:nvSpPr>
          <p:spPr>
            <a:xfrm>
              <a:off x="3936414" y="1373128"/>
              <a:ext cx="164495" cy="156141"/>
            </a:xfrm>
            <a:prstGeom prst="rect">
              <a:avLst/>
            </a:prstGeom>
            <a:noFill/>
          </p:spPr>
          <p:txBody>
            <a:bodyPr wrap="none" lIns="0" tIns="0" rIns="0" bIns="0" rtlCol="0">
              <a:noAutofit/>
            </a:bodyPr>
            <a:lstStyle/>
            <a:p>
              <a:pPr marL="0" marR="0" lvl="0" indent="0" algn="l" defTabSz="609570" rtl="0" eaLnBrk="1" fontAlgn="base" latinLnBrk="0" hangingPunct="1">
                <a:lnSpc>
                  <a:spcPct val="110000"/>
                </a:lnSpc>
                <a:spcBef>
                  <a:spcPct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67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iscoSansTT Light" panose="020B0503020201020303" pitchFamily="34" charset="0"/>
                  <a:ea typeface="ＭＳ Ｐゴシック" charset="0"/>
                  <a:cs typeface="CiscoSansTT Light" panose="020B0503020201020303" pitchFamily="34" charset="0"/>
                </a:rPr>
                <a:t>x4</a:t>
              </a:r>
            </a:p>
          </p:txBody>
        </p:sp>
        <p:sp>
          <p:nvSpPr>
            <p:cNvPr id="417" name="TextBox 416">
              <a:extLst>
                <a:ext uri="{FF2B5EF4-FFF2-40B4-BE49-F238E27FC236}">
                  <a16:creationId xmlns:a16="http://schemas.microsoft.com/office/drawing/2014/main" id="{3DA567BA-B572-4F02-BDB6-3356C5D7C990}"/>
                </a:ext>
              </a:extLst>
            </p:cNvPr>
            <p:cNvSpPr txBox="1"/>
            <p:nvPr/>
          </p:nvSpPr>
          <p:spPr>
            <a:xfrm>
              <a:off x="3948993" y="1155415"/>
              <a:ext cx="164495" cy="156141"/>
            </a:xfrm>
            <a:prstGeom prst="rect">
              <a:avLst/>
            </a:prstGeom>
            <a:noFill/>
          </p:spPr>
          <p:txBody>
            <a:bodyPr wrap="none" lIns="0" tIns="0" rIns="0" bIns="0" rtlCol="0">
              <a:noAutofit/>
            </a:bodyPr>
            <a:lstStyle/>
            <a:p>
              <a:pPr marL="0" marR="0" lvl="0" indent="0" algn="l" defTabSz="609570" rtl="0" eaLnBrk="1" fontAlgn="base" latinLnBrk="0" hangingPunct="1">
                <a:lnSpc>
                  <a:spcPct val="110000"/>
                </a:lnSpc>
                <a:spcBef>
                  <a:spcPct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67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iscoSansTT Light" panose="020B0503020201020303" pitchFamily="34" charset="0"/>
                  <a:ea typeface="ＭＳ Ｐゴシック" charset="0"/>
                  <a:cs typeface="CiscoSansTT Light" panose="020B0503020201020303" pitchFamily="34" charset="0"/>
                </a:rPr>
                <a:t>x11</a:t>
              </a:r>
            </a:p>
          </p:txBody>
        </p:sp>
        <p:sp>
          <p:nvSpPr>
            <p:cNvPr id="418" name="TextBox 417">
              <a:extLst>
                <a:ext uri="{FF2B5EF4-FFF2-40B4-BE49-F238E27FC236}">
                  <a16:creationId xmlns:a16="http://schemas.microsoft.com/office/drawing/2014/main" id="{3031BBE8-1807-4ADB-A789-DD4DC107A5E3}"/>
                </a:ext>
              </a:extLst>
            </p:cNvPr>
            <p:cNvSpPr txBox="1"/>
            <p:nvPr/>
          </p:nvSpPr>
          <p:spPr>
            <a:xfrm>
              <a:off x="4346717" y="1373128"/>
              <a:ext cx="164495" cy="156141"/>
            </a:xfrm>
            <a:prstGeom prst="rect">
              <a:avLst/>
            </a:prstGeom>
            <a:noFill/>
          </p:spPr>
          <p:txBody>
            <a:bodyPr wrap="none" lIns="0" tIns="0" rIns="0" bIns="0" rtlCol="0">
              <a:noAutofit/>
            </a:bodyPr>
            <a:lstStyle/>
            <a:p>
              <a:pPr marL="0" marR="0" lvl="0" indent="0" algn="l" defTabSz="609570" rtl="0" eaLnBrk="1" fontAlgn="base" latinLnBrk="0" hangingPunct="1">
                <a:lnSpc>
                  <a:spcPct val="110000"/>
                </a:lnSpc>
                <a:spcBef>
                  <a:spcPct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67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iscoSansTT Light" panose="020B0503020201020303" pitchFamily="34" charset="0"/>
                <a:ea typeface="ＭＳ Ｐゴシック" charset="0"/>
                <a:cs typeface="CiscoSansTT Light" panose="020B0503020201020303" pitchFamily="34" charset="0"/>
              </a:endParaRPr>
            </a:p>
          </p:txBody>
        </p:sp>
        <p:sp>
          <p:nvSpPr>
            <p:cNvPr id="419" name="TextBox 418">
              <a:extLst>
                <a:ext uri="{FF2B5EF4-FFF2-40B4-BE49-F238E27FC236}">
                  <a16:creationId xmlns:a16="http://schemas.microsoft.com/office/drawing/2014/main" id="{D56A51C9-4373-4A64-BB10-F8C6B50FBA09}"/>
                </a:ext>
              </a:extLst>
            </p:cNvPr>
            <p:cNvSpPr txBox="1"/>
            <p:nvPr/>
          </p:nvSpPr>
          <p:spPr>
            <a:xfrm>
              <a:off x="4347015" y="1373128"/>
              <a:ext cx="164495" cy="156141"/>
            </a:xfrm>
            <a:prstGeom prst="rect">
              <a:avLst/>
            </a:prstGeom>
            <a:noFill/>
          </p:spPr>
          <p:txBody>
            <a:bodyPr wrap="none" lIns="0" tIns="0" rIns="0" bIns="0" rtlCol="0">
              <a:noAutofit/>
            </a:bodyPr>
            <a:lstStyle/>
            <a:p>
              <a:pPr marL="0" marR="0" lvl="0" indent="0" algn="l" defTabSz="609570" rtl="0" eaLnBrk="1" fontAlgn="base" latinLnBrk="0" hangingPunct="1">
                <a:lnSpc>
                  <a:spcPct val="110000"/>
                </a:lnSpc>
                <a:spcBef>
                  <a:spcPct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67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iscoSansTT Light" panose="020B0503020201020303" pitchFamily="34" charset="0"/>
                  <a:ea typeface="ＭＳ Ｐゴシック" charset="0"/>
                  <a:cs typeface="CiscoSansTT Light" panose="020B0503020201020303" pitchFamily="34" charset="0"/>
                </a:rPr>
                <a:t>x4</a:t>
              </a:r>
            </a:p>
          </p:txBody>
        </p:sp>
        <p:sp>
          <p:nvSpPr>
            <p:cNvPr id="447" name="TextBox 446">
              <a:extLst>
                <a:ext uri="{FF2B5EF4-FFF2-40B4-BE49-F238E27FC236}">
                  <a16:creationId xmlns:a16="http://schemas.microsoft.com/office/drawing/2014/main" id="{EE656C47-901D-4B40-B3EA-A139360F10A7}"/>
                </a:ext>
              </a:extLst>
            </p:cNvPr>
            <p:cNvSpPr txBox="1"/>
            <p:nvPr/>
          </p:nvSpPr>
          <p:spPr>
            <a:xfrm>
              <a:off x="3541994" y="1373128"/>
              <a:ext cx="164495" cy="156141"/>
            </a:xfrm>
            <a:prstGeom prst="rect">
              <a:avLst/>
            </a:prstGeom>
            <a:noFill/>
          </p:spPr>
          <p:txBody>
            <a:bodyPr wrap="none" lIns="0" tIns="0" rIns="0" bIns="0" rtlCol="0">
              <a:noAutofit/>
            </a:bodyPr>
            <a:lstStyle/>
            <a:p>
              <a:pPr marL="0" marR="0" lvl="0" indent="0" algn="l" defTabSz="609570" rtl="0" eaLnBrk="1" fontAlgn="base" latinLnBrk="0" hangingPunct="1">
                <a:lnSpc>
                  <a:spcPct val="110000"/>
                </a:lnSpc>
                <a:spcBef>
                  <a:spcPct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67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iscoSansTT Light" panose="020B0503020201020303" pitchFamily="34" charset="0"/>
                  <a:ea typeface="ＭＳ Ｐゴシック" charset="0"/>
                  <a:cs typeface="CiscoSansTT Light" panose="020B0503020201020303" pitchFamily="34" charset="0"/>
                </a:rPr>
                <a:t>x1</a:t>
              </a:r>
            </a:p>
          </p:txBody>
        </p:sp>
      </p:grpSp>
      <p:grpSp>
        <p:nvGrpSpPr>
          <p:cNvPr id="420" name="Group 419">
            <a:extLst>
              <a:ext uri="{FF2B5EF4-FFF2-40B4-BE49-F238E27FC236}">
                <a16:creationId xmlns:a16="http://schemas.microsoft.com/office/drawing/2014/main" id="{F70BFCF7-C31F-4EE1-8AF4-5EB0F69AE3ED}"/>
              </a:ext>
            </a:extLst>
          </p:cNvPr>
          <p:cNvGrpSpPr/>
          <p:nvPr/>
        </p:nvGrpSpPr>
        <p:grpSpPr>
          <a:xfrm>
            <a:off x="8501057" y="3888002"/>
            <a:ext cx="1584516" cy="542284"/>
            <a:chOff x="3329221" y="1138985"/>
            <a:chExt cx="1188387" cy="406713"/>
          </a:xfrm>
        </p:grpSpPr>
        <p:pic>
          <p:nvPicPr>
            <p:cNvPr id="421" name="Graphic 420">
              <a:extLst>
                <a:ext uri="{FF2B5EF4-FFF2-40B4-BE49-F238E27FC236}">
                  <a16:creationId xmlns:a16="http://schemas.microsoft.com/office/drawing/2014/main" id="{99A9C669-2AD7-4579-8B3E-7B6F2DDB146E}"/>
                </a:ext>
              </a:extLst>
            </p:cNvPr>
            <p:cNvPicPr>
              <a:picLocks noChangeAspect="1"/>
            </p:cNvPicPr>
            <p:nvPr/>
          </p:nvPicPr>
          <p:blipFill>
            <a:blip r:embed="rId27">
              <a:extLst>
                <a:ext uri="{96DAC541-7B7A-43D3-8B79-37D633B846F1}">
                  <asvg:svgBlip xmlns:asvg="http://schemas.microsoft.com/office/drawing/2016/SVG/main" r:embed="rId39"/>
                </a:ext>
              </a:extLst>
            </a:blip>
            <a:stretch>
              <a:fillRect/>
            </a:stretch>
          </p:blipFill>
          <p:spPr>
            <a:xfrm>
              <a:off x="3329221" y="1138985"/>
              <a:ext cx="189553" cy="189000"/>
            </a:xfrm>
            <a:prstGeom prst="rect">
              <a:avLst/>
            </a:prstGeom>
          </p:spPr>
        </p:pic>
        <p:pic>
          <p:nvPicPr>
            <p:cNvPr id="422" name="Graphic 421">
              <a:extLst>
                <a:ext uri="{FF2B5EF4-FFF2-40B4-BE49-F238E27FC236}">
                  <a16:creationId xmlns:a16="http://schemas.microsoft.com/office/drawing/2014/main" id="{BC9FF71C-DA01-403F-94CB-0D5DEFB15D24}"/>
                </a:ext>
              </a:extLst>
            </p:cNvPr>
            <p:cNvPicPr>
              <a:picLocks noChangeAspect="1"/>
            </p:cNvPicPr>
            <p:nvPr/>
          </p:nvPicPr>
          <p:blipFill>
            <a:blip r:embed="rId31">
              <a:extLst>
                <a:ext uri="{96DAC541-7B7A-43D3-8B79-37D633B846F1}">
                  <asvg:svgBlip xmlns:asvg="http://schemas.microsoft.com/office/drawing/2016/SVG/main" r:embed="rId40"/>
                </a:ext>
              </a:extLst>
            </a:blip>
            <a:stretch>
              <a:fillRect/>
            </a:stretch>
          </p:blipFill>
          <p:spPr>
            <a:xfrm>
              <a:off x="3723812" y="1138985"/>
              <a:ext cx="189005" cy="189000"/>
            </a:xfrm>
            <a:prstGeom prst="rect">
              <a:avLst/>
            </a:prstGeom>
          </p:spPr>
        </p:pic>
        <p:pic>
          <p:nvPicPr>
            <p:cNvPr id="423" name="Graphic 422">
              <a:extLst>
                <a:ext uri="{FF2B5EF4-FFF2-40B4-BE49-F238E27FC236}">
                  <a16:creationId xmlns:a16="http://schemas.microsoft.com/office/drawing/2014/main" id="{7142183E-D48C-42F5-B49C-D57123EABBEF}"/>
                </a:ext>
              </a:extLst>
            </p:cNvPr>
            <p:cNvPicPr>
              <a:picLocks noChangeAspect="1"/>
            </p:cNvPicPr>
            <p:nvPr/>
          </p:nvPicPr>
          <p:blipFill>
            <a:blip r:embed="rId29">
              <a:extLst>
                <a:ext uri="{96DAC541-7B7A-43D3-8B79-37D633B846F1}">
                  <asvg:svgBlip xmlns:asvg="http://schemas.microsoft.com/office/drawing/2016/SVG/main" r:embed="rId41"/>
                </a:ext>
              </a:extLst>
            </a:blip>
            <a:stretch>
              <a:fillRect/>
            </a:stretch>
          </p:blipFill>
          <p:spPr>
            <a:xfrm>
              <a:off x="4118475" y="1138985"/>
              <a:ext cx="189005" cy="189000"/>
            </a:xfrm>
            <a:prstGeom prst="rect">
              <a:avLst/>
            </a:prstGeom>
          </p:spPr>
        </p:pic>
        <p:pic>
          <p:nvPicPr>
            <p:cNvPr id="424" name="Graphic 423">
              <a:extLst>
                <a:ext uri="{FF2B5EF4-FFF2-40B4-BE49-F238E27FC236}">
                  <a16:creationId xmlns:a16="http://schemas.microsoft.com/office/drawing/2014/main" id="{AB6495FE-A8A3-4C80-9B3B-2631B8C76567}"/>
                </a:ext>
              </a:extLst>
            </p:cNvPr>
            <p:cNvPicPr>
              <a:picLocks noChangeAspect="1"/>
            </p:cNvPicPr>
            <p:nvPr/>
          </p:nvPicPr>
          <p:blipFill>
            <a:blip r:embed="rId33">
              <a:extLst>
                <a:ext uri="{96DAC541-7B7A-43D3-8B79-37D633B846F1}">
                  <asvg:svgBlip xmlns:asvg="http://schemas.microsoft.com/office/drawing/2016/SVG/main" r:embed="rId42"/>
                </a:ext>
              </a:extLst>
            </a:blip>
            <a:stretch>
              <a:fillRect/>
            </a:stretch>
          </p:blipFill>
          <p:spPr>
            <a:xfrm>
              <a:off x="3723538" y="1356698"/>
              <a:ext cx="189000" cy="189000"/>
            </a:xfrm>
            <a:prstGeom prst="rect">
              <a:avLst/>
            </a:prstGeom>
          </p:spPr>
        </p:pic>
        <p:pic>
          <p:nvPicPr>
            <p:cNvPr id="425" name="Graphic 424">
              <a:extLst>
                <a:ext uri="{FF2B5EF4-FFF2-40B4-BE49-F238E27FC236}">
                  <a16:creationId xmlns:a16="http://schemas.microsoft.com/office/drawing/2014/main" id="{D024DC7C-B926-428F-80BD-7A33EB8FF968}"/>
                </a:ext>
              </a:extLst>
            </p:cNvPr>
            <p:cNvPicPr>
              <a:picLocks noChangeAspect="1"/>
            </p:cNvPicPr>
            <p:nvPr/>
          </p:nvPicPr>
          <p:blipFill>
            <a:blip r:embed="rId37">
              <a:extLst>
                <a:ext uri="{96DAC541-7B7A-43D3-8B79-37D633B846F1}">
                  <asvg:svgBlip xmlns:asvg="http://schemas.microsoft.com/office/drawing/2016/SVG/main" r:embed="rId43"/>
                </a:ext>
              </a:extLst>
            </a:blip>
            <a:stretch>
              <a:fillRect/>
            </a:stretch>
          </p:blipFill>
          <p:spPr>
            <a:xfrm>
              <a:off x="3329221" y="1356698"/>
              <a:ext cx="189000" cy="189000"/>
            </a:xfrm>
            <a:prstGeom prst="rect">
              <a:avLst/>
            </a:prstGeom>
          </p:spPr>
        </p:pic>
        <p:pic>
          <p:nvPicPr>
            <p:cNvPr id="426" name="Graphic 425">
              <a:extLst>
                <a:ext uri="{FF2B5EF4-FFF2-40B4-BE49-F238E27FC236}">
                  <a16:creationId xmlns:a16="http://schemas.microsoft.com/office/drawing/2014/main" id="{000B2337-4AE4-418C-9F05-C62C7FEB1083}"/>
                </a:ext>
              </a:extLst>
            </p:cNvPr>
            <p:cNvPicPr>
              <a:picLocks noChangeAspect="1"/>
            </p:cNvPicPr>
            <p:nvPr/>
          </p:nvPicPr>
          <p:blipFill>
            <a:blip r:embed="rId35">
              <a:extLst>
                <a:ext uri="{96DAC541-7B7A-43D3-8B79-37D633B846F1}">
                  <asvg:svgBlip xmlns:asvg="http://schemas.microsoft.com/office/drawing/2016/SVG/main" r:embed="rId44"/>
                </a:ext>
              </a:extLst>
            </a:blip>
            <a:stretch>
              <a:fillRect/>
            </a:stretch>
          </p:blipFill>
          <p:spPr>
            <a:xfrm>
              <a:off x="4118475" y="1356698"/>
              <a:ext cx="189000" cy="189000"/>
            </a:xfrm>
            <a:prstGeom prst="rect">
              <a:avLst/>
            </a:prstGeom>
          </p:spPr>
        </p:pic>
        <p:sp>
          <p:nvSpPr>
            <p:cNvPr id="427" name="TextBox 426">
              <a:extLst>
                <a:ext uri="{FF2B5EF4-FFF2-40B4-BE49-F238E27FC236}">
                  <a16:creationId xmlns:a16="http://schemas.microsoft.com/office/drawing/2014/main" id="{B2CBE281-095A-494F-9F50-32099C236B8F}"/>
                </a:ext>
              </a:extLst>
            </p:cNvPr>
            <p:cNvSpPr txBox="1"/>
            <p:nvPr/>
          </p:nvSpPr>
          <p:spPr>
            <a:xfrm>
              <a:off x="3541994" y="1155415"/>
              <a:ext cx="164495" cy="156141"/>
            </a:xfrm>
            <a:prstGeom prst="rect">
              <a:avLst/>
            </a:prstGeom>
            <a:noFill/>
          </p:spPr>
          <p:txBody>
            <a:bodyPr wrap="none" lIns="0" tIns="0" rIns="0" bIns="0" rtlCol="0">
              <a:noAutofit/>
            </a:bodyPr>
            <a:lstStyle/>
            <a:p>
              <a:pPr marL="0" marR="0" lvl="0" indent="0" algn="l" defTabSz="609570" rtl="0" eaLnBrk="1" fontAlgn="base" latinLnBrk="0" hangingPunct="1">
                <a:lnSpc>
                  <a:spcPct val="110000"/>
                </a:lnSpc>
                <a:spcBef>
                  <a:spcPct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67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iscoSansTT Light" panose="020B0503020201020303" pitchFamily="34" charset="0"/>
                  <a:ea typeface="ＭＳ Ｐゴシック" charset="0"/>
                  <a:cs typeface="CiscoSansTT Light" panose="020B0503020201020303" pitchFamily="34" charset="0"/>
                </a:rPr>
                <a:t>x12</a:t>
              </a:r>
            </a:p>
          </p:txBody>
        </p:sp>
        <p:sp>
          <p:nvSpPr>
            <p:cNvPr id="428" name="TextBox 427">
              <a:extLst>
                <a:ext uri="{FF2B5EF4-FFF2-40B4-BE49-F238E27FC236}">
                  <a16:creationId xmlns:a16="http://schemas.microsoft.com/office/drawing/2014/main" id="{EDB0511D-39FA-42FF-93DE-12B2BEDADA95}"/>
                </a:ext>
              </a:extLst>
            </p:cNvPr>
            <p:cNvSpPr txBox="1"/>
            <p:nvPr/>
          </p:nvSpPr>
          <p:spPr>
            <a:xfrm>
              <a:off x="4353113" y="1155415"/>
              <a:ext cx="164495" cy="156141"/>
            </a:xfrm>
            <a:prstGeom prst="rect">
              <a:avLst/>
            </a:prstGeom>
            <a:noFill/>
          </p:spPr>
          <p:txBody>
            <a:bodyPr wrap="none" lIns="0" tIns="0" rIns="0" bIns="0" rtlCol="0">
              <a:noAutofit/>
            </a:bodyPr>
            <a:lstStyle/>
            <a:p>
              <a:pPr marL="0" marR="0" lvl="0" indent="0" algn="l" defTabSz="609570" rtl="0" eaLnBrk="1" fontAlgn="base" latinLnBrk="0" hangingPunct="1">
                <a:lnSpc>
                  <a:spcPct val="110000"/>
                </a:lnSpc>
                <a:spcBef>
                  <a:spcPct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67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iscoSansTT Light" panose="020B0503020201020303" pitchFamily="34" charset="0"/>
                  <a:ea typeface="ＭＳ Ｐゴシック" charset="0"/>
                  <a:cs typeface="CiscoSansTT Light" panose="020B0503020201020303" pitchFamily="34" charset="0"/>
                </a:rPr>
                <a:t>x4</a:t>
              </a:r>
            </a:p>
          </p:txBody>
        </p:sp>
        <p:sp>
          <p:nvSpPr>
            <p:cNvPr id="429" name="TextBox 428">
              <a:extLst>
                <a:ext uri="{FF2B5EF4-FFF2-40B4-BE49-F238E27FC236}">
                  <a16:creationId xmlns:a16="http://schemas.microsoft.com/office/drawing/2014/main" id="{F5E885D8-FAC3-4EDC-BF15-2C7ED12B29CA}"/>
                </a:ext>
              </a:extLst>
            </p:cNvPr>
            <p:cNvSpPr txBox="1"/>
            <p:nvPr/>
          </p:nvSpPr>
          <p:spPr>
            <a:xfrm>
              <a:off x="3936414" y="1373128"/>
              <a:ext cx="164495" cy="156141"/>
            </a:xfrm>
            <a:prstGeom prst="rect">
              <a:avLst/>
            </a:prstGeom>
            <a:noFill/>
          </p:spPr>
          <p:txBody>
            <a:bodyPr wrap="none" lIns="0" tIns="0" rIns="0" bIns="0" rtlCol="0">
              <a:noAutofit/>
            </a:bodyPr>
            <a:lstStyle/>
            <a:p>
              <a:pPr marL="0" marR="0" lvl="0" indent="0" algn="l" defTabSz="609570" rtl="0" eaLnBrk="1" fontAlgn="base" latinLnBrk="0" hangingPunct="1">
                <a:lnSpc>
                  <a:spcPct val="110000"/>
                </a:lnSpc>
                <a:spcBef>
                  <a:spcPct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67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iscoSansTT Light" panose="020B0503020201020303" pitchFamily="34" charset="0"/>
                  <a:ea typeface="ＭＳ Ｐゴシック" charset="0"/>
                  <a:cs typeface="CiscoSansTT Light" panose="020B0503020201020303" pitchFamily="34" charset="0"/>
                </a:rPr>
                <a:t>x4</a:t>
              </a:r>
            </a:p>
          </p:txBody>
        </p:sp>
        <p:sp>
          <p:nvSpPr>
            <p:cNvPr id="430" name="TextBox 429">
              <a:extLst>
                <a:ext uri="{FF2B5EF4-FFF2-40B4-BE49-F238E27FC236}">
                  <a16:creationId xmlns:a16="http://schemas.microsoft.com/office/drawing/2014/main" id="{A9F1AACF-421D-44CA-AC3A-9F3A86550142}"/>
                </a:ext>
              </a:extLst>
            </p:cNvPr>
            <p:cNvSpPr txBox="1"/>
            <p:nvPr/>
          </p:nvSpPr>
          <p:spPr>
            <a:xfrm>
              <a:off x="3948993" y="1155415"/>
              <a:ext cx="164495" cy="156141"/>
            </a:xfrm>
            <a:prstGeom prst="rect">
              <a:avLst/>
            </a:prstGeom>
            <a:noFill/>
          </p:spPr>
          <p:txBody>
            <a:bodyPr wrap="none" lIns="0" tIns="0" rIns="0" bIns="0" rtlCol="0">
              <a:noAutofit/>
            </a:bodyPr>
            <a:lstStyle/>
            <a:p>
              <a:pPr marL="0" marR="0" lvl="0" indent="0" algn="l" defTabSz="609570" rtl="0" eaLnBrk="1" fontAlgn="base" latinLnBrk="0" hangingPunct="1">
                <a:lnSpc>
                  <a:spcPct val="110000"/>
                </a:lnSpc>
                <a:spcBef>
                  <a:spcPct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67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iscoSansTT Light" panose="020B0503020201020303" pitchFamily="34" charset="0"/>
                  <a:ea typeface="ＭＳ Ｐゴシック" charset="0"/>
                  <a:cs typeface="CiscoSansTT Light" panose="020B0503020201020303" pitchFamily="34" charset="0"/>
                </a:rPr>
                <a:t>x15</a:t>
              </a:r>
            </a:p>
          </p:txBody>
        </p:sp>
        <p:sp>
          <p:nvSpPr>
            <p:cNvPr id="431" name="TextBox 430">
              <a:extLst>
                <a:ext uri="{FF2B5EF4-FFF2-40B4-BE49-F238E27FC236}">
                  <a16:creationId xmlns:a16="http://schemas.microsoft.com/office/drawing/2014/main" id="{1B65BC40-E641-4AE0-87C9-4868AF4E5696}"/>
                </a:ext>
              </a:extLst>
            </p:cNvPr>
            <p:cNvSpPr txBox="1"/>
            <p:nvPr/>
          </p:nvSpPr>
          <p:spPr>
            <a:xfrm>
              <a:off x="4346717" y="1373128"/>
              <a:ext cx="164495" cy="156141"/>
            </a:xfrm>
            <a:prstGeom prst="rect">
              <a:avLst/>
            </a:prstGeom>
            <a:noFill/>
          </p:spPr>
          <p:txBody>
            <a:bodyPr wrap="none" lIns="0" tIns="0" rIns="0" bIns="0" rtlCol="0">
              <a:noAutofit/>
            </a:bodyPr>
            <a:lstStyle/>
            <a:p>
              <a:pPr marL="0" marR="0" lvl="0" indent="0" algn="l" defTabSz="609570" rtl="0" eaLnBrk="1" fontAlgn="base" latinLnBrk="0" hangingPunct="1">
                <a:lnSpc>
                  <a:spcPct val="110000"/>
                </a:lnSpc>
                <a:spcBef>
                  <a:spcPct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67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iscoSansTT Light" panose="020B0503020201020303" pitchFamily="34" charset="0"/>
                <a:ea typeface="ＭＳ Ｐゴシック" charset="0"/>
                <a:cs typeface="CiscoSansTT Light" panose="020B0503020201020303" pitchFamily="34" charset="0"/>
              </a:endParaRPr>
            </a:p>
          </p:txBody>
        </p:sp>
        <p:sp>
          <p:nvSpPr>
            <p:cNvPr id="432" name="TextBox 431">
              <a:extLst>
                <a:ext uri="{FF2B5EF4-FFF2-40B4-BE49-F238E27FC236}">
                  <a16:creationId xmlns:a16="http://schemas.microsoft.com/office/drawing/2014/main" id="{5FB3F8B0-ED1F-473A-8303-742D2BA4E103}"/>
                </a:ext>
              </a:extLst>
            </p:cNvPr>
            <p:cNvSpPr txBox="1"/>
            <p:nvPr/>
          </p:nvSpPr>
          <p:spPr>
            <a:xfrm>
              <a:off x="4347015" y="1373128"/>
              <a:ext cx="164495" cy="156141"/>
            </a:xfrm>
            <a:prstGeom prst="rect">
              <a:avLst/>
            </a:prstGeom>
            <a:noFill/>
          </p:spPr>
          <p:txBody>
            <a:bodyPr wrap="none" lIns="0" tIns="0" rIns="0" bIns="0" rtlCol="0">
              <a:noAutofit/>
            </a:bodyPr>
            <a:lstStyle/>
            <a:p>
              <a:pPr marL="0" marR="0" lvl="0" indent="0" algn="l" defTabSz="609570" rtl="0" eaLnBrk="1" fontAlgn="base" latinLnBrk="0" hangingPunct="1">
                <a:lnSpc>
                  <a:spcPct val="110000"/>
                </a:lnSpc>
                <a:spcBef>
                  <a:spcPct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67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iscoSansTT Light" panose="020B0503020201020303" pitchFamily="34" charset="0"/>
                  <a:ea typeface="ＭＳ Ｐゴシック" charset="0"/>
                  <a:cs typeface="CiscoSansTT Light" panose="020B0503020201020303" pitchFamily="34" charset="0"/>
                </a:rPr>
                <a:t>x4</a:t>
              </a:r>
            </a:p>
          </p:txBody>
        </p:sp>
      </p:grpSp>
      <p:grpSp>
        <p:nvGrpSpPr>
          <p:cNvPr id="434" name="Group 433">
            <a:extLst>
              <a:ext uri="{FF2B5EF4-FFF2-40B4-BE49-F238E27FC236}">
                <a16:creationId xmlns:a16="http://schemas.microsoft.com/office/drawing/2014/main" id="{8CBA07CD-9EEF-4033-82D4-332A1EA81024}"/>
              </a:ext>
            </a:extLst>
          </p:cNvPr>
          <p:cNvGrpSpPr/>
          <p:nvPr/>
        </p:nvGrpSpPr>
        <p:grpSpPr>
          <a:xfrm>
            <a:off x="10473273" y="3888002"/>
            <a:ext cx="1584516" cy="542284"/>
            <a:chOff x="3329221" y="1138985"/>
            <a:chExt cx="1188387" cy="406713"/>
          </a:xfrm>
        </p:grpSpPr>
        <p:pic>
          <p:nvPicPr>
            <p:cNvPr id="435" name="Graphic 434">
              <a:extLst>
                <a:ext uri="{FF2B5EF4-FFF2-40B4-BE49-F238E27FC236}">
                  <a16:creationId xmlns:a16="http://schemas.microsoft.com/office/drawing/2014/main" id="{837C4460-6D6C-4A25-82B0-8273DE144AC7}"/>
                </a:ext>
              </a:extLst>
            </p:cNvPr>
            <p:cNvPicPr>
              <a:picLocks noChangeAspect="1"/>
            </p:cNvPicPr>
            <p:nvPr/>
          </p:nvPicPr>
          <p:blipFill>
            <a:blip r:embed="rId27">
              <a:extLst>
                <a:ext uri="{96DAC541-7B7A-43D3-8B79-37D633B846F1}">
                  <asvg:svgBlip xmlns:asvg="http://schemas.microsoft.com/office/drawing/2016/SVG/main" r:embed="rId39"/>
                </a:ext>
              </a:extLst>
            </a:blip>
            <a:stretch>
              <a:fillRect/>
            </a:stretch>
          </p:blipFill>
          <p:spPr>
            <a:xfrm>
              <a:off x="3329221" y="1138985"/>
              <a:ext cx="189553" cy="189000"/>
            </a:xfrm>
            <a:prstGeom prst="rect">
              <a:avLst/>
            </a:prstGeom>
          </p:spPr>
        </p:pic>
        <p:pic>
          <p:nvPicPr>
            <p:cNvPr id="436" name="Graphic 435">
              <a:extLst>
                <a:ext uri="{FF2B5EF4-FFF2-40B4-BE49-F238E27FC236}">
                  <a16:creationId xmlns:a16="http://schemas.microsoft.com/office/drawing/2014/main" id="{4948FF1D-4BF9-4CE7-9307-1DF08128D78C}"/>
                </a:ext>
              </a:extLst>
            </p:cNvPr>
            <p:cNvPicPr>
              <a:picLocks noChangeAspect="1"/>
            </p:cNvPicPr>
            <p:nvPr/>
          </p:nvPicPr>
          <p:blipFill>
            <a:blip r:embed="rId31">
              <a:extLst>
                <a:ext uri="{96DAC541-7B7A-43D3-8B79-37D633B846F1}">
                  <asvg:svgBlip xmlns:asvg="http://schemas.microsoft.com/office/drawing/2016/SVG/main" r:embed="rId40"/>
                </a:ext>
              </a:extLst>
            </a:blip>
            <a:stretch>
              <a:fillRect/>
            </a:stretch>
          </p:blipFill>
          <p:spPr>
            <a:xfrm>
              <a:off x="3723812" y="1138985"/>
              <a:ext cx="189005" cy="189000"/>
            </a:xfrm>
            <a:prstGeom prst="rect">
              <a:avLst/>
            </a:prstGeom>
          </p:spPr>
        </p:pic>
        <p:pic>
          <p:nvPicPr>
            <p:cNvPr id="437" name="Graphic 436">
              <a:extLst>
                <a:ext uri="{FF2B5EF4-FFF2-40B4-BE49-F238E27FC236}">
                  <a16:creationId xmlns:a16="http://schemas.microsoft.com/office/drawing/2014/main" id="{DEB20508-E53E-442D-A398-9A20BE2BF379}"/>
                </a:ext>
              </a:extLst>
            </p:cNvPr>
            <p:cNvPicPr>
              <a:picLocks noChangeAspect="1"/>
            </p:cNvPicPr>
            <p:nvPr/>
          </p:nvPicPr>
          <p:blipFill>
            <a:blip r:embed="rId29">
              <a:extLst>
                <a:ext uri="{96DAC541-7B7A-43D3-8B79-37D633B846F1}">
                  <asvg:svgBlip xmlns:asvg="http://schemas.microsoft.com/office/drawing/2016/SVG/main" r:embed="rId41"/>
                </a:ext>
              </a:extLst>
            </a:blip>
            <a:stretch>
              <a:fillRect/>
            </a:stretch>
          </p:blipFill>
          <p:spPr>
            <a:xfrm>
              <a:off x="4118475" y="1138985"/>
              <a:ext cx="189005" cy="189000"/>
            </a:xfrm>
            <a:prstGeom prst="rect">
              <a:avLst/>
            </a:prstGeom>
          </p:spPr>
        </p:pic>
        <p:pic>
          <p:nvPicPr>
            <p:cNvPr id="438" name="Graphic 437">
              <a:extLst>
                <a:ext uri="{FF2B5EF4-FFF2-40B4-BE49-F238E27FC236}">
                  <a16:creationId xmlns:a16="http://schemas.microsoft.com/office/drawing/2014/main" id="{57685F60-C9A1-429B-A481-1209D607E3A2}"/>
                </a:ext>
              </a:extLst>
            </p:cNvPr>
            <p:cNvPicPr>
              <a:picLocks noChangeAspect="1"/>
            </p:cNvPicPr>
            <p:nvPr/>
          </p:nvPicPr>
          <p:blipFill>
            <a:blip r:embed="rId33">
              <a:extLst>
                <a:ext uri="{96DAC541-7B7A-43D3-8B79-37D633B846F1}">
                  <asvg:svgBlip xmlns:asvg="http://schemas.microsoft.com/office/drawing/2016/SVG/main" r:embed="rId42"/>
                </a:ext>
              </a:extLst>
            </a:blip>
            <a:stretch>
              <a:fillRect/>
            </a:stretch>
          </p:blipFill>
          <p:spPr>
            <a:xfrm>
              <a:off x="3723538" y="1356698"/>
              <a:ext cx="189000" cy="189000"/>
            </a:xfrm>
            <a:prstGeom prst="rect">
              <a:avLst/>
            </a:prstGeom>
          </p:spPr>
        </p:pic>
        <p:pic>
          <p:nvPicPr>
            <p:cNvPr id="439" name="Graphic 438">
              <a:extLst>
                <a:ext uri="{FF2B5EF4-FFF2-40B4-BE49-F238E27FC236}">
                  <a16:creationId xmlns:a16="http://schemas.microsoft.com/office/drawing/2014/main" id="{CE655C1C-7BDF-482E-8F4D-CDB935316AD3}"/>
                </a:ext>
              </a:extLst>
            </p:cNvPr>
            <p:cNvPicPr>
              <a:picLocks noChangeAspect="1"/>
            </p:cNvPicPr>
            <p:nvPr/>
          </p:nvPicPr>
          <p:blipFill>
            <a:blip r:embed="rId37">
              <a:extLst>
                <a:ext uri="{96DAC541-7B7A-43D3-8B79-37D633B846F1}">
                  <asvg:svgBlip xmlns:asvg="http://schemas.microsoft.com/office/drawing/2016/SVG/main" r:embed="rId43"/>
                </a:ext>
              </a:extLst>
            </a:blip>
            <a:stretch>
              <a:fillRect/>
            </a:stretch>
          </p:blipFill>
          <p:spPr>
            <a:xfrm>
              <a:off x="3329221" y="1356698"/>
              <a:ext cx="189000" cy="189000"/>
            </a:xfrm>
            <a:prstGeom prst="rect">
              <a:avLst/>
            </a:prstGeom>
          </p:spPr>
        </p:pic>
        <p:pic>
          <p:nvPicPr>
            <p:cNvPr id="440" name="Graphic 439">
              <a:extLst>
                <a:ext uri="{FF2B5EF4-FFF2-40B4-BE49-F238E27FC236}">
                  <a16:creationId xmlns:a16="http://schemas.microsoft.com/office/drawing/2014/main" id="{ED606F3D-37F7-4536-B87B-0B23744E0105}"/>
                </a:ext>
              </a:extLst>
            </p:cNvPr>
            <p:cNvPicPr>
              <a:picLocks noChangeAspect="1"/>
            </p:cNvPicPr>
            <p:nvPr/>
          </p:nvPicPr>
          <p:blipFill>
            <a:blip r:embed="rId35">
              <a:extLst>
                <a:ext uri="{96DAC541-7B7A-43D3-8B79-37D633B846F1}">
                  <asvg:svgBlip xmlns:asvg="http://schemas.microsoft.com/office/drawing/2016/SVG/main" r:embed="rId44"/>
                </a:ext>
              </a:extLst>
            </a:blip>
            <a:stretch>
              <a:fillRect/>
            </a:stretch>
          </p:blipFill>
          <p:spPr>
            <a:xfrm>
              <a:off x="4118475" y="1356698"/>
              <a:ext cx="189000" cy="189000"/>
            </a:xfrm>
            <a:prstGeom prst="rect">
              <a:avLst/>
            </a:prstGeom>
          </p:spPr>
        </p:pic>
        <p:sp>
          <p:nvSpPr>
            <p:cNvPr id="441" name="TextBox 440">
              <a:extLst>
                <a:ext uri="{FF2B5EF4-FFF2-40B4-BE49-F238E27FC236}">
                  <a16:creationId xmlns:a16="http://schemas.microsoft.com/office/drawing/2014/main" id="{ECA40A5D-F39B-4835-8D7C-96162C685A92}"/>
                </a:ext>
              </a:extLst>
            </p:cNvPr>
            <p:cNvSpPr txBox="1"/>
            <p:nvPr/>
          </p:nvSpPr>
          <p:spPr>
            <a:xfrm>
              <a:off x="3541994" y="1155415"/>
              <a:ext cx="164495" cy="156141"/>
            </a:xfrm>
            <a:prstGeom prst="rect">
              <a:avLst/>
            </a:prstGeom>
            <a:noFill/>
          </p:spPr>
          <p:txBody>
            <a:bodyPr wrap="none" lIns="0" tIns="0" rIns="0" bIns="0" rtlCol="0">
              <a:noAutofit/>
            </a:bodyPr>
            <a:lstStyle/>
            <a:p>
              <a:pPr marL="0" marR="0" lvl="0" indent="0" algn="l" defTabSz="609570" rtl="0" eaLnBrk="1" fontAlgn="base" latinLnBrk="0" hangingPunct="1">
                <a:lnSpc>
                  <a:spcPct val="110000"/>
                </a:lnSpc>
                <a:spcBef>
                  <a:spcPct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67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iscoSansTT Light" panose="020B0503020201020303" pitchFamily="34" charset="0"/>
                  <a:ea typeface="ＭＳ Ｐゴシック" charset="0"/>
                  <a:cs typeface="CiscoSansTT Light" panose="020B0503020201020303" pitchFamily="34" charset="0"/>
                </a:rPr>
                <a:t>x12</a:t>
              </a:r>
            </a:p>
          </p:txBody>
        </p:sp>
        <p:sp>
          <p:nvSpPr>
            <p:cNvPr id="442" name="TextBox 441">
              <a:extLst>
                <a:ext uri="{FF2B5EF4-FFF2-40B4-BE49-F238E27FC236}">
                  <a16:creationId xmlns:a16="http://schemas.microsoft.com/office/drawing/2014/main" id="{EEBD2D41-13E3-41F9-8261-A0BAA9E79863}"/>
                </a:ext>
              </a:extLst>
            </p:cNvPr>
            <p:cNvSpPr txBox="1"/>
            <p:nvPr/>
          </p:nvSpPr>
          <p:spPr>
            <a:xfrm>
              <a:off x="4353113" y="1155415"/>
              <a:ext cx="164495" cy="156141"/>
            </a:xfrm>
            <a:prstGeom prst="rect">
              <a:avLst/>
            </a:prstGeom>
            <a:noFill/>
          </p:spPr>
          <p:txBody>
            <a:bodyPr wrap="none" lIns="0" tIns="0" rIns="0" bIns="0" rtlCol="0">
              <a:noAutofit/>
            </a:bodyPr>
            <a:lstStyle/>
            <a:p>
              <a:pPr marL="0" marR="0" lvl="0" indent="0" algn="l" defTabSz="609570" rtl="0" eaLnBrk="1" fontAlgn="base" latinLnBrk="0" hangingPunct="1">
                <a:lnSpc>
                  <a:spcPct val="110000"/>
                </a:lnSpc>
                <a:spcBef>
                  <a:spcPct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67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iscoSansTT Light" panose="020B0503020201020303" pitchFamily="34" charset="0"/>
                  <a:ea typeface="ＭＳ Ｐゴシック" charset="0"/>
                  <a:cs typeface="CiscoSansTT Light" panose="020B0503020201020303" pitchFamily="34" charset="0"/>
                </a:rPr>
                <a:t>x4</a:t>
              </a:r>
            </a:p>
          </p:txBody>
        </p:sp>
        <p:sp>
          <p:nvSpPr>
            <p:cNvPr id="443" name="TextBox 442">
              <a:extLst>
                <a:ext uri="{FF2B5EF4-FFF2-40B4-BE49-F238E27FC236}">
                  <a16:creationId xmlns:a16="http://schemas.microsoft.com/office/drawing/2014/main" id="{3EC498B1-CC1B-4301-8570-36EF546DC6DF}"/>
                </a:ext>
              </a:extLst>
            </p:cNvPr>
            <p:cNvSpPr txBox="1"/>
            <p:nvPr/>
          </p:nvSpPr>
          <p:spPr>
            <a:xfrm>
              <a:off x="3936414" y="1373128"/>
              <a:ext cx="164495" cy="156141"/>
            </a:xfrm>
            <a:prstGeom prst="rect">
              <a:avLst/>
            </a:prstGeom>
            <a:noFill/>
          </p:spPr>
          <p:txBody>
            <a:bodyPr wrap="none" lIns="0" tIns="0" rIns="0" bIns="0" rtlCol="0">
              <a:noAutofit/>
            </a:bodyPr>
            <a:lstStyle/>
            <a:p>
              <a:pPr marL="0" marR="0" lvl="0" indent="0" algn="l" defTabSz="609570" rtl="0" eaLnBrk="1" fontAlgn="base" latinLnBrk="0" hangingPunct="1">
                <a:lnSpc>
                  <a:spcPct val="110000"/>
                </a:lnSpc>
                <a:spcBef>
                  <a:spcPct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67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iscoSansTT Light" panose="020B0503020201020303" pitchFamily="34" charset="0"/>
                  <a:ea typeface="ＭＳ Ｐゴシック" charset="0"/>
                  <a:cs typeface="CiscoSansTT Light" panose="020B0503020201020303" pitchFamily="34" charset="0"/>
                </a:rPr>
                <a:t>x4</a:t>
              </a:r>
            </a:p>
          </p:txBody>
        </p:sp>
        <p:sp>
          <p:nvSpPr>
            <p:cNvPr id="444" name="TextBox 443">
              <a:extLst>
                <a:ext uri="{FF2B5EF4-FFF2-40B4-BE49-F238E27FC236}">
                  <a16:creationId xmlns:a16="http://schemas.microsoft.com/office/drawing/2014/main" id="{CBA95509-B77C-4371-A2CA-47549E67DF02}"/>
                </a:ext>
              </a:extLst>
            </p:cNvPr>
            <p:cNvSpPr txBox="1"/>
            <p:nvPr/>
          </p:nvSpPr>
          <p:spPr>
            <a:xfrm>
              <a:off x="3948993" y="1155415"/>
              <a:ext cx="164495" cy="156141"/>
            </a:xfrm>
            <a:prstGeom prst="rect">
              <a:avLst/>
            </a:prstGeom>
            <a:noFill/>
          </p:spPr>
          <p:txBody>
            <a:bodyPr wrap="none" lIns="0" tIns="0" rIns="0" bIns="0" rtlCol="0">
              <a:noAutofit/>
            </a:bodyPr>
            <a:lstStyle/>
            <a:p>
              <a:pPr marL="0" marR="0" lvl="0" indent="0" algn="l" defTabSz="609570" rtl="0" eaLnBrk="1" fontAlgn="base" latinLnBrk="0" hangingPunct="1">
                <a:lnSpc>
                  <a:spcPct val="110000"/>
                </a:lnSpc>
                <a:spcBef>
                  <a:spcPct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67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iscoSansTT Light" panose="020B0503020201020303" pitchFamily="34" charset="0"/>
                  <a:ea typeface="ＭＳ Ｐゴシック" charset="0"/>
                  <a:cs typeface="CiscoSansTT Light" panose="020B0503020201020303" pitchFamily="34" charset="0"/>
                </a:rPr>
                <a:t>x17</a:t>
              </a:r>
            </a:p>
          </p:txBody>
        </p:sp>
        <p:sp>
          <p:nvSpPr>
            <p:cNvPr id="445" name="TextBox 444">
              <a:extLst>
                <a:ext uri="{FF2B5EF4-FFF2-40B4-BE49-F238E27FC236}">
                  <a16:creationId xmlns:a16="http://schemas.microsoft.com/office/drawing/2014/main" id="{7AF2A129-6BF2-4FA5-9186-9134134D128B}"/>
                </a:ext>
              </a:extLst>
            </p:cNvPr>
            <p:cNvSpPr txBox="1"/>
            <p:nvPr/>
          </p:nvSpPr>
          <p:spPr>
            <a:xfrm>
              <a:off x="4346717" y="1373128"/>
              <a:ext cx="164495" cy="156141"/>
            </a:xfrm>
            <a:prstGeom prst="rect">
              <a:avLst/>
            </a:prstGeom>
            <a:noFill/>
          </p:spPr>
          <p:txBody>
            <a:bodyPr wrap="none" lIns="0" tIns="0" rIns="0" bIns="0" rtlCol="0">
              <a:noAutofit/>
            </a:bodyPr>
            <a:lstStyle/>
            <a:p>
              <a:pPr marL="0" marR="0" lvl="0" indent="0" algn="l" defTabSz="609570" rtl="0" eaLnBrk="1" fontAlgn="base" latinLnBrk="0" hangingPunct="1">
                <a:lnSpc>
                  <a:spcPct val="110000"/>
                </a:lnSpc>
                <a:spcBef>
                  <a:spcPct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67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iscoSansTT Light" panose="020B0503020201020303" pitchFamily="34" charset="0"/>
                <a:ea typeface="ＭＳ Ｐゴシック" charset="0"/>
                <a:cs typeface="CiscoSansTT Light" panose="020B0503020201020303" pitchFamily="34" charset="0"/>
              </a:endParaRPr>
            </a:p>
          </p:txBody>
        </p:sp>
        <p:sp>
          <p:nvSpPr>
            <p:cNvPr id="446" name="TextBox 445">
              <a:extLst>
                <a:ext uri="{FF2B5EF4-FFF2-40B4-BE49-F238E27FC236}">
                  <a16:creationId xmlns:a16="http://schemas.microsoft.com/office/drawing/2014/main" id="{C7BD2385-7C39-4A7B-BAF5-D144AD55FF53}"/>
                </a:ext>
              </a:extLst>
            </p:cNvPr>
            <p:cNvSpPr txBox="1"/>
            <p:nvPr/>
          </p:nvSpPr>
          <p:spPr>
            <a:xfrm>
              <a:off x="4347015" y="1373128"/>
              <a:ext cx="164495" cy="156141"/>
            </a:xfrm>
            <a:prstGeom prst="rect">
              <a:avLst/>
            </a:prstGeom>
            <a:noFill/>
          </p:spPr>
          <p:txBody>
            <a:bodyPr wrap="none" lIns="0" tIns="0" rIns="0" bIns="0" rtlCol="0">
              <a:noAutofit/>
            </a:bodyPr>
            <a:lstStyle/>
            <a:p>
              <a:pPr marL="0" marR="0" lvl="0" indent="0" algn="l" defTabSz="609570" rtl="0" eaLnBrk="1" fontAlgn="base" latinLnBrk="0" hangingPunct="1">
                <a:lnSpc>
                  <a:spcPct val="110000"/>
                </a:lnSpc>
                <a:spcBef>
                  <a:spcPct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67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iscoSansTT Light" panose="020B0503020201020303" pitchFamily="34" charset="0"/>
                  <a:ea typeface="ＭＳ Ｐゴシック" charset="0"/>
                  <a:cs typeface="CiscoSansTT Light" panose="020B0503020201020303" pitchFamily="34" charset="0"/>
                </a:rPr>
                <a:t>x4</a:t>
              </a:r>
            </a:p>
          </p:txBody>
        </p:sp>
      </p:grpSp>
      <p:sp>
        <p:nvSpPr>
          <p:cNvPr id="448" name="TextBox 447">
            <a:extLst>
              <a:ext uri="{FF2B5EF4-FFF2-40B4-BE49-F238E27FC236}">
                <a16:creationId xmlns:a16="http://schemas.microsoft.com/office/drawing/2014/main" id="{6FFAE184-2791-442F-A257-C8E6D7049A22}"/>
              </a:ext>
            </a:extLst>
          </p:cNvPr>
          <p:cNvSpPr txBox="1"/>
          <p:nvPr/>
        </p:nvSpPr>
        <p:spPr>
          <a:xfrm>
            <a:off x="4712199" y="5277901"/>
            <a:ext cx="1149908" cy="79152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ctr" defTabSz="914354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iscoSansTT" panose="020B0503020201020303" pitchFamily="34" charset="0"/>
                <a:ea typeface="ＭＳ Ｐゴシック" charset="0"/>
                <a:cs typeface="CiscoSansTT" panose="020B0503020201020303" pitchFamily="34" charset="0"/>
              </a:rPr>
              <a:t>Month </a:t>
            </a:r>
            <a:b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iscoSansTT" panose="020B0503020201020303" pitchFamily="34" charset="0"/>
                <a:ea typeface="ＭＳ Ｐゴシック" charset="0"/>
                <a:cs typeface="CiscoSansTT" panose="020B0503020201020303" pitchFamily="34" charset="0"/>
              </a:rPr>
            </a:br>
            <a:r>
              <a:rPr kumimoji="0" lang="en-US" sz="4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iscoSansTT Light" panose="020B0503020201020303" pitchFamily="34" charset="0"/>
                <a:ea typeface="ＭＳ Ｐゴシック" charset="0"/>
                <a:cs typeface="CiscoSansTT Light" panose="020B0503020201020303" pitchFamily="34" charset="0"/>
              </a:rPr>
              <a:t>9</a:t>
            </a:r>
            <a:endParaRPr kumimoji="0" lang="en-US" sz="60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iscoSansTT Light" panose="020B0503020201020303" pitchFamily="34" charset="0"/>
              <a:ea typeface="ＭＳ Ｐゴシック" charset="0"/>
              <a:cs typeface="CiscoSansTT Light" panose="020B0503020201020303" pitchFamily="34" charset="0"/>
            </a:endParaRPr>
          </a:p>
        </p:txBody>
      </p:sp>
      <p:sp>
        <p:nvSpPr>
          <p:cNvPr id="449" name="TextBox 448">
            <a:extLst>
              <a:ext uri="{FF2B5EF4-FFF2-40B4-BE49-F238E27FC236}">
                <a16:creationId xmlns:a16="http://schemas.microsoft.com/office/drawing/2014/main" id="{C370DA1D-8AAB-472D-8FCC-E35DBD72A472}"/>
              </a:ext>
            </a:extLst>
          </p:cNvPr>
          <p:cNvSpPr txBox="1"/>
          <p:nvPr/>
        </p:nvSpPr>
        <p:spPr>
          <a:xfrm>
            <a:off x="4573554" y="4793261"/>
            <a:ext cx="1427199" cy="37147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ctr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FBAB18"/>
                </a:solidFill>
                <a:effectLst/>
                <a:uLnTx/>
                <a:uFillTx/>
                <a:latin typeface="CiscoSansTT" panose="020B0503020201020303" pitchFamily="34" charset="0"/>
                <a:ea typeface="ＭＳ Ｐゴシック" charset="0"/>
                <a:cs typeface="CiscoSansTT" panose="020B0503020201020303" pitchFamily="34" charset="0"/>
              </a:rPr>
              <a:t>90-Day Review</a:t>
            </a:r>
          </a:p>
        </p:txBody>
      </p:sp>
      <p:sp>
        <p:nvSpPr>
          <p:cNvPr id="450" name="TextBox 449">
            <a:extLst>
              <a:ext uri="{FF2B5EF4-FFF2-40B4-BE49-F238E27FC236}">
                <a16:creationId xmlns:a16="http://schemas.microsoft.com/office/drawing/2014/main" id="{ED7C839D-B15A-4895-BFEE-A7308FED2F59}"/>
              </a:ext>
            </a:extLst>
          </p:cNvPr>
          <p:cNvSpPr txBox="1"/>
          <p:nvPr/>
        </p:nvSpPr>
        <p:spPr>
          <a:xfrm>
            <a:off x="6684415" y="5277901"/>
            <a:ext cx="1149908" cy="79152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ctr" defTabSz="914354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iscoSansTT" panose="020B0503020201020303" pitchFamily="34" charset="0"/>
                <a:ea typeface="ＭＳ Ｐゴシック" charset="0"/>
                <a:cs typeface="CiscoSansTT" panose="020B0503020201020303" pitchFamily="34" charset="0"/>
              </a:rPr>
              <a:t>Month </a:t>
            </a:r>
            <a:b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iscoSansTT" panose="020B0503020201020303" pitchFamily="34" charset="0"/>
                <a:ea typeface="ＭＳ Ｐゴシック" charset="0"/>
                <a:cs typeface="CiscoSansTT" panose="020B0503020201020303" pitchFamily="34" charset="0"/>
              </a:rPr>
            </a:br>
            <a:r>
              <a:rPr kumimoji="0" lang="en-US" sz="4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iscoSansTT Light" panose="020B0503020201020303" pitchFamily="34" charset="0"/>
                <a:ea typeface="ＭＳ Ｐゴシック" charset="0"/>
                <a:cs typeface="CiscoSansTT Light" panose="020B0503020201020303" pitchFamily="34" charset="0"/>
              </a:rPr>
              <a:t>10</a:t>
            </a:r>
            <a:endParaRPr kumimoji="0" lang="en-US" sz="60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iscoSansTT Light" panose="020B0503020201020303" pitchFamily="34" charset="0"/>
              <a:ea typeface="ＭＳ Ｐゴシック" charset="0"/>
              <a:cs typeface="CiscoSansTT Light" panose="020B0503020201020303" pitchFamily="34" charset="0"/>
            </a:endParaRPr>
          </a:p>
        </p:txBody>
      </p:sp>
      <p:sp>
        <p:nvSpPr>
          <p:cNvPr id="451" name="TextBox 450">
            <a:extLst>
              <a:ext uri="{FF2B5EF4-FFF2-40B4-BE49-F238E27FC236}">
                <a16:creationId xmlns:a16="http://schemas.microsoft.com/office/drawing/2014/main" id="{A7A4F2A6-716F-47D8-8CA6-4DC053B2B4FE}"/>
              </a:ext>
            </a:extLst>
          </p:cNvPr>
          <p:cNvSpPr txBox="1"/>
          <p:nvPr/>
        </p:nvSpPr>
        <p:spPr>
          <a:xfrm>
            <a:off x="8656633" y="5277901"/>
            <a:ext cx="1149908" cy="79152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ctr" defTabSz="914354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iscoSansTT" panose="020B0503020201020303" pitchFamily="34" charset="0"/>
                <a:ea typeface="ＭＳ Ｐゴシック" charset="0"/>
                <a:cs typeface="CiscoSansTT" panose="020B0503020201020303" pitchFamily="34" charset="0"/>
              </a:rPr>
              <a:t>Month </a:t>
            </a:r>
            <a:b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iscoSansTT" panose="020B0503020201020303" pitchFamily="34" charset="0"/>
                <a:ea typeface="ＭＳ Ｐゴシック" charset="0"/>
                <a:cs typeface="CiscoSansTT" panose="020B0503020201020303" pitchFamily="34" charset="0"/>
              </a:rPr>
            </a:br>
            <a:r>
              <a:rPr kumimoji="0" lang="en-US" sz="4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iscoSansTT Light" panose="020B0503020201020303" pitchFamily="34" charset="0"/>
                <a:ea typeface="ＭＳ Ｐゴシック" charset="0"/>
                <a:cs typeface="CiscoSansTT Light" panose="020B0503020201020303" pitchFamily="34" charset="0"/>
              </a:rPr>
              <a:t>11</a:t>
            </a:r>
            <a:endParaRPr kumimoji="0" lang="en-US" sz="60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iscoSansTT Light" panose="020B0503020201020303" pitchFamily="34" charset="0"/>
              <a:ea typeface="ＭＳ Ｐゴシック" charset="0"/>
              <a:cs typeface="CiscoSansTT Light" panose="020B0503020201020303" pitchFamily="34" charset="0"/>
            </a:endParaRPr>
          </a:p>
        </p:txBody>
      </p:sp>
      <p:sp>
        <p:nvSpPr>
          <p:cNvPr id="452" name="TextBox 451">
            <a:extLst>
              <a:ext uri="{FF2B5EF4-FFF2-40B4-BE49-F238E27FC236}">
                <a16:creationId xmlns:a16="http://schemas.microsoft.com/office/drawing/2014/main" id="{525A6D85-8F5C-4531-A6F1-2A5B5AABEC1D}"/>
              </a:ext>
            </a:extLst>
          </p:cNvPr>
          <p:cNvSpPr txBox="1"/>
          <p:nvPr/>
        </p:nvSpPr>
        <p:spPr>
          <a:xfrm>
            <a:off x="10628849" y="5277901"/>
            <a:ext cx="1149908" cy="79152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ctr" defTabSz="914354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iscoSansTT" panose="020B0503020201020303" pitchFamily="34" charset="0"/>
                <a:ea typeface="ＭＳ Ｐゴシック" charset="0"/>
                <a:cs typeface="CiscoSansTT" panose="020B0503020201020303" pitchFamily="34" charset="0"/>
              </a:rPr>
              <a:t>Month </a:t>
            </a:r>
            <a:b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iscoSansTT" panose="020B0503020201020303" pitchFamily="34" charset="0"/>
                <a:ea typeface="ＭＳ Ｐゴシック" charset="0"/>
                <a:cs typeface="CiscoSansTT" panose="020B0503020201020303" pitchFamily="34" charset="0"/>
              </a:rPr>
            </a:br>
            <a:r>
              <a:rPr kumimoji="0" lang="en-US" sz="4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iscoSansTT Light" panose="020B0503020201020303" pitchFamily="34" charset="0"/>
                <a:ea typeface="ＭＳ Ｐゴシック" charset="0"/>
                <a:cs typeface="CiscoSansTT Light" panose="020B0503020201020303" pitchFamily="34" charset="0"/>
              </a:rPr>
              <a:t>12</a:t>
            </a:r>
            <a:endParaRPr kumimoji="0" lang="en-US" sz="60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iscoSansTT Light" panose="020B0503020201020303" pitchFamily="34" charset="0"/>
              <a:ea typeface="ＭＳ Ｐゴシック" charset="0"/>
              <a:cs typeface="CiscoSansTT Light" panose="020B0503020201020303" pitchFamily="34" charset="0"/>
            </a:endParaRPr>
          </a:p>
        </p:txBody>
      </p:sp>
      <p:sp>
        <p:nvSpPr>
          <p:cNvPr id="453" name="TextBox 452">
            <a:extLst>
              <a:ext uri="{FF2B5EF4-FFF2-40B4-BE49-F238E27FC236}">
                <a16:creationId xmlns:a16="http://schemas.microsoft.com/office/drawing/2014/main" id="{FD3BA6EA-E390-4F16-A882-951FE9E813CD}"/>
              </a:ext>
            </a:extLst>
          </p:cNvPr>
          <p:cNvSpPr txBox="1"/>
          <p:nvPr/>
        </p:nvSpPr>
        <p:spPr>
          <a:xfrm>
            <a:off x="10490203" y="4793261"/>
            <a:ext cx="1427199" cy="37147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ctr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2F446B">
                    <a:lumMod val="40000"/>
                    <a:lumOff val="60000"/>
                  </a:srgbClr>
                </a:solidFill>
                <a:effectLst/>
                <a:uLnTx/>
                <a:uFillTx/>
                <a:latin typeface="CiscoSansTT" panose="020B0503020201020303" pitchFamily="34" charset="0"/>
                <a:ea typeface="ＭＳ Ｐゴシック" charset="0"/>
                <a:cs typeface="CiscoSansTT" panose="020B0503020201020303" pitchFamily="34" charset="0"/>
              </a:rPr>
              <a:t>90-Day Review</a:t>
            </a:r>
          </a:p>
        </p:txBody>
      </p:sp>
      <p:grpSp>
        <p:nvGrpSpPr>
          <p:cNvPr id="455" name="Group 454">
            <a:extLst>
              <a:ext uri="{FF2B5EF4-FFF2-40B4-BE49-F238E27FC236}">
                <a16:creationId xmlns:a16="http://schemas.microsoft.com/office/drawing/2014/main" id="{0036EADE-E909-44DB-8284-DC1D0C92D9FE}"/>
              </a:ext>
            </a:extLst>
          </p:cNvPr>
          <p:cNvGrpSpPr/>
          <p:nvPr/>
        </p:nvGrpSpPr>
        <p:grpSpPr>
          <a:xfrm>
            <a:off x="4556623" y="6129758"/>
            <a:ext cx="1584516" cy="542284"/>
            <a:chOff x="3329221" y="1138985"/>
            <a:chExt cx="1188387" cy="406713"/>
          </a:xfrm>
        </p:grpSpPr>
        <p:pic>
          <p:nvPicPr>
            <p:cNvPr id="456" name="Graphic 455">
              <a:extLst>
                <a:ext uri="{FF2B5EF4-FFF2-40B4-BE49-F238E27FC236}">
                  <a16:creationId xmlns:a16="http://schemas.microsoft.com/office/drawing/2014/main" id="{27A61F64-1820-45D6-842A-7828E2586E6B}"/>
                </a:ext>
              </a:extLst>
            </p:cNvPr>
            <p:cNvPicPr>
              <a:picLocks noChangeAspect="1"/>
            </p:cNvPicPr>
            <p:nvPr/>
          </p:nvPicPr>
          <p:blipFill>
            <a:blip r:embed="rId27">
              <a:extLst>
                <a:ext uri="{96DAC541-7B7A-43D3-8B79-37D633B846F1}">
                  <asvg:svgBlip xmlns:asvg="http://schemas.microsoft.com/office/drawing/2016/SVG/main" r:embed="rId39"/>
                </a:ext>
              </a:extLst>
            </a:blip>
            <a:stretch>
              <a:fillRect/>
            </a:stretch>
          </p:blipFill>
          <p:spPr>
            <a:xfrm>
              <a:off x="3329221" y="1138985"/>
              <a:ext cx="189553" cy="189000"/>
            </a:xfrm>
            <a:prstGeom prst="rect">
              <a:avLst/>
            </a:prstGeom>
          </p:spPr>
        </p:pic>
        <p:pic>
          <p:nvPicPr>
            <p:cNvPr id="457" name="Graphic 456">
              <a:extLst>
                <a:ext uri="{FF2B5EF4-FFF2-40B4-BE49-F238E27FC236}">
                  <a16:creationId xmlns:a16="http://schemas.microsoft.com/office/drawing/2014/main" id="{1E7EE9D8-43F5-4966-A27B-BA72869F749A}"/>
                </a:ext>
              </a:extLst>
            </p:cNvPr>
            <p:cNvPicPr>
              <a:picLocks noChangeAspect="1"/>
            </p:cNvPicPr>
            <p:nvPr/>
          </p:nvPicPr>
          <p:blipFill>
            <a:blip r:embed="rId31">
              <a:extLst>
                <a:ext uri="{96DAC541-7B7A-43D3-8B79-37D633B846F1}">
                  <asvg:svgBlip xmlns:asvg="http://schemas.microsoft.com/office/drawing/2016/SVG/main" r:embed="rId40"/>
                </a:ext>
              </a:extLst>
            </a:blip>
            <a:stretch>
              <a:fillRect/>
            </a:stretch>
          </p:blipFill>
          <p:spPr>
            <a:xfrm>
              <a:off x="3723812" y="1138985"/>
              <a:ext cx="189005" cy="189000"/>
            </a:xfrm>
            <a:prstGeom prst="rect">
              <a:avLst/>
            </a:prstGeom>
          </p:spPr>
        </p:pic>
        <p:pic>
          <p:nvPicPr>
            <p:cNvPr id="458" name="Graphic 457">
              <a:extLst>
                <a:ext uri="{FF2B5EF4-FFF2-40B4-BE49-F238E27FC236}">
                  <a16:creationId xmlns:a16="http://schemas.microsoft.com/office/drawing/2014/main" id="{64EF7A80-5956-4A4D-8CCC-C7C4FB806408}"/>
                </a:ext>
              </a:extLst>
            </p:cNvPr>
            <p:cNvPicPr>
              <a:picLocks noChangeAspect="1"/>
            </p:cNvPicPr>
            <p:nvPr/>
          </p:nvPicPr>
          <p:blipFill>
            <a:blip r:embed="rId29">
              <a:extLst>
                <a:ext uri="{96DAC541-7B7A-43D3-8B79-37D633B846F1}">
                  <asvg:svgBlip xmlns:asvg="http://schemas.microsoft.com/office/drawing/2016/SVG/main" r:embed="rId41"/>
                </a:ext>
              </a:extLst>
            </a:blip>
            <a:stretch>
              <a:fillRect/>
            </a:stretch>
          </p:blipFill>
          <p:spPr>
            <a:xfrm>
              <a:off x="4118475" y="1138985"/>
              <a:ext cx="189005" cy="189000"/>
            </a:xfrm>
            <a:prstGeom prst="rect">
              <a:avLst/>
            </a:prstGeom>
          </p:spPr>
        </p:pic>
        <p:pic>
          <p:nvPicPr>
            <p:cNvPr id="459" name="Graphic 458">
              <a:extLst>
                <a:ext uri="{FF2B5EF4-FFF2-40B4-BE49-F238E27FC236}">
                  <a16:creationId xmlns:a16="http://schemas.microsoft.com/office/drawing/2014/main" id="{D661407F-F4E7-485E-B9C6-E1508901E681}"/>
                </a:ext>
              </a:extLst>
            </p:cNvPr>
            <p:cNvPicPr>
              <a:picLocks noChangeAspect="1"/>
            </p:cNvPicPr>
            <p:nvPr/>
          </p:nvPicPr>
          <p:blipFill>
            <a:blip r:embed="rId33">
              <a:extLst>
                <a:ext uri="{96DAC541-7B7A-43D3-8B79-37D633B846F1}">
                  <asvg:svgBlip xmlns:asvg="http://schemas.microsoft.com/office/drawing/2016/SVG/main" r:embed="rId42"/>
                </a:ext>
              </a:extLst>
            </a:blip>
            <a:stretch>
              <a:fillRect/>
            </a:stretch>
          </p:blipFill>
          <p:spPr>
            <a:xfrm>
              <a:off x="3723538" y="1356698"/>
              <a:ext cx="189000" cy="189000"/>
            </a:xfrm>
            <a:prstGeom prst="rect">
              <a:avLst/>
            </a:prstGeom>
          </p:spPr>
        </p:pic>
        <p:pic>
          <p:nvPicPr>
            <p:cNvPr id="460" name="Graphic 459">
              <a:extLst>
                <a:ext uri="{FF2B5EF4-FFF2-40B4-BE49-F238E27FC236}">
                  <a16:creationId xmlns:a16="http://schemas.microsoft.com/office/drawing/2014/main" id="{7DBFF4EA-2D57-4018-8E9E-F215C4137556}"/>
                </a:ext>
              </a:extLst>
            </p:cNvPr>
            <p:cNvPicPr>
              <a:picLocks noChangeAspect="1"/>
            </p:cNvPicPr>
            <p:nvPr/>
          </p:nvPicPr>
          <p:blipFill>
            <a:blip r:embed="rId37">
              <a:extLst>
                <a:ext uri="{96DAC541-7B7A-43D3-8B79-37D633B846F1}">
                  <asvg:svgBlip xmlns:asvg="http://schemas.microsoft.com/office/drawing/2016/SVG/main" r:embed="rId43"/>
                </a:ext>
              </a:extLst>
            </a:blip>
            <a:stretch>
              <a:fillRect/>
            </a:stretch>
          </p:blipFill>
          <p:spPr>
            <a:xfrm>
              <a:off x="3329221" y="1356698"/>
              <a:ext cx="189000" cy="189000"/>
            </a:xfrm>
            <a:prstGeom prst="rect">
              <a:avLst/>
            </a:prstGeom>
          </p:spPr>
        </p:pic>
        <p:pic>
          <p:nvPicPr>
            <p:cNvPr id="461" name="Graphic 460">
              <a:extLst>
                <a:ext uri="{FF2B5EF4-FFF2-40B4-BE49-F238E27FC236}">
                  <a16:creationId xmlns:a16="http://schemas.microsoft.com/office/drawing/2014/main" id="{978712D5-488C-406D-BD37-3D8FEEF8FA35}"/>
                </a:ext>
              </a:extLst>
            </p:cNvPr>
            <p:cNvPicPr>
              <a:picLocks noChangeAspect="1"/>
            </p:cNvPicPr>
            <p:nvPr/>
          </p:nvPicPr>
          <p:blipFill>
            <a:blip r:embed="rId35">
              <a:extLst>
                <a:ext uri="{96DAC541-7B7A-43D3-8B79-37D633B846F1}">
                  <asvg:svgBlip xmlns:asvg="http://schemas.microsoft.com/office/drawing/2016/SVG/main" r:embed="rId44"/>
                </a:ext>
              </a:extLst>
            </a:blip>
            <a:stretch>
              <a:fillRect/>
            </a:stretch>
          </p:blipFill>
          <p:spPr>
            <a:xfrm>
              <a:off x="4118475" y="1356698"/>
              <a:ext cx="189000" cy="189000"/>
            </a:xfrm>
            <a:prstGeom prst="rect">
              <a:avLst/>
            </a:prstGeom>
          </p:spPr>
        </p:pic>
        <p:sp>
          <p:nvSpPr>
            <p:cNvPr id="462" name="TextBox 461">
              <a:extLst>
                <a:ext uri="{FF2B5EF4-FFF2-40B4-BE49-F238E27FC236}">
                  <a16:creationId xmlns:a16="http://schemas.microsoft.com/office/drawing/2014/main" id="{F2A31459-7A8C-431B-AFAA-0887CB40F541}"/>
                </a:ext>
              </a:extLst>
            </p:cNvPr>
            <p:cNvSpPr txBox="1"/>
            <p:nvPr/>
          </p:nvSpPr>
          <p:spPr>
            <a:xfrm>
              <a:off x="3541994" y="1155415"/>
              <a:ext cx="164495" cy="156141"/>
            </a:xfrm>
            <a:prstGeom prst="rect">
              <a:avLst/>
            </a:prstGeom>
            <a:noFill/>
          </p:spPr>
          <p:txBody>
            <a:bodyPr wrap="none" lIns="0" tIns="0" rIns="0" bIns="0" rtlCol="0">
              <a:noAutofit/>
            </a:bodyPr>
            <a:lstStyle/>
            <a:p>
              <a:pPr marL="0" marR="0" lvl="0" indent="0" algn="l" defTabSz="609570" rtl="0" eaLnBrk="1" fontAlgn="base" latinLnBrk="0" hangingPunct="1">
                <a:lnSpc>
                  <a:spcPct val="110000"/>
                </a:lnSpc>
                <a:spcBef>
                  <a:spcPct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67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iscoSansTT Light" panose="020B0503020201020303" pitchFamily="34" charset="0"/>
                  <a:ea typeface="ＭＳ Ｐゴシック" charset="0"/>
                  <a:cs typeface="CiscoSansTT Light" panose="020B0503020201020303" pitchFamily="34" charset="0"/>
                </a:rPr>
                <a:t>x12</a:t>
              </a:r>
            </a:p>
          </p:txBody>
        </p:sp>
        <p:sp>
          <p:nvSpPr>
            <p:cNvPr id="463" name="TextBox 462">
              <a:extLst>
                <a:ext uri="{FF2B5EF4-FFF2-40B4-BE49-F238E27FC236}">
                  <a16:creationId xmlns:a16="http://schemas.microsoft.com/office/drawing/2014/main" id="{6EDED371-B398-4145-BF31-298205769B5D}"/>
                </a:ext>
              </a:extLst>
            </p:cNvPr>
            <p:cNvSpPr txBox="1"/>
            <p:nvPr/>
          </p:nvSpPr>
          <p:spPr>
            <a:xfrm>
              <a:off x="4353113" y="1155415"/>
              <a:ext cx="164495" cy="156141"/>
            </a:xfrm>
            <a:prstGeom prst="rect">
              <a:avLst/>
            </a:prstGeom>
            <a:noFill/>
          </p:spPr>
          <p:txBody>
            <a:bodyPr wrap="none" lIns="0" tIns="0" rIns="0" bIns="0" rtlCol="0">
              <a:noAutofit/>
            </a:bodyPr>
            <a:lstStyle/>
            <a:p>
              <a:pPr marL="0" marR="0" lvl="0" indent="0" algn="l" defTabSz="609570" rtl="0" eaLnBrk="1" fontAlgn="base" latinLnBrk="0" hangingPunct="1">
                <a:lnSpc>
                  <a:spcPct val="110000"/>
                </a:lnSpc>
                <a:spcBef>
                  <a:spcPct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67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iscoSansTT Light" panose="020B0503020201020303" pitchFamily="34" charset="0"/>
                  <a:ea typeface="ＭＳ Ｐゴシック" charset="0"/>
                  <a:cs typeface="CiscoSansTT Light" panose="020B0503020201020303" pitchFamily="34" charset="0"/>
                </a:rPr>
                <a:t>x4</a:t>
              </a:r>
            </a:p>
          </p:txBody>
        </p:sp>
        <p:sp>
          <p:nvSpPr>
            <p:cNvPr id="464" name="TextBox 463">
              <a:extLst>
                <a:ext uri="{FF2B5EF4-FFF2-40B4-BE49-F238E27FC236}">
                  <a16:creationId xmlns:a16="http://schemas.microsoft.com/office/drawing/2014/main" id="{2741125D-84A2-48EA-A558-AE3C6F9F18C2}"/>
                </a:ext>
              </a:extLst>
            </p:cNvPr>
            <p:cNvSpPr txBox="1"/>
            <p:nvPr/>
          </p:nvSpPr>
          <p:spPr>
            <a:xfrm>
              <a:off x="3936414" y="1373128"/>
              <a:ext cx="164495" cy="156141"/>
            </a:xfrm>
            <a:prstGeom prst="rect">
              <a:avLst/>
            </a:prstGeom>
            <a:noFill/>
          </p:spPr>
          <p:txBody>
            <a:bodyPr wrap="none" lIns="0" tIns="0" rIns="0" bIns="0" rtlCol="0">
              <a:noAutofit/>
            </a:bodyPr>
            <a:lstStyle/>
            <a:p>
              <a:pPr marL="0" marR="0" lvl="0" indent="0" algn="l" defTabSz="609570" rtl="0" eaLnBrk="1" fontAlgn="base" latinLnBrk="0" hangingPunct="1">
                <a:lnSpc>
                  <a:spcPct val="110000"/>
                </a:lnSpc>
                <a:spcBef>
                  <a:spcPct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67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iscoSansTT Light" panose="020B0503020201020303" pitchFamily="34" charset="0"/>
                  <a:ea typeface="ＭＳ Ｐゴシック" charset="0"/>
                  <a:cs typeface="CiscoSansTT Light" panose="020B0503020201020303" pitchFamily="34" charset="0"/>
                </a:rPr>
                <a:t>x4</a:t>
              </a:r>
            </a:p>
          </p:txBody>
        </p:sp>
        <p:sp>
          <p:nvSpPr>
            <p:cNvPr id="465" name="TextBox 464">
              <a:extLst>
                <a:ext uri="{FF2B5EF4-FFF2-40B4-BE49-F238E27FC236}">
                  <a16:creationId xmlns:a16="http://schemas.microsoft.com/office/drawing/2014/main" id="{B6F92B53-1B65-43E9-AEC0-AD84AC584574}"/>
                </a:ext>
              </a:extLst>
            </p:cNvPr>
            <p:cNvSpPr txBox="1"/>
            <p:nvPr/>
          </p:nvSpPr>
          <p:spPr>
            <a:xfrm>
              <a:off x="3948993" y="1155415"/>
              <a:ext cx="164495" cy="156141"/>
            </a:xfrm>
            <a:prstGeom prst="rect">
              <a:avLst/>
            </a:prstGeom>
            <a:noFill/>
          </p:spPr>
          <p:txBody>
            <a:bodyPr wrap="none" lIns="0" tIns="0" rIns="0" bIns="0" rtlCol="0">
              <a:noAutofit/>
            </a:bodyPr>
            <a:lstStyle/>
            <a:p>
              <a:pPr marL="0" marR="0" lvl="0" indent="0" algn="l" defTabSz="609570" rtl="0" eaLnBrk="1" fontAlgn="base" latinLnBrk="0" hangingPunct="1">
                <a:lnSpc>
                  <a:spcPct val="110000"/>
                </a:lnSpc>
                <a:spcBef>
                  <a:spcPct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67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iscoSansTT Light" panose="020B0503020201020303" pitchFamily="34" charset="0"/>
                  <a:ea typeface="ＭＳ Ｐゴシック" charset="0"/>
                  <a:cs typeface="CiscoSansTT Light" panose="020B0503020201020303" pitchFamily="34" charset="0"/>
                </a:rPr>
                <a:t>x9</a:t>
              </a:r>
            </a:p>
          </p:txBody>
        </p:sp>
        <p:sp>
          <p:nvSpPr>
            <p:cNvPr id="466" name="TextBox 465">
              <a:extLst>
                <a:ext uri="{FF2B5EF4-FFF2-40B4-BE49-F238E27FC236}">
                  <a16:creationId xmlns:a16="http://schemas.microsoft.com/office/drawing/2014/main" id="{08EDB414-1670-4758-BF3F-50A18F0E76E8}"/>
                </a:ext>
              </a:extLst>
            </p:cNvPr>
            <p:cNvSpPr txBox="1"/>
            <p:nvPr/>
          </p:nvSpPr>
          <p:spPr>
            <a:xfrm>
              <a:off x="4346717" y="1373128"/>
              <a:ext cx="164495" cy="156141"/>
            </a:xfrm>
            <a:prstGeom prst="rect">
              <a:avLst/>
            </a:prstGeom>
            <a:noFill/>
          </p:spPr>
          <p:txBody>
            <a:bodyPr wrap="none" lIns="0" tIns="0" rIns="0" bIns="0" rtlCol="0">
              <a:noAutofit/>
            </a:bodyPr>
            <a:lstStyle/>
            <a:p>
              <a:pPr marL="0" marR="0" lvl="0" indent="0" algn="l" defTabSz="609570" rtl="0" eaLnBrk="1" fontAlgn="base" latinLnBrk="0" hangingPunct="1">
                <a:lnSpc>
                  <a:spcPct val="110000"/>
                </a:lnSpc>
                <a:spcBef>
                  <a:spcPct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67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iscoSansTT Light" panose="020B0503020201020303" pitchFamily="34" charset="0"/>
                <a:ea typeface="ＭＳ Ｐゴシック" charset="0"/>
                <a:cs typeface="CiscoSansTT Light" panose="020B0503020201020303" pitchFamily="34" charset="0"/>
              </a:endParaRPr>
            </a:p>
          </p:txBody>
        </p:sp>
        <p:sp>
          <p:nvSpPr>
            <p:cNvPr id="467" name="TextBox 466">
              <a:extLst>
                <a:ext uri="{FF2B5EF4-FFF2-40B4-BE49-F238E27FC236}">
                  <a16:creationId xmlns:a16="http://schemas.microsoft.com/office/drawing/2014/main" id="{341454EB-BF2B-4056-914E-9D19C5796621}"/>
                </a:ext>
              </a:extLst>
            </p:cNvPr>
            <p:cNvSpPr txBox="1"/>
            <p:nvPr/>
          </p:nvSpPr>
          <p:spPr>
            <a:xfrm>
              <a:off x="4347015" y="1373128"/>
              <a:ext cx="164495" cy="156141"/>
            </a:xfrm>
            <a:prstGeom prst="rect">
              <a:avLst/>
            </a:prstGeom>
            <a:noFill/>
          </p:spPr>
          <p:txBody>
            <a:bodyPr wrap="none" lIns="0" tIns="0" rIns="0" bIns="0" rtlCol="0">
              <a:noAutofit/>
            </a:bodyPr>
            <a:lstStyle/>
            <a:p>
              <a:pPr marL="0" marR="0" lvl="0" indent="0" algn="l" defTabSz="609570" rtl="0" eaLnBrk="1" fontAlgn="base" latinLnBrk="0" hangingPunct="1">
                <a:lnSpc>
                  <a:spcPct val="110000"/>
                </a:lnSpc>
                <a:spcBef>
                  <a:spcPct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67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iscoSansTT Light" panose="020B0503020201020303" pitchFamily="34" charset="0"/>
                  <a:ea typeface="ＭＳ Ｐゴシック" charset="0"/>
                  <a:cs typeface="CiscoSansTT Light" panose="020B0503020201020303" pitchFamily="34" charset="0"/>
                </a:rPr>
                <a:t>x4</a:t>
              </a:r>
            </a:p>
          </p:txBody>
        </p:sp>
        <p:sp>
          <p:nvSpPr>
            <p:cNvPr id="508" name="TextBox 507">
              <a:extLst>
                <a:ext uri="{FF2B5EF4-FFF2-40B4-BE49-F238E27FC236}">
                  <a16:creationId xmlns:a16="http://schemas.microsoft.com/office/drawing/2014/main" id="{2A599890-6361-48A8-B5F7-CFC37E181BC0}"/>
                </a:ext>
              </a:extLst>
            </p:cNvPr>
            <p:cNvSpPr txBox="1"/>
            <p:nvPr/>
          </p:nvSpPr>
          <p:spPr>
            <a:xfrm>
              <a:off x="3541994" y="1373128"/>
              <a:ext cx="164495" cy="156141"/>
            </a:xfrm>
            <a:prstGeom prst="rect">
              <a:avLst/>
            </a:prstGeom>
            <a:noFill/>
          </p:spPr>
          <p:txBody>
            <a:bodyPr wrap="none" lIns="0" tIns="0" rIns="0" bIns="0" rtlCol="0">
              <a:noAutofit/>
            </a:bodyPr>
            <a:lstStyle/>
            <a:p>
              <a:pPr marL="0" marR="0" lvl="0" indent="0" algn="l" defTabSz="609570" rtl="0" eaLnBrk="1" fontAlgn="base" latinLnBrk="0" hangingPunct="1">
                <a:lnSpc>
                  <a:spcPct val="110000"/>
                </a:lnSpc>
                <a:spcBef>
                  <a:spcPct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67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iscoSansTT Light" panose="020B0503020201020303" pitchFamily="34" charset="0"/>
                  <a:ea typeface="ＭＳ Ｐゴシック" charset="0"/>
                  <a:cs typeface="CiscoSansTT Light" panose="020B0503020201020303" pitchFamily="34" charset="0"/>
                </a:rPr>
                <a:t>x1</a:t>
              </a:r>
            </a:p>
          </p:txBody>
        </p:sp>
      </p:grpSp>
      <p:grpSp>
        <p:nvGrpSpPr>
          <p:cNvPr id="468" name="Group 467">
            <a:extLst>
              <a:ext uri="{FF2B5EF4-FFF2-40B4-BE49-F238E27FC236}">
                <a16:creationId xmlns:a16="http://schemas.microsoft.com/office/drawing/2014/main" id="{BCD616C3-1F31-404D-BA97-B154D4E82D9B}"/>
              </a:ext>
            </a:extLst>
          </p:cNvPr>
          <p:cNvGrpSpPr/>
          <p:nvPr/>
        </p:nvGrpSpPr>
        <p:grpSpPr>
          <a:xfrm>
            <a:off x="6528839" y="6129758"/>
            <a:ext cx="1584516" cy="542284"/>
            <a:chOff x="3329221" y="1138985"/>
            <a:chExt cx="1188387" cy="406713"/>
          </a:xfrm>
        </p:grpSpPr>
        <p:pic>
          <p:nvPicPr>
            <p:cNvPr id="469" name="Graphic 468">
              <a:extLst>
                <a:ext uri="{FF2B5EF4-FFF2-40B4-BE49-F238E27FC236}">
                  <a16:creationId xmlns:a16="http://schemas.microsoft.com/office/drawing/2014/main" id="{B668B727-FC83-48B5-AC3B-270036FC97A5}"/>
                </a:ext>
              </a:extLst>
            </p:cNvPr>
            <p:cNvPicPr>
              <a:picLocks noChangeAspect="1"/>
            </p:cNvPicPr>
            <p:nvPr/>
          </p:nvPicPr>
          <p:blipFill>
            <a:blip r:embed="rId27">
              <a:extLst>
                <a:ext uri="{96DAC541-7B7A-43D3-8B79-37D633B846F1}">
                  <asvg:svgBlip xmlns:asvg="http://schemas.microsoft.com/office/drawing/2016/SVG/main" r:embed="rId39"/>
                </a:ext>
              </a:extLst>
            </a:blip>
            <a:stretch>
              <a:fillRect/>
            </a:stretch>
          </p:blipFill>
          <p:spPr>
            <a:xfrm>
              <a:off x="3329221" y="1138985"/>
              <a:ext cx="189553" cy="189000"/>
            </a:xfrm>
            <a:prstGeom prst="rect">
              <a:avLst/>
            </a:prstGeom>
          </p:spPr>
        </p:pic>
        <p:pic>
          <p:nvPicPr>
            <p:cNvPr id="470" name="Graphic 469">
              <a:extLst>
                <a:ext uri="{FF2B5EF4-FFF2-40B4-BE49-F238E27FC236}">
                  <a16:creationId xmlns:a16="http://schemas.microsoft.com/office/drawing/2014/main" id="{92FB0955-D9F6-46DA-B92D-A26251B900F9}"/>
                </a:ext>
              </a:extLst>
            </p:cNvPr>
            <p:cNvPicPr>
              <a:picLocks noChangeAspect="1"/>
            </p:cNvPicPr>
            <p:nvPr/>
          </p:nvPicPr>
          <p:blipFill>
            <a:blip r:embed="rId31">
              <a:extLst>
                <a:ext uri="{96DAC541-7B7A-43D3-8B79-37D633B846F1}">
                  <asvg:svgBlip xmlns:asvg="http://schemas.microsoft.com/office/drawing/2016/SVG/main" r:embed="rId40"/>
                </a:ext>
              </a:extLst>
            </a:blip>
            <a:stretch>
              <a:fillRect/>
            </a:stretch>
          </p:blipFill>
          <p:spPr>
            <a:xfrm>
              <a:off x="3723812" y="1138985"/>
              <a:ext cx="189005" cy="189000"/>
            </a:xfrm>
            <a:prstGeom prst="rect">
              <a:avLst/>
            </a:prstGeom>
          </p:spPr>
        </p:pic>
        <p:pic>
          <p:nvPicPr>
            <p:cNvPr id="471" name="Graphic 470">
              <a:extLst>
                <a:ext uri="{FF2B5EF4-FFF2-40B4-BE49-F238E27FC236}">
                  <a16:creationId xmlns:a16="http://schemas.microsoft.com/office/drawing/2014/main" id="{8EA6F5F4-66B5-4BB6-8B22-40295AFB40FC}"/>
                </a:ext>
              </a:extLst>
            </p:cNvPr>
            <p:cNvPicPr>
              <a:picLocks noChangeAspect="1"/>
            </p:cNvPicPr>
            <p:nvPr/>
          </p:nvPicPr>
          <p:blipFill>
            <a:blip r:embed="rId29">
              <a:extLst>
                <a:ext uri="{96DAC541-7B7A-43D3-8B79-37D633B846F1}">
                  <asvg:svgBlip xmlns:asvg="http://schemas.microsoft.com/office/drawing/2016/SVG/main" r:embed="rId41"/>
                </a:ext>
              </a:extLst>
            </a:blip>
            <a:stretch>
              <a:fillRect/>
            </a:stretch>
          </p:blipFill>
          <p:spPr>
            <a:xfrm>
              <a:off x="4118475" y="1138985"/>
              <a:ext cx="189005" cy="189000"/>
            </a:xfrm>
            <a:prstGeom prst="rect">
              <a:avLst/>
            </a:prstGeom>
          </p:spPr>
        </p:pic>
        <p:pic>
          <p:nvPicPr>
            <p:cNvPr id="472" name="Graphic 471">
              <a:extLst>
                <a:ext uri="{FF2B5EF4-FFF2-40B4-BE49-F238E27FC236}">
                  <a16:creationId xmlns:a16="http://schemas.microsoft.com/office/drawing/2014/main" id="{C6FF2B70-A724-4D06-ABEF-6EE5B9D28F2A}"/>
                </a:ext>
              </a:extLst>
            </p:cNvPr>
            <p:cNvPicPr>
              <a:picLocks noChangeAspect="1"/>
            </p:cNvPicPr>
            <p:nvPr/>
          </p:nvPicPr>
          <p:blipFill>
            <a:blip r:embed="rId33">
              <a:extLst>
                <a:ext uri="{96DAC541-7B7A-43D3-8B79-37D633B846F1}">
                  <asvg:svgBlip xmlns:asvg="http://schemas.microsoft.com/office/drawing/2016/SVG/main" r:embed="rId42"/>
                </a:ext>
              </a:extLst>
            </a:blip>
            <a:stretch>
              <a:fillRect/>
            </a:stretch>
          </p:blipFill>
          <p:spPr>
            <a:xfrm>
              <a:off x="3723538" y="1356698"/>
              <a:ext cx="189000" cy="189000"/>
            </a:xfrm>
            <a:prstGeom prst="rect">
              <a:avLst/>
            </a:prstGeom>
          </p:spPr>
        </p:pic>
        <p:pic>
          <p:nvPicPr>
            <p:cNvPr id="473" name="Graphic 472">
              <a:extLst>
                <a:ext uri="{FF2B5EF4-FFF2-40B4-BE49-F238E27FC236}">
                  <a16:creationId xmlns:a16="http://schemas.microsoft.com/office/drawing/2014/main" id="{AF439141-E971-4680-AD97-4684DF05A1E7}"/>
                </a:ext>
              </a:extLst>
            </p:cNvPr>
            <p:cNvPicPr>
              <a:picLocks noChangeAspect="1"/>
            </p:cNvPicPr>
            <p:nvPr/>
          </p:nvPicPr>
          <p:blipFill>
            <a:blip r:embed="rId37">
              <a:extLst>
                <a:ext uri="{96DAC541-7B7A-43D3-8B79-37D633B846F1}">
                  <asvg:svgBlip xmlns:asvg="http://schemas.microsoft.com/office/drawing/2016/SVG/main" r:embed="rId43"/>
                </a:ext>
              </a:extLst>
            </a:blip>
            <a:stretch>
              <a:fillRect/>
            </a:stretch>
          </p:blipFill>
          <p:spPr>
            <a:xfrm>
              <a:off x="3329221" y="1356698"/>
              <a:ext cx="189000" cy="189000"/>
            </a:xfrm>
            <a:prstGeom prst="rect">
              <a:avLst/>
            </a:prstGeom>
          </p:spPr>
        </p:pic>
        <p:pic>
          <p:nvPicPr>
            <p:cNvPr id="474" name="Graphic 473">
              <a:extLst>
                <a:ext uri="{FF2B5EF4-FFF2-40B4-BE49-F238E27FC236}">
                  <a16:creationId xmlns:a16="http://schemas.microsoft.com/office/drawing/2014/main" id="{95D5EF23-4AB9-40FE-A15F-59E69AD9AEAC}"/>
                </a:ext>
              </a:extLst>
            </p:cNvPr>
            <p:cNvPicPr>
              <a:picLocks noChangeAspect="1"/>
            </p:cNvPicPr>
            <p:nvPr/>
          </p:nvPicPr>
          <p:blipFill>
            <a:blip r:embed="rId35">
              <a:extLst>
                <a:ext uri="{96DAC541-7B7A-43D3-8B79-37D633B846F1}">
                  <asvg:svgBlip xmlns:asvg="http://schemas.microsoft.com/office/drawing/2016/SVG/main" r:embed="rId44"/>
                </a:ext>
              </a:extLst>
            </a:blip>
            <a:stretch>
              <a:fillRect/>
            </a:stretch>
          </p:blipFill>
          <p:spPr>
            <a:xfrm>
              <a:off x="4118475" y="1356698"/>
              <a:ext cx="189000" cy="189000"/>
            </a:xfrm>
            <a:prstGeom prst="rect">
              <a:avLst/>
            </a:prstGeom>
          </p:spPr>
        </p:pic>
        <p:sp>
          <p:nvSpPr>
            <p:cNvPr id="475" name="TextBox 474">
              <a:extLst>
                <a:ext uri="{FF2B5EF4-FFF2-40B4-BE49-F238E27FC236}">
                  <a16:creationId xmlns:a16="http://schemas.microsoft.com/office/drawing/2014/main" id="{B82295C2-D740-47D5-AEC6-FD794C700687}"/>
                </a:ext>
              </a:extLst>
            </p:cNvPr>
            <p:cNvSpPr txBox="1"/>
            <p:nvPr/>
          </p:nvSpPr>
          <p:spPr>
            <a:xfrm>
              <a:off x="3541994" y="1155415"/>
              <a:ext cx="164495" cy="156141"/>
            </a:xfrm>
            <a:prstGeom prst="rect">
              <a:avLst/>
            </a:prstGeom>
            <a:noFill/>
          </p:spPr>
          <p:txBody>
            <a:bodyPr wrap="none" lIns="0" tIns="0" rIns="0" bIns="0" rtlCol="0">
              <a:noAutofit/>
            </a:bodyPr>
            <a:lstStyle/>
            <a:p>
              <a:pPr marL="0" marR="0" lvl="0" indent="0" algn="l" defTabSz="609570" rtl="0" eaLnBrk="1" fontAlgn="base" latinLnBrk="0" hangingPunct="1">
                <a:lnSpc>
                  <a:spcPct val="110000"/>
                </a:lnSpc>
                <a:spcBef>
                  <a:spcPct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67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iscoSansTT Light" panose="020B0503020201020303" pitchFamily="34" charset="0"/>
                  <a:ea typeface="ＭＳ Ｐゴシック" charset="0"/>
                  <a:cs typeface="CiscoSansTT Light" panose="020B0503020201020303" pitchFamily="34" charset="0"/>
                </a:rPr>
                <a:t>x12</a:t>
              </a:r>
            </a:p>
          </p:txBody>
        </p:sp>
        <p:sp>
          <p:nvSpPr>
            <p:cNvPr id="476" name="TextBox 475">
              <a:extLst>
                <a:ext uri="{FF2B5EF4-FFF2-40B4-BE49-F238E27FC236}">
                  <a16:creationId xmlns:a16="http://schemas.microsoft.com/office/drawing/2014/main" id="{D78D176C-03EA-4D6A-86DE-321BBD166863}"/>
                </a:ext>
              </a:extLst>
            </p:cNvPr>
            <p:cNvSpPr txBox="1"/>
            <p:nvPr/>
          </p:nvSpPr>
          <p:spPr>
            <a:xfrm>
              <a:off x="4353113" y="1155415"/>
              <a:ext cx="164495" cy="156141"/>
            </a:xfrm>
            <a:prstGeom prst="rect">
              <a:avLst/>
            </a:prstGeom>
            <a:noFill/>
          </p:spPr>
          <p:txBody>
            <a:bodyPr wrap="none" lIns="0" tIns="0" rIns="0" bIns="0" rtlCol="0">
              <a:noAutofit/>
            </a:bodyPr>
            <a:lstStyle/>
            <a:p>
              <a:pPr marL="0" marR="0" lvl="0" indent="0" algn="l" defTabSz="609570" rtl="0" eaLnBrk="1" fontAlgn="base" latinLnBrk="0" hangingPunct="1">
                <a:lnSpc>
                  <a:spcPct val="110000"/>
                </a:lnSpc>
                <a:spcBef>
                  <a:spcPct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67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iscoSansTT Light" panose="020B0503020201020303" pitchFamily="34" charset="0"/>
                  <a:ea typeface="ＭＳ Ｐゴシック" charset="0"/>
                  <a:cs typeface="CiscoSansTT Light" panose="020B0503020201020303" pitchFamily="34" charset="0"/>
                </a:rPr>
                <a:t>x4</a:t>
              </a:r>
            </a:p>
          </p:txBody>
        </p:sp>
        <p:sp>
          <p:nvSpPr>
            <p:cNvPr id="477" name="TextBox 476">
              <a:extLst>
                <a:ext uri="{FF2B5EF4-FFF2-40B4-BE49-F238E27FC236}">
                  <a16:creationId xmlns:a16="http://schemas.microsoft.com/office/drawing/2014/main" id="{4DFA56CA-7E1A-4A5C-B39A-2D2F7714C05C}"/>
                </a:ext>
              </a:extLst>
            </p:cNvPr>
            <p:cNvSpPr txBox="1"/>
            <p:nvPr/>
          </p:nvSpPr>
          <p:spPr>
            <a:xfrm>
              <a:off x="3936414" y="1373128"/>
              <a:ext cx="164495" cy="156141"/>
            </a:xfrm>
            <a:prstGeom prst="rect">
              <a:avLst/>
            </a:prstGeom>
            <a:noFill/>
          </p:spPr>
          <p:txBody>
            <a:bodyPr wrap="none" lIns="0" tIns="0" rIns="0" bIns="0" rtlCol="0">
              <a:noAutofit/>
            </a:bodyPr>
            <a:lstStyle/>
            <a:p>
              <a:pPr marL="0" marR="0" lvl="0" indent="0" algn="l" defTabSz="609570" rtl="0" eaLnBrk="1" fontAlgn="base" latinLnBrk="0" hangingPunct="1">
                <a:lnSpc>
                  <a:spcPct val="110000"/>
                </a:lnSpc>
                <a:spcBef>
                  <a:spcPct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67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iscoSansTT Light" panose="020B0503020201020303" pitchFamily="34" charset="0"/>
                  <a:ea typeface="ＭＳ Ｐゴシック" charset="0"/>
                  <a:cs typeface="CiscoSansTT Light" panose="020B0503020201020303" pitchFamily="34" charset="0"/>
                </a:rPr>
                <a:t>x4</a:t>
              </a:r>
            </a:p>
          </p:txBody>
        </p:sp>
        <p:sp>
          <p:nvSpPr>
            <p:cNvPr id="478" name="TextBox 477">
              <a:extLst>
                <a:ext uri="{FF2B5EF4-FFF2-40B4-BE49-F238E27FC236}">
                  <a16:creationId xmlns:a16="http://schemas.microsoft.com/office/drawing/2014/main" id="{4F2D55A1-736F-4E4B-883C-650E5B04EABD}"/>
                </a:ext>
              </a:extLst>
            </p:cNvPr>
            <p:cNvSpPr txBox="1"/>
            <p:nvPr/>
          </p:nvSpPr>
          <p:spPr>
            <a:xfrm>
              <a:off x="3948993" y="1155415"/>
              <a:ext cx="164495" cy="156141"/>
            </a:xfrm>
            <a:prstGeom prst="rect">
              <a:avLst/>
            </a:prstGeom>
            <a:noFill/>
          </p:spPr>
          <p:txBody>
            <a:bodyPr wrap="none" lIns="0" tIns="0" rIns="0" bIns="0" rtlCol="0">
              <a:noAutofit/>
            </a:bodyPr>
            <a:lstStyle/>
            <a:p>
              <a:pPr marL="0" marR="0" lvl="0" indent="0" algn="l" defTabSz="609570" rtl="0" eaLnBrk="1" fontAlgn="base" latinLnBrk="0" hangingPunct="1">
                <a:lnSpc>
                  <a:spcPct val="110000"/>
                </a:lnSpc>
                <a:spcBef>
                  <a:spcPct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67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iscoSansTT Light" panose="020B0503020201020303" pitchFamily="34" charset="0"/>
                  <a:ea typeface="ＭＳ Ｐゴシック" charset="0"/>
                  <a:cs typeface="CiscoSansTT Light" panose="020B0503020201020303" pitchFamily="34" charset="0"/>
                </a:rPr>
                <a:t>x21</a:t>
              </a:r>
            </a:p>
          </p:txBody>
        </p:sp>
        <p:sp>
          <p:nvSpPr>
            <p:cNvPr id="479" name="TextBox 478">
              <a:extLst>
                <a:ext uri="{FF2B5EF4-FFF2-40B4-BE49-F238E27FC236}">
                  <a16:creationId xmlns:a16="http://schemas.microsoft.com/office/drawing/2014/main" id="{75D76C30-B92E-4EB6-9CB0-213BACE9A2FD}"/>
                </a:ext>
              </a:extLst>
            </p:cNvPr>
            <p:cNvSpPr txBox="1"/>
            <p:nvPr/>
          </p:nvSpPr>
          <p:spPr>
            <a:xfrm>
              <a:off x="4346717" y="1373128"/>
              <a:ext cx="164495" cy="156141"/>
            </a:xfrm>
            <a:prstGeom prst="rect">
              <a:avLst/>
            </a:prstGeom>
            <a:noFill/>
          </p:spPr>
          <p:txBody>
            <a:bodyPr wrap="none" lIns="0" tIns="0" rIns="0" bIns="0" rtlCol="0">
              <a:noAutofit/>
            </a:bodyPr>
            <a:lstStyle/>
            <a:p>
              <a:pPr marL="0" marR="0" lvl="0" indent="0" algn="l" defTabSz="609570" rtl="0" eaLnBrk="1" fontAlgn="base" latinLnBrk="0" hangingPunct="1">
                <a:lnSpc>
                  <a:spcPct val="110000"/>
                </a:lnSpc>
                <a:spcBef>
                  <a:spcPct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67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iscoSansTT Light" panose="020B0503020201020303" pitchFamily="34" charset="0"/>
                <a:ea typeface="ＭＳ Ｐゴシック" charset="0"/>
                <a:cs typeface="CiscoSansTT Light" panose="020B0503020201020303" pitchFamily="34" charset="0"/>
              </a:endParaRPr>
            </a:p>
          </p:txBody>
        </p:sp>
        <p:sp>
          <p:nvSpPr>
            <p:cNvPr id="480" name="TextBox 479">
              <a:extLst>
                <a:ext uri="{FF2B5EF4-FFF2-40B4-BE49-F238E27FC236}">
                  <a16:creationId xmlns:a16="http://schemas.microsoft.com/office/drawing/2014/main" id="{4558872B-D1D0-4EA7-83E9-832CA3F21B27}"/>
                </a:ext>
              </a:extLst>
            </p:cNvPr>
            <p:cNvSpPr txBox="1"/>
            <p:nvPr/>
          </p:nvSpPr>
          <p:spPr>
            <a:xfrm>
              <a:off x="4347015" y="1373128"/>
              <a:ext cx="164495" cy="156141"/>
            </a:xfrm>
            <a:prstGeom prst="rect">
              <a:avLst/>
            </a:prstGeom>
            <a:noFill/>
          </p:spPr>
          <p:txBody>
            <a:bodyPr wrap="none" lIns="0" tIns="0" rIns="0" bIns="0" rtlCol="0">
              <a:noAutofit/>
            </a:bodyPr>
            <a:lstStyle/>
            <a:p>
              <a:pPr marL="0" marR="0" lvl="0" indent="0" algn="l" defTabSz="609570" rtl="0" eaLnBrk="1" fontAlgn="base" latinLnBrk="0" hangingPunct="1">
                <a:lnSpc>
                  <a:spcPct val="110000"/>
                </a:lnSpc>
                <a:spcBef>
                  <a:spcPct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67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iscoSansTT Light" panose="020B0503020201020303" pitchFamily="34" charset="0"/>
                  <a:ea typeface="ＭＳ Ｐゴシック" charset="0"/>
                  <a:cs typeface="CiscoSansTT Light" panose="020B0503020201020303" pitchFamily="34" charset="0"/>
                </a:rPr>
                <a:t>x4</a:t>
              </a:r>
            </a:p>
          </p:txBody>
        </p:sp>
      </p:grpSp>
      <p:grpSp>
        <p:nvGrpSpPr>
          <p:cNvPr id="482" name="Group 481">
            <a:extLst>
              <a:ext uri="{FF2B5EF4-FFF2-40B4-BE49-F238E27FC236}">
                <a16:creationId xmlns:a16="http://schemas.microsoft.com/office/drawing/2014/main" id="{DFF90E1F-6ADF-455E-9F86-55D3A86643AA}"/>
              </a:ext>
            </a:extLst>
          </p:cNvPr>
          <p:cNvGrpSpPr/>
          <p:nvPr/>
        </p:nvGrpSpPr>
        <p:grpSpPr>
          <a:xfrm>
            <a:off x="8501057" y="6129758"/>
            <a:ext cx="1584516" cy="542284"/>
            <a:chOff x="3329221" y="1138985"/>
            <a:chExt cx="1188387" cy="406713"/>
          </a:xfrm>
        </p:grpSpPr>
        <p:pic>
          <p:nvPicPr>
            <p:cNvPr id="483" name="Graphic 482">
              <a:extLst>
                <a:ext uri="{FF2B5EF4-FFF2-40B4-BE49-F238E27FC236}">
                  <a16:creationId xmlns:a16="http://schemas.microsoft.com/office/drawing/2014/main" id="{54E16C07-C326-4B3F-B89F-C1633BFB090B}"/>
                </a:ext>
              </a:extLst>
            </p:cNvPr>
            <p:cNvPicPr>
              <a:picLocks noChangeAspect="1"/>
            </p:cNvPicPr>
            <p:nvPr/>
          </p:nvPicPr>
          <p:blipFill>
            <a:blip r:embed="rId27">
              <a:extLst>
                <a:ext uri="{96DAC541-7B7A-43D3-8B79-37D633B846F1}">
                  <asvg:svgBlip xmlns:asvg="http://schemas.microsoft.com/office/drawing/2016/SVG/main" r:embed="rId39"/>
                </a:ext>
              </a:extLst>
            </a:blip>
            <a:stretch>
              <a:fillRect/>
            </a:stretch>
          </p:blipFill>
          <p:spPr>
            <a:xfrm>
              <a:off x="3329221" y="1138985"/>
              <a:ext cx="189553" cy="189000"/>
            </a:xfrm>
            <a:prstGeom prst="rect">
              <a:avLst/>
            </a:prstGeom>
          </p:spPr>
        </p:pic>
        <p:pic>
          <p:nvPicPr>
            <p:cNvPr id="484" name="Graphic 483">
              <a:extLst>
                <a:ext uri="{FF2B5EF4-FFF2-40B4-BE49-F238E27FC236}">
                  <a16:creationId xmlns:a16="http://schemas.microsoft.com/office/drawing/2014/main" id="{2F24A1E9-EB90-4909-9F06-148739BE8635}"/>
                </a:ext>
              </a:extLst>
            </p:cNvPr>
            <p:cNvPicPr>
              <a:picLocks noChangeAspect="1"/>
            </p:cNvPicPr>
            <p:nvPr/>
          </p:nvPicPr>
          <p:blipFill>
            <a:blip r:embed="rId31">
              <a:extLst>
                <a:ext uri="{96DAC541-7B7A-43D3-8B79-37D633B846F1}">
                  <asvg:svgBlip xmlns:asvg="http://schemas.microsoft.com/office/drawing/2016/SVG/main" r:embed="rId40"/>
                </a:ext>
              </a:extLst>
            </a:blip>
            <a:stretch>
              <a:fillRect/>
            </a:stretch>
          </p:blipFill>
          <p:spPr>
            <a:xfrm>
              <a:off x="3723812" y="1138985"/>
              <a:ext cx="189005" cy="189000"/>
            </a:xfrm>
            <a:prstGeom prst="rect">
              <a:avLst/>
            </a:prstGeom>
          </p:spPr>
        </p:pic>
        <p:pic>
          <p:nvPicPr>
            <p:cNvPr id="485" name="Graphic 484">
              <a:extLst>
                <a:ext uri="{FF2B5EF4-FFF2-40B4-BE49-F238E27FC236}">
                  <a16:creationId xmlns:a16="http://schemas.microsoft.com/office/drawing/2014/main" id="{0CA2956A-78CD-4C2A-9595-65EBD946AEE2}"/>
                </a:ext>
              </a:extLst>
            </p:cNvPr>
            <p:cNvPicPr>
              <a:picLocks noChangeAspect="1"/>
            </p:cNvPicPr>
            <p:nvPr/>
          </p:nvPicPr>
          <p:blipFill>
            <a:blip r:embed="rId29">
              <a:extLst>
                <a:ext uri="{96DAC541-7B7A-43D3-8B79-37D633B846F1}">
                  <asvg:svgBlip xmlns:asvg="http://schemas.microsoft.com/office/drawing/2016/SVG/main" r:embed="rId41"/>
                </a:ext>
              </a:extLst>
            </a:blip>
            <a:stretch>
              <a:fillRect/>
            </a:stretch>
          </p:blipFill>
          <p:spPr>
            <a:xfrm>
              <a:off x="4118475" y="1138985"/>
              <a:ext cx="189005" cy="189000"/>
            </a:xfrm>
            <a:prstGeom prst="rect">
              <a:avLst/>
            </a:prstGeom>
          </p:spPr>
        </p:pic>
        <p:pic>
          <p:nvPicPr>
            <p:cNvPr id="486" name="Graphic 485">
              <a:extLst>
                <a:ext uri="{FF2B5EF4-FFF2-40B4-BE49-F238E27FC236}">
                  <a16:creationId xmlns:a16="http://schemas.microsoft.com/office/drawing/2014/main" id="{1483F326-0A14-4E10-9A25-AEF8A75E4A93}"/>
                </a:ext>
              </a:extLst>
            </p:cNvPr>
            <p:cNvPicPr>
              <a:picLocks noChangeAspect="1"/>
            </p:cNvPicPr>
            <p:nvPr/>
          </p:nvPicPr>
          <p:blipFill>
            <a:blip r:embed="rId33">
              <a:extLst>
                <a:ext uri="{96DAC541-7B7A-43D3-8B79-37D633B846F1}">
                  <asvg:svgBlip xmlns:asvg="http://schemas.microsoft.com/office/drawing/2016/SVG/main" r:embed="rId42"/>
                </a:ext>
              </a:extLst>
            </a:blip>
            <a:stretch>
              <a:fillRect/>
            </a:stretch>
          </p:blipFill>
          <p:spPr>
            <a:xfrm>
              <a:off x="3723538" y="1356698"/>
              <a:ext cx="189000" cy="189000"/>
            </a:xfrm>
            <a:prstGeom prst="rect">
              <a:avLst/>
            </a:prstGeom>
          </p:spPr>
        </p:pic>
        <p:pic>
          <p:nvPicPr>
            <p:cNvPr id="487" name="Graphic 486">
              <a:extLst>
                <a:ext uri="{FF2B5EF4-FFF2-40B4-BE49-F238E27FC236}">
                  <a16:creationId xmlns:a16="http://schemas.microsoft.com/office/drawing/2014/main" id="{87DE485C-D040-4F4B-BB41-D5F382E4A11F}"/>
                </a:ext>
              </a:extLst>
            </p:cNvPr>
            <p:cNvPicPr>
              <a:picLocks noChangeAspect="1"/>
            </p:cNvPicPr>
            <p:nvPr/>
          </p:nvPicPr>
          <p:blipFill>
            <a:blip r:embed="rId37">
              <a:extLst>
                <a:ext uri="{96DAC541-7B7A-43D3-8B79-37D633B846F1}">
                  <asvg:svgBlip xmlns:asvg="http://schemas.microsoft.com/office/drawing/2016/SVG/main" r:embed="rId43"/>
                </a:ext>
              </a:extLst>
            </a:blip>
            <a:stretch>
              <a:fillRect/>
            </a:stretch>
          </p:blipFill>
          <p:spPr>
            <a:xfrm>
              <a:off x="3329221" y="1356698"/>
              <a:ext cx="189000" cy="189000"/>
            </a:xfrm>
            <a:prstGeom prst="rect">
              <a:avLst/>
            </a:prstGeom>
          </p:spPr>
        </p:pic>
        <p:pic>
          <p:nvPicPr>
            <p:cNvPr id="488" name="Graphic 487">
              <a:extLst>
                <a:ext uri="{FF2B5EF4-FFF2-40B4-BE49-F238E27FC236}">
                  <a16:creationId xmlns:a16="http://schemas.microsoft.com/office/drawing/2014/main" id="{418F2D61-A47F-4E9D-9C0C-E9B081FD17F5}"/>
                </a:ext>
              </a:extLst>
            </p:cNvPr>
            <p:cNvPicPr>
              <a:picLocks noChangeAspect="1"/>
            </p:cNvPicPr>
            <p:nvPr/>
          </p:nvPicPr>
          <p:blipFill>
            <a:blip r:embed="rId35">
              <a:extLst>
                <a:ext uri="{96DAC541-7B7A-43D3-8B79-37D633B846F1}">
                  <asvg:svgBlip xmlns:asvg="http://schemas.microsoft.com/office/drawing/2016/SVG/main" r:embed="rId44"/>
                </a:ext>
              </a:extLst>
            </a:blip>
            <a:stretch>
              <a:fillRect/>
            </a:stretch>
          </p:blipFill>
          <p:spPr>
            <a:xfrm>
              <a:off x="4118475" y="1356698"/>
              <a:ext cx="189000" cy="189000"/>
            </a:xfrm>
            <a:prstGeom prst="rect">
              <a:avLst/>
            </a:prstGeom>
          </p:spPr>
        </p:pic>
        <p:sp>
          <p:nvSpPr>
            <p:cNvPr id="489" name="TextBox 488">
              <a:extLst>
                <a:ext uri="{FF2B5EF4-FFF2-40B4-BE49-F238E27FC236}">
                  <a16:creationId xmlns:a16="http://schemas.microsoft.com/office/drawing/2014/main" id="{2A53F09C-0807-4A57-B588-224249341A13}"/>
                </a:ext>
              </a:extLst>
            </p:cNvPr>
            <p:cNvSpPr txBox="1"/>
            <p:nvPr/>
          </p:nvSpPr>
          <p:spPr>
            <a:xfrm>
              <a:off x="3541994" y="1155415"/>
              <a:ext cx="164495" cy="156141"/>
            </a:xfrm>
            <a:prstGeom prst="rect">
              <a:avLst/>
            </a:prstGeom>
            <a:noFill/>
          </p:spPr>
          <p:txBody>
            <a:bodyPr wrap="none" lIns="0" tIns="0" rIns="0" bIns="0" rtlCol="0">
              <a:noAutofit/>
            </a:bodyPr>
            <a:lstStyle/>
            <a:p>
              <a:pPr marL="0" marR="0" lvl="0" indent="0" algn="l" defTabSz="609570" rtl="0" eaLnBrk="1" fontAlgn="base" latinLnBrk="0" hangingPunct="1">
                <a:lnSpc>
                  <a:spcPct val="110000"/>
                </a:lnSpc>
                <a:spcBef>
                  <a:spcPct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67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iscoSansTT Light" panose="020B0503020201020303" pitchFamily="34" charset="0"/>
                  <a:ea typeface="ＭＳ Ｐゴシック" charset="0"/>
                  <a:cs typeface="CiscoSansTT Light" panose="020B0503020201020303" pitchFamily="34" charset="0"/>
                </a:rPr>
                <a:t>x12</a:t>
              </a:r>
            </a:p>
          </p:txBody>
        </p:sp>
        <p:sp>
          <p:nvSpPr>
            <p:cNvPr id="490" name="TextBox 489">
              <a:extLst>
                <a:ext uri="{FF2B5EF4-FFF2-40B4-BE49-F238E27FC236}">
                  <a16:creationId xmlns:a16="http://schemas.microsoft.com/office/drawing/2014/main" id="{FA6D5563-B19F-472C-90CD-E56D46B94311}"/>
                </a:ext>
              </a:extLst>
            </p:cNvPr>
            <p:cNvSpPr txBox="1"/>
            <p:nvPr/>
          </p:nvSpPr>
          <p:spPr>
            <a:xfrm>
              <a:off x="4353113" y="1155415"/>
              <a:ext cx="164495" cy="156141"/>
            </a:xfrm>
            <a:prstGeom prst="rect">
              <a:avLst/>
            </a:prstGeom>
            <a:noFill/>
          </p:spPr>
          <p:txBody>
            <a:bodyPr wrap="none" lIns="0" tIns="0" rIns="0" bIns="0" rtlCol="0">
              <a:noAutofit/>
            </a:bodyPr>
            <a:lstStyle/>
            <a:p>
              <a:pPr marL="0" marR="0" lvl="0" indent="0" algn="l" defTabSz="609570" rtl="0" eaLnBrk="1" fontAlgn="base" latinLnBrk="0" hangingPunct="1">
                <a:lnSpc>
                  <a:spcPct val="110000"/>
                </a:lnSpc>
                <a:spcBef>
                  <a:spcPct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67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iscoSansTT Light" panose="020B0503020201020303" pitchFamily="34" charset="0"/>
                  <a:ea typeface="ＭＳ Ｐゴシック" charset="0"/>
                  <a:cs typeface="CiscoSansTT Light" panose="020B0503020201020303" pitchFamily="34" charset="0"/>
                </a:rPr>
                <a:t>x4</a:t>
              </a:r>
            </a:p>
          </p:txBody>
        </p:sp>
        <p:sp>
          <p:nvSpPr>
            <p:cNvPr id="491" name="TextBox 490">
              <a:extLst>
                <a:ext uri="{FF2B5EF4-FFF2-40B4-BE49-F238E27FC236}">
                  <a16:creationId xmlns:a16="http://schemas.microsoft.com/office/drawing/2014/main" id="{50349739-CBB2-4E29-90BF-EA0690ACC509}"/>
                </a:ext>
              </a:extLst>
            </p:cNvPr>
            <p:cNvSpPr txBox="1"/>
            <p:nvPr/>
          </p:nvSpPr>
          <p:spPr>
            <a:xfrm>
              <a:off x="3936414" y="1373128"/>
              <a:ext cx="164495" cy="156141"/>
            </a:xfrm>
            <a:prstGeom prst="rect">
              <a:avLst/>
            </a:prstGeom>
            <a:noFill/>
          </p:spPr>
          <p:txBody>
            <a:bodyPr wrap="none" lIns="0" tIns="0" rIns="0" bIns="0" rtlCol="0">
              <a:noAutofit/>
            </a:bodyPr>
            <a:lstStyle/>
            <a:p>
              <a:pPr marL="0" marR="0" lvl="0" indent="0" algn="l" defTabSz="609570" rtl="0" eaLnBrk="1" fontAlgn="base" latinLnBrk="0" hangingPunct="1">
                <a:lnSpc>
                  <a:spcPct val="110000"/>
                </a:lnSpc>
                <a:spcBef>
                  <a:spcPct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67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iscoSansTT Light" panose="020B0503020201020303" pitchFamily="34" charset="0"/>
                  <a:ea typeface="ＭＳ Ｐゴシック" charset="0"/>
                  <a:cs typeface="CiscoSansTT Light" panose="020B0503020201020303" pitchFamily="34" charset="0"/>
                </a:rPr>
                <a:t>x4</a:t>
              </a:r>
            </a:p>
          </p:txBody>
        </p:sp>
        <p:sp>
          <p:nvSpPr>
            <p:cNvPr id="492" name="TextBox 491">
              <a:extLst>
                <a:ext uri="{FF2B5EF4-FFF2-40B4-BE49-F238E27FC236}">
                  <a16:creationId xmlns:a16="http://schemas.microsoft.com/office/drawing/2014/main" id="{9A31C8C4-1791-4520-9AA0-616CB8C8997A}"/>
                </a:ext>
              </a:extLst>
            </p:cNvPr>
            <p:cNvSpPr txBox="1"/>
            <p:nvPr/>
          </p:nvSpPr>
          <p:spPr>
            <a:xfrm>
              <a:off x="3948993" y="1155415"/>
              <a:ext cx="164495" cy="156141"/>
            </a:xfrm>
            <a:prstGeom prst="rect">
              <a:avLst/>
            </a:prstGeom>
            <a:noFill/>
          </p:spPr>
          <p:txBody>
            <a:bodyPr wrap="none" lIns="0" tIns="0" rIns="0" bIns="0" rtlCol="0">
              <a:noAutofit/>
            </a:bodyPr>
            <a:lstStyle/>
            <a:p>
              <a:pPr marL="0" marR="0" lvl="0" indent="0" algn="l" defTabSz="609570" rtl="0" eaLnBrk="1" fontAlgn="base" latinLnBrk="0" hangingPunct="1">
                <a:lnSpc>
                  <a:spcPct val="110000"/>
                </a:lnSpc>
                <a:spcBef>
                  <a:spcPct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67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iscoSansTT Light" panose="020B0503020201020303" pitchFamily="34" charset="0"/>
                  <a:ea typeface="ＭＳ Ｐゴシック" charset="0"/>
                  <a:cs typeface="CiscoSansTT Light" panose="020B0503020201020303" pitchFamily="34" charset="0"/>
                </a:rPr>
                <a:t>x17</a:t>
              </a:r>
            </a:p>
          </p:txBody>
        </p:sp>
        <p:sp>
          <p:nvSpPr>
            <p:cNvPr id="493" name="TextBox 492">
              <a:extLst>
                <a:ext uri="{FF2B5EF4-FFF2-40B4-BE49-F238E27FC236}">
                  <a16:creationId xmlns:a16="http://schemas.microsoft.com/office/drawing/2014/main" id="{519CB187-1C2A-4C40-8EEE-638EE848DD2B}"/>
                </a:ext>
              </a:extLst>
            </p:cNvPr>
            <p:cNvSpPr txBox="1"/>
            <p:nvPr/>
          </p:nvSpPr>
          <p:spPr>
            <a:xfrm>
              <a:off x="4346717" y="1373128"/>
              <a:ext cx="164495" cy="156141"/>
            </a:xfrm>
            <a:prstGeom prst="rect">
              <a:avLst/>
            </a:prstGeom>
            <a:noFill/>
          </p:spPr>
          <p:txBody>
            <a:bodyPr wrap="none" lIns="0" tIns="0" rIns="0" bIns="0" rtlCol="0">
              <a:noAutofit/>
            </a:bodyPr>
            <a:lstStyle/>
            <a:p>
              <a:pPr marL="0" marR="0" lvl="0" indent="0" algn="l" defTabSz="609570" rtl="0" eaLnBrk="1" fontAlgn="base" latinLnBrk="0" hangingPunct="1">
                <a:lnSpc>
                  <a:spcPct val="110000"/>
                </a:lnSpc>
                <a:spcBef>
                  <a:spcPct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67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iscoSansTT Light" panose="020B0503020201020303" pitchFamily="34" charset="0"/>
                <a:ea typeface="ＭＳ Ｐゴシック" charset="0"/>
                <a:cs typeface="CiscoSansTT Light" panose="020B0503020201020303" pitchFamily="34" charset="0"/>
              </a:endParaRPr>
            </a:p>
          </p:txBody>
        </p:sp>
        <p:sp>
          <p:nvSpPr>
            <p:cNvPr id="494" name="TextBox 493">
              <a:extLst>
                <a:ext uri="{FF2B5EF4-FFF2-40B4-BE49-F238E27FC236}">
                  <a16:creationId xmlns:a16="http://schemas.microsoft.com/office/drawing/2014/main" id="{44434E95-A590-4906-A4B7-ED829BE220FA}"/>
                </a:ext>
              </a:extLst>
            </p:cNvPr>
            <p:cNvSpPr txBox="1"/>
            <p:nvPr/>
          </p:nvSpPr>
          <p:spPr>
            <a:xfrm>
              <a:off x="4347015" y="1373128"/>
              <a:ext cx="164495" cy="156141"/>
            </a:xfrm>
            <a:prstGeom prst="rect">
              <a:avLst/>
            </a:prstGeom>
            <a:noFill/>
          </p:spPr>
          <p:txBody>
            <a:bodyPr wrap="none" lIns="0" tIns="0" rIns="0" bIns="0" rtlCol="0">
              <a:noAutofit/>
            </a:bodyPr>
            <a:lstStyle/>
            <a:p>
              <a:pPr marL="0" marR="0" lvl="0" indent="0" algn="l" defTabSz="609570" rtl="0" eaLnBrk="1" fontAlgn="base" latinLnBrk="0" hangingPunct="1">
                <a:lnSpc>
                  <a:spcPct val="110000"/>
                </a:lnSpc>
                <a:spcBef>
                  <a:spcPct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67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iscoSansTT Light" panose="020B0503020201020303" pitchFamily="34" charset="0"/>
                  <a:ea typeface="ＭＳ Ｐゴシック" charset="0"/>
                  <a:cs typeface="CiscoSansTT Light" panose="020B0503020201020303" pitchFamily="34" charset="0"/>
                </a:rPr>
                <a:t>x4</a:t>
              </a:r>
            </a:p>
          </p:txBody>
        </p:sp>
      </p:grpSp>
      <p:grpSp>
        <p:nvGrpSpPr>
          <p:cNvPr id="495" name="Group 494">
            <a:extLst>
              <a:ext uri="{FF2B5EF4-FFF2-40B4-BE49-F238E27FC236}">
                <a16:creationId xmlns:a16="http://schemas.microsoft.com/office/drawing/2014/main" id="{534ACF77-728C-4005-B14C-749382121414}"/>
              </a:ext>
            </a:extLst>
          </p:cNvPr>
          <p:cNvGrpSpPr/>
          <p:nvPr/>
        </p:nvGrpSpPr>
        <p:grpSpPr>
          <a:xfrm>
            <a:off x="10473273" y="6129758"/>
            <a:ext cx="1584516" cy="542284"/>
            <a:chOff x="3329221" y="1138985"/>
            <a:chExt cx="1188387" cy="406713"/>
          </a:xfrm>
        </p:grpSpPr>
        <p:pic>
          <p:nvPicPr>
            <p:cNvPr id="496" name="Graphic 495">
              <a:extLst>
                <a:ext uri="{FF2B5EF4-FFF2-40B4-BE49-F238E27FC236}">
                  <a16:creationId xmlns:a16="http://schemas.microsoft.com/office/drawing/2014/main" id="{82605646-9286-455F-A70F-E5B427B4B8B1}"/>
                </a:ext>
              </a:extLst>
            </p:cNvPr>
            <p:cNvPicPr>
              <a:picLocks noChangeAspect="1"/>
            </p:cNvPicPr>
            <p:nvPr/>
          </p:nvPicPr>
          <p:blipFill>
            <a:blip r:embed="rId27">
              <a:extLst>
                <a:ext uri="{96DAC541-7B7A-43D3-8B79-37D633B846F1}">
                  <asvg:svgBlip xmlns:asvg="http://schemas.microsoft.com/office/drawing/2016/SVG/main" r:embed="rId39"/>
                </a:ext>
              </a:extLst>
            </a:blip>
            <a:stretch>
              <a:fillRect/>
            </a:stretch>
          </p:blipFill>
          <p:spPr>
            <a:xfrm>
              <a:off x="3329221" y="1138985"/>
              <a:ext cx="189553" cy="189000"/>
            </a:xfrm>
            <a:prstGeom prst="rect">
              <a:avLst/>
            </a:prstGeom>
          </p:spPr>
        </p:pic>
        <p:pic>
          <p:nvPicPr>
            <p:cNvPr id="497" name="Graphic 496">
              <a:extLst>
                <a:ext uri="{FF2B5EF4-FFF2-40B4-BE49-F238E27FC236}">
                  <a16:creationId xmlns:a16="http://schemas.microsoft.com/office/drawing/2014/main" id="{2D404B05-4C2C-465D-99DA-A3FF89B165D9}"/>
                </a:ext>
              </a:extLst>
            </p:cNvPr>
            <p:cNvPicPr>
              <a:picLocks noChangeAspect="1"/>
            </p:cNvPicPr>
            <p:nvPr/>
          </p:nvPicPr>
          <p:blipFill>
            <a:blip r:embed="rId31">
              <a:extLst>
                <a:ext uri="{96DAC541-7B7A-43D3-8B79-37D633B846F1}">
                  <asvg:svgBlip xmlns:asvg="http://schemas.microsoft.com/office/drawing/2016/SVG/main" r:embed="rId40"/>
                </a:ext>
              </a:extLst>
            </a:blip>
            <a:stretch>
              <a:fillRect/>
            </a:stretch>
          </p:blipFill>
          <p:spPr>
            <a:xfrm>
              <a:off x="3723812" y="1138985"/>
              <a:ext cx="189005" cy="189000"/>
            </a:xfrm>
            <a:prstGeom prst="rect">
              <a:avLst/>
            </a:prstGeom>
          </p:spPr>
        </p:pic>
        <p:pic>
          <p:nvPicPr>
            <p:cNvPr id="498" name="Graphic 497">
              <a:extLst>
                <a:ext uri="{FF2B5EF4-FFF2-40B4-BE49-F238E27FC236}">
                  <a16:creationId xmlns:a16="http://schemas.microsoft.com/office/drawing/2014/main" id="{3A7E9E08-5311-444A-9909-A1195DF6F410}"/>
                </a:ext>
              </a:extLst>
            </p:cNvPr>
            <p:cNvPicPr>
              <a:picLocks noChangeAspect="1"/>
            </p:cNvPicPr>
            <p:nvPr/>
          </p:nvPicPr>
          <p:blipFill>
            <a:blip r:embed="rId29">
              <a:extLst>
                <a:ext uri="{96DAC541-7B7A-43D3-8B79-37D633B846F1}">
                  <asvg:svgBlip xmlns:asvg="http://schemas.microsoft.com/office/drawing/2016/SVG/main" r:embed="rId41"/>
                </a:ext>
              </a:extLst>
            </a:blip>
            <a:stretch>
              <a:fillRect/>
            </a:stretch>
          </p:blipFill>
          <p:spPr>
            <a:xfrm>
              <a:off x="4118475" y="1138985"/>
              <a:ext cx="189005" cy="189000"/>
            </a:xfrm>
            <a:prstGeom prst="rect">
              <a:avLst/>
            </a:prstGeom>
          </p:spPr>
        </p:pic>
        <p:pic>
          <p:nvPicPr>
            <p:cNvPr id="499" name="Graphic 498">
              <a:extLst>
                <a:ext uri="{FF2B5EF4-FFF2-40B4-BE49-F238E27FC236}">
                  <a16:creationId xmlns:a16="http://schemas.microsoft.com/office/drawing/2014/main" id="{550334DD-C979-4A87-9312-3B139C011A6B}"/>
                </a:ext>
              </a:extLst>
            </p:cNvPr>
            <p:cNvPicPr>
              <a:picLocks noChangeAspect="1"/>
            </p:cNvPicPr>
            <p:nvPr/>
          </p:nvPicPr>
          <p:blipFill>
            <a:blip r:embed="rId33">
              <a:extLst>
                <a:ext uri="{96DAC541-7B7A-43D3-8B79-37D633B846F1}">
                  <asvg:svgBlip xmlns:asvg="http://schemas.microsoft.com/office/drawing/2016/SVG/main" r:embed="rId42"/>
                </a:ext>
              </a:extLst>
            </a:blip>
            <a:stretch>
              <a:fillRect/>
            </a:stretch>
          </p:blipFill>
          <p:spPr>
            <a:xfrm>
              <a:off x="3723538" y="1356698"/>
              <a:ext cx="189000" cy="189000"/>
            </a:xfrm>
            <a:prstGeom prst="rect">
              <a:avLst/>
            </a:prstGeom>
          </p:spPr>
        </p:pic>
        <p:pic>
          <p:nvPicPr>
            <p:cNvPr id="500" name="Graphic 499">
              <a:extLst>
                <a:ext uri="{FF2B5EF4-FFF2-40B4-BE49-F238E27FC236}">
                  <a16:creationId xmlns:a16="http://schemas.microsoft.com/office/drawing/2014/main" id="{8C7ACC93-095F-4825-8735-F9636DA5C34E}"/>
                </a:ext>
              </a:extLst>
            </p:cNvPr>
            <p:cNvPicPr>
              <a:picLocks noChangeAspect="1"/>
            </p:cNvPicPr>
            <p:nvPr/>
          </p:nvPicPr>
          <p:blipFill>
            <a:blip r:embed="rId37">
              <a:extLst>
                <a:ext uri="{96DAC541-7B7A-43D3-8B79-37D633B846F1}">
                  <asvg:svgBlip xmlns:asvg="http://schemas.microsoft.com/office/drawing/2016/SVG/main" r:embed="rId43"/>
                </a:ext>
              </a:extLst>
            </a:blip>
            <a:stretch>
              <a:fillRect/>
            </a:stretch>
          </p:blipFill>
          <p:spPr>
            <a:xfrm>
              <a:off x="3329221" y="1356698"/>
              <a:ext cx="189000" cy="189000"/>
            </a:xfrm>
            <a:prstGeom prst="rect">
              <a:avLst/>
            </a:prstGeom>
          </p:spPr>
        </p:pic>
        <p:pic>
          <p:nvPicPr>
            <p:cNvPr id="501" name="Graphic 500">
              <a:extLst>
                <a:ext uri="{FF2B5EF4-FFF2-40B4-BE49-F238E27FC236}">
                  <a16:creationId xmlns:a16="http://schemas.microsoft.com/office/drawing/2014/main" id="{3196ADC2-2120-44CD-8DAE-6D6FE9296D24}"/>
                </a:ext>
              </a:extLst>
            </p:cNvPr>
            <p:cNvPicPr>
              <a:picLocks noChangeAspect="1"/>
            </p:cNvPicPr>
            <p:nvPr/>
          </p:nvPicPr>
          <p:blipFill>
            <a:blip r:embed="rId35">
              <a:extLst>
                <a:ext uri="{96DAC541-7B7A-43D3-8B79-37D633B846F1}">
                  <asvg:svgBlip xmlns:asvg="http://schemas.microsoft.com/office/drawing/2016/SVG/main" r:embed="rId44"/>
                </a:ext>
              </a:extLst>
            </a:blip>
            <a:stretch>
              <a:fillRect/>
            </a:stretch>
          </p:blipFill>
          <p:spPr>
            <a:xfrm>
              <a:off x="4118475" y="1356698"/>
              <a:ext cx="189000" cy="189000"/>
            </a:xfrm>
            <a:prstGeom prst="rect">
              <a:avLst/>
            </a:prstGeom>
          </p:spPr>
        </p:pic>
        <p:sp>
          <p:nvSpPr>
            <p:cNvPr id="502" name="TextBox 501">
              <a:extLst>
                <a:ext uri="{FF2B5EF4-FFF2-40B4-BE49-F238E27FC236}">
                  <a16:creationId xmlns:a16="http://schemas.microsoft.com/office/drawing/2014/main" id="{DD05CE56-C379-4807-B2C0-F921C4693A10}"/>
                </a:ext>
              </a:extLst>
            </p:cNvPr>
            <p:cNvSpPr txBox="1"/>
            <p:nvPr/>
          </p:nvSpPr>
          <p:spPr>
            <a:xfrm>
              <a:off x="3541994" y="1155415"/>
              <a:ext cx="164495" cy="156141"/>
            </a:xfrm>
            <a:prstGeom prst="rect">
              <a:avLst/>
            </a:prstGeom>
            <a:noFill/>
          </p:spPr>
          <p:txBody>
            <a:bodyPr wrap="none" lIns="0" tIns="0" rIns="0" bIns="0" rtlCol="0">
              <a:noAutofit/>
            </a:bodyPr>
            <a:lstStyle/>
            <a:p>
              <a:pPr marL="0" marR="0" lvl="0" indent="0" algn="l" defTabSz="609570" rtl="0" eaLnBrk="1" fontAlgn="base" latinLnBrk="0" hangingPunct="1">
                <a:lnSpc>
                  <a:spcPct val="110000"/>
                </a:lnSpc>
                <a:spcBef>
                  <a:spcPct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67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iscoSansTT Light" panose="020B0503020201020303" pitchFamily="34" charset="0"/>
                  <a:ea typeface="ＭＳ Ｐゴシック" charset="0"/>
                  <a:cs typeface="CiscoSansTT Light" panose="020B0503020201020303" pitchFamily="34" charset="0"/>
                </a:rPr>
                <a:t>x12</a:t>
              </a:r>
            </a:p>
          </p:txBody>
        </p:sp>
        <p:sp>
          <p:nvSpPr>
            <p:cNvPr id="503" name="TextBox 502">
              <a:extLst>
                <a:ext uri="{FF2B5EF4-FFF2-40B4-BE49-F238E27FC236}">
                  <a16:creationId xmlns:a16="http://schemas.microsoft.com/office/drawing/2014/main" id="{F523EBE3-EB85-4D53-964A-D8F69A8F8CBB}"/>
                </a:ext>
              </a:extLst>
            </p:cNvPr>
            <p:cNvSpPr txBox="1"/>
            <p:nvPr/>
          </p:nvSpPr>
          <p:spPr>
            <a:xfrm>
              <a:off x="4353113" y="1155415"/>
              <a:ext cx="164495" cy="156141"/>
            </a:xfrm>
            <a:prstGeom prst="rect">
              <a:avLst/>
            </a:prstGeom>
            <a:noFill/>
          </p:spPr>
          <p:txBody>
            <a:bodyPr wrap="none" lIns="0" tIns="0" rIns="0" bIns="0" rtlCol="0">
              <a:noAutofit/>
            </a:bodyPr>
            <a:lstStyle/>
            <a:p>
              <a:pPr marL="0" marR="0" lvl="0" indent="0" algn="l" defTabSz="609570" rtl="0" eaLnBrk="1" fontAlgn="base" latinLnBrk="0" hangingPunct="1">
                <a:lnSpc>
                  <a:spcPct val="110000"/>
                </a:lnSpc>
                <a:spcBef>
                  <a:spcPct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67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iscoSansTT Light" panose="020B0503020201020303" pitchFamily="34" charset="0"/>
                  <a:ea typeface="ＭＳ Ｐゴシック" charset="0"/>
                  <a:cs typeface="CiscoSansTT Light" panose="020B0503020201020303" pitchFamily="34" charset="0"/>
                </a:rPr>
                <a:t>x4</a:t>
              </a:r>
            </a:p>
          </p:txBody>
        </p:sp>
        <p:sp>
          <p:nvSpPr>
            <p:cNvPr id="504" name="TextBox 503">
              <a:extLst>
                <a:ext uri="{FF2B5EF4-FFF2-40B4-BE49-F238E27FC236}">
                  <a16:creationId xmlns:a16="http://schemas.microsoft.com/office/drawing/2014/main" id="{712E35C6-1183-4550-B659-340422F6948C}"/>
                </a:ext>
              </a:extLst>
            </p:cNvPr>
            <p:cNvSpPr txBox="1"/>
            <p:nvPr/>
          </p:nvSpPr>
          <p:spPr>
            <a:xfrm>
              <a:off x="3936414" y="1373128"/>
              <a:ext cx="164495" cy="156141"/>
            </a:xfrm>
            <a:prstGeom prst="rect">
              <a:avLst/>
            </a:prstGeom>
            <a:noFill/>
          </p:spPr>
          <p:txBody>
            <a:bodyPr wrap="none" lIns="0" tIns="0" rIns="0" bIns="0" rtlCol="0">
              <a:noAutofit/>
            </a:bodyPr>
            <a:lstStyle/>
            <a:p>
              <a:pPr marL="0" marR="0" lvl="0" indent="0" algn="l" defTabSz="609570" rtl="0" eaLnBrk="1" fontAlgn="base" latinLnBrk="0" hangingPunct="1">
                <a:lnSpc>
                  <a:spcPct val="110000"/>
                </a:lnSpc>
                <a:spcBef>
                  <a:spcPct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67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iscoSansTT Light" panose="020B0503020201020303" pitchFamily="34" charset="0"/>
                  <a:ea typeface="ＭＳ Ｐゴシック" charset="0"/>
                  <a:cs typeface="CiscoSansTT Light" panose="020B0503020201020303" pitchFamily="34" charset="0"/>
                </a:rPr>
                <a:t>x4</a:t>
              </a:r>
            </a:p>
          </p:txBody>
        </p:sp>
        <p:sp>
          <p:nvSpPr>
            <p:cNvPr id="505" name="TextBox 504">
              <a:extLst>
                <a:ext uri="{FF2B5EF4-FFF2-40B4-BE49-F238E27FC236}">
                  <a16:creationId xmlns:a16="http://schemas.microsoft.com/office/drawing/2014/main" id="{CCCE5A9D-8604-42F2-961F-736797A02F1F}"/>
                </a:ext>
              </a:extLst>
            </p:cNvPr>
            <p:cNvSpPr txBox="1"/>
            <p:nvPr/>
          </p:nvSpPr>
          <p:spPr>
            <a:xfrm>
              <a:off x="3948993" y="1155415"/>
              <a:ext cx="164495" cy="156141"/>
            </a:xfrm>
            <a:prstGeom prst="rect">
              <a:avLst/>
            </a:prstGeom>
            <a:noFill/>
          </p:spPr>
          <p:txBody>
            <a:bodyPr wrap="none" lIns="0" tIns="0" rIns="0" bIns="0" rtlCol="0">
              <a:noAutofit/>
            </a:bodyPr>
            <a:lstStyle/>
            <a:p>
              <a:pPr marL="0" marR="0" lvl="0" indent="0" algn="l" defTabSz="609570" rtl="0" eaLnBrk="1" fontAlgn="base" latinLnBrk="0" hangingPunct="1">
                <a:lnSpc>
                  <a:spcPct val="110000"/>
                </a:lnSpc>
                <a:spcBef>
                  <a:spcPct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67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iscoSansTT Light" panose="020B0503020201020303" pitchFamily="34" charset="0"/>
                  <a:ea typeface="ＭＳ Ｐゴシック" charset="0"/>
                  <a:cs typeface="CiscoSansTT Light" panose="020B0503020201020303" pitchFamily="34" charset="0"/>
                </a:rPr>
                <a:t>x11</a:t>
              </a:r>
            </a:p>
          </p:txBody>
        </p:sp>
        <p:sp>
          <p:nvSpPr>
            <p:cNvPr id="506" name="TextBox 505">
              <a:extLst>
                <a:ext uri="{FF2B5EF4-FFF2-40B4-BE49-F238E27FC236}">
                  <a16:creationId xmlns:a16="http://schemas.microsoft.com/office/drawing/2014/main" id="{657EFB92-0E67-41BF-AE6F-462315AFCCB9}"/>
                </a:ext>
              </a:extLst>
            </p:cNvPr>
            <p:cNvSpPr txBox="1"/>
            <p:nvPr/>
          </p:nvSpPr>
          <p:spPr>
            <a:xfrm>
              <a:off x="4346717" y="1373128"/>
              <a:ext cx="164495" cy="156141"/>
            </a:xfrm>
            <a:prstGeom prst="rect">
              <a:avLst/>
            </a:prstGeom>
            <a:noFill/>
          </p:spPr>
          <p:txBody>
            <a:bodyPr wrap="none" lIns="0" tIns="0" rIns="0" bIns="0" rtlCol="0">
              <a:noAutofit/>
            </a:bodyPr>
            <a:lstStyle/>
            <a:p>
              <a:pPr marL="0" marR="0" lvl="0" indent="0" algn="l" defTabSz="609570" rtl="0" eaLnBrk="1" fontAlgn="base" latinLnBrk="0" hangingPunct="1">
                <a:lnSpc>
                  <a:spcPct val="110000"/>
                </a:lnSpc>
                <a:spcBef>
                  <a:spcPct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67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iscoSansTT Light" panose="020B0503020201020303" pitchFamily="34" charset="0"/>
                <a:ea typeface="ＭＳ Ｐゴシック" charset="0"/>
                <a:cs typeface="CiscoSansTT Light" panose="020B0503020201020303" pitchFamily="34" charset="0"/>
              </a:endParaRPr>
            </a:p>
          </p:txBody>
        </p:sp>
        <p:sp>
          <p:nvSpPr>
            <p:cNvPr id="507" name="TextBox 506">
              <a:extLst>
                <a:ext uri="{FF2B5EF4-FFF2-40B4-BE49-F238E27FC236}">
                  <a16:creationId xmlns:a16="http://schemas.microsoft.com/office/drawing/2014/main" id="{C9B59E1F-80D3-4D0D-BC48-D03FB6F99828}"/>
                </a:ext>
              </a:extLst>
            </p:cNvPr>
            <p:cNvSpPr txBox="1"/>
            <p:nvPr/>
          </p:nvSpPr>
          <p:spPr>
            <a:xfrm>
              <a:off x="4347015" y="1373128"/>
              <a:ext cx="164495" cy="156141"/>
            </a:xfrm>
            <a:prstGeom prst="rect">
              <a:avLst/>
            </a:prstGeom>
            <a:noFill/>
          </p:spPr>
          <p:txBody>
            <a:bodyPr wrap="none" lIns="0" tIns="0" rIns="0" bIns="0" rtlCol="0">
              <a:noAutofit/>
            </a:bodyPr>
            <a:lstStyle/>
            <a:p>
              <a:pPr marL="0" marR="0" lvl="0" indent="0" algn="l" defTabSz="609570" rtl="0" eaLnBrk="1" fontAlgn="base" latinLnBrk="0" hangingPunct="1">
                <a:lnSpc>
                  <a:spcPct val="110000"/>
                </a:lnSpc>
                <a:spcBef>
                  <a:spcPct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67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iscoSansTT Light" panose="020B0503020201020303" pitchFamily="34" charset="0"/>
                  <a:ea typeface="ＭＳ Ｐゴシック" charset="0"/>
                  <a:cs typeface="CiscoSansTT Light" panose="020B0503020201020303" pitchFamily="34" charset="0"/>
                </a:rPr>
                <a:t>x4</a:t>
              </a:r>
            </a:p>
          </p:txBody>
        </p:sp>
        <p:sp>
          <p:nvSpPr>
            <p:cNvPr id="522" name="TextBox 521">
              <a:extLst>
                <a:ext uri="{FF2B5EF4-FFF2-40B4-BE49-F238E27FC236}">
                  <a16:creationId xmlns:a16="http://schemas.microsoft.com/office/drawing/2014/main" id="{7184307D-5DC2-41B7-88A0-B18E3CE83930}"/>
                </a:ext>
              </a:extLst>
            </p:cNvPr>
            <p:cNvSpPr txBox="1"/>
            <p:nvPr/>
          </p:nvSpPr>
          <p:spPr>
            <a:xfrm>
              <a:off x="3541994" y="1373128"/>
              <a:ext cx="164495" cy="156141"/>
            </a:xfrm>
            <a:prstGeom prst="rect">
              <a:avLst/>
            </a:prstGeom>
            <a:noFill/>
          </p:spPr>
          <p:txBody>
            <a:bodyPr wrap="none" lIns="0" tIns="0" rIns="0" bIns="0" rtlCol="0">
              <a:noAutofit/>
            </a:bodyPr>
            <a:lstStyle/>
            <a:p>
              <a:pPr marL="0" marR="0" lvl="0" indent="0" algn="l" defTabSz="609570" rtl="0" eaLnBrk="1" fontAlgn="base" latinLnBrk="0" hangingPunct="1">
                <a:lnSpc>
                  <a:spcPct val="110000"/>
                </a:lnSpc>
                <a:spcBef>
                  <a:spcPct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67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iscoSansTT Light" panose="020B0503020201020303" pitchFamily="34" charset="0"/>
                  <a:ea typeface="ＭＳ Ｐゴシック" charset="0"/>
                  <a:cs typeface="CiscoSansTT Light" panose="020B0503020201020303" pitchFamily="34" charset="0"/>
                </a:rPr>
                <a:t>x1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965324075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70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12">
            <a:extLst>
              <a:ext uri="{FF2B5EF4-FFF2-40B4-BE49-F238E27FC236}">
                <a16:creationId xmlns:a16="http://schemas.microsoft.com/office/drawing/2014/main" id="{3192358C-9B2D-434A-B542-943B7698F53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667" y="582613"/>
            <a:ext cx="10752667" cy="905874"/>
          </a:xfrm>
        </p:spPr>
        <p:txBody>
          <a:bodyPr/>
          <a:lstStyle/>
          <a:p>
            <a:r>
              <a:rPr lang="en-US"/>
              <a:t>Operational Insights Review</a:t>
            </a:r>
            <a:br>
              <a:rPr lang="en-US"/>
            </a:br>
            <a:r>
              <a:rPr lang="en-US" sz="2400">
                <a:solidFill>
                  <a:schemeClr val="accent4"/>
                </a:solidFill>
              </a:rPr>
              <a:t>Capturing Value</a:t>
            </a:r>
          </a:p>
        </p:txBody>
      </p:sp>
      <p:sp>
        <p:nvSpPr>
          <p:cNvPr id="88" name="TextBox 87">
            <a:extLst>
              <a:ext uri="{FF2B5EF4-FFF2-40B4-BE49-F238E27FC236}">
                <a16:creationId xmlns:a16="http://schemas.microsoft.com/office/drawing/2014/main" id="{A158922C-E8B4-4E5D-9CCE-DA7593592302}"/>
              </a:ext>
            </a:extLst>
          </p:cNvPr>
          <p:cNvSpPr txBox="1"/>
          <p:nvPr/>
        </p:nvSpPr>
        <p:spPr>
          <a:xfrm>
            <a:off x="3509197" y="3942787"/>
            <a:ext cx="2494845" cy="196481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171450" marR="0" lvl="0" indent="-171450" algn="l" defTabSz="609570" rtl="0" eaLnBrk="1" fontAlgn="base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14284A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14284A"/>
                </a:solidFill>
                <a:effectLst/>
                <a:uLnTx/>
                <a:uFillTx/>
                <a:latin typeface="CiscoSansTT ExtraLight"/>
                <a:ea typeface="ＭＳ Ｐゴシック" charset="0"/>
                <a:cs typeface="Arial"/>
                <a:sym typeface="Arial"/>
              </a:rPr>
              <a:t>Data correlation with </a:t>
            </a:r>
            <a:b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14284A"/>
                </a:solidFill>
                <a:effectLst/>
                <a:uLnTx/>
                <a:uFillTx/>
                <a:latin typeface="CiscoSansTT ExtraLight"/>
                <a:ea typeface="ＭＳ Ｐゴシック" charset="0"/>
                <a:cs typeface="Arial"/>
                <a:sym typeface="Arial"/>
              </a:rPr>
            </a:b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14284A"/>
                </a:solidFill>
                <a:effectLst/>
                <a:uLnTx/>
                <a:uFillTx/>
                <a:latin typeface="CiscoSansTT ExtraLight"/>
                <a:ea typeface="ＭＳ Ｐゴシック" charset="0"/>
                <a:cs typeface="Arial"/>
                <a:sym typeface="Arial"/>
              </a:rPr>
              <a:t>Cisco® Intellectual capital</a:t>
            </a:r>
          </a:p>
          <a:p>
            <a:pPr marL="171450" marR="0" lvl="0" indent="-171450" algn="l" defTabSz="609570" rtl="0" eaLnBrk="1" fontAlgn="base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14284A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14284A"/>
                </a:solidFill>
                <a:effectLst/>
                <a:uLnTx/>
                <a:uFillTx/>
                <a:latin typeface="CiscoSansTT ExtraLight"/>
                <a:ea typeface="ＭＳ Ｐゴシック" charset="0"/>
                <a:cs typeface="Arial"/>
                <a:sym typeface="Arial"/>
              </a:rPr>
              <a:t>Software Analysis </a:t>
            </a:r>
            <a:b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14284A"/>
                </a:solidFill>
                <a:effectLst/>
                <a:uLnTx/>
                <a:uFillTx/>
                <a:latin typeface="CiscoSansTT ExtraLight"/>
                <a:ea typeface="ＭＳ Ｐゴシック" charset="0"/>
                <a:cs typeface="Arial"/>
                <a:sym typeface="Arial"/>
              </a:rPr>
            </a:b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14284A"/>
                </a:solidFill>
                <a:effectLst/>
                <a:uLnTx/>
                <a:uFillTx/>
                <a:latin typeface="CiscoSansTT ExtraLight"/>
                <a:ea typeface="ＭＳ Ｐゴシック" charset="0"/>
                <a:cs typeface="Arial"/>
                <a:sym typeface="Arial"/>
              </a:rPr>
              <a:t>&amp; Release Standards </a:t>
            </a:r>
          </a:p>
          <a:p>
            <a:pPr marL="171450" marR="0" lvl="0" indent="-171450" algn="l" defTabSz="609570" rtl="0" eaLnBrk="1" fontAlgn="base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14284A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14284A"/>
                </a:solidFill>
                <a:effectLst/>
                <a:uLnTx/>
                <a:uFillTx/>
                <a:latin typeface="CiscoSansTT ExtraLight"/>
                <a:ea typeface="ＭＳ Ｐゴシック" charset="0"/>
                <a:cs typeface="Arial"/>
                <a:sym typeface="Arial"/>
              </a:rPr>
              <a:t>Configuration Best Practices</a:t>
            </a:r>
          </a:p>
          <a:p>
            <a:pPr marL="171450" marR="0" lvl="0" indent="-171450" algn="l" defTabSz="609570" rtl="0" eaLnBrk="1" fontAlgn="base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14284A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14284A"/>
                </a:solidFill>
                <a:effectLst/>
                <a:uLnTx/>
                <a:uFillTx/>
                <a:latin typeface="CiscoSansTT ExtraLight"/>
                <a:ea typeface="ＭＳ Ｐゴシック" charset="0"/>
                <a:cs typeface="Arial"/>
                <a:sym typeface="Arial"/>
              </a:rPr>
              <a:t>Field Notices and Syslog Analysis</a:t>
            </a:r>
          </a:p>
          <a:p>
            <a:pPr marL="171450" marR="0" lvl="0" indent="-171450" algn="l" defTabSz="609570" rtl="0" eaLnBrk="1" fontAlgn="base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14284A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14284A"/>
                </a:solidFill>
                <a:effectLst/>
                <a:uLnTx/>
                <a:uFillTx/>
                <a:latin typeface="CiscoSansTT ExtraLight"/>
                <a:ea typeface="ＭＳ Ｐゴシック" charset="0"/>
                <a:cs typeface="Arial"/>
                <a:sym typeface="Arial"/>
              </a:rPr>
              <a:t>Hardware Lifecycle Milestones</a:t>
            </a:r>
          </a:p>
          <a:p>
            <a:pPr marL="171450" marR="0" lvl="0" indent="-171450" algn="l" defTabSz="609570" rtl="0" eaLnBrk="1" fontAlgn="base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14284A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14284A"/>
                </a:solidFill>
                <a:effectLst/>
                <a:uLnTx/>
                <a:uFillTx/>
                <a:latin typeface="CiscoSansTT ExtraLight"/>
                <a:ea typeface="ＭＳ Ｐゴシック" charset="0"/>
                <a:cs typeface="Arial"/>
                <a:sym typeface="Arial"/>
              </a:rPr>
              <a:t>Product Security Advisory Impact</a:t>
            </a:r>
          </a:p>
          <a:p>
            <a:pPr marL="171450" marR="0" lvl="0" indent="-171450" algn="l" defTabSz="609570" rtl="0" eaLnBrk="1" fontAlgn="base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14284A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14284A"/>
                </a:solidFill>
                <a:effectLst/>
                <a:uLnTx/>
                <a:uFillTx/>
                <a:latin typeface="CiscoSansTT ExtraLight"/>
                <a:ea typeface="ＭＳ Ｐゴシック" charset="0"/>
                <a:cs typeface="Arial"/>
                <a:sym typeface="Arial"/>
              </a:rPr>
              <a:t>Risk Mitigation</a:t>
            </a:r>
          </a:p>
        </p:txBody>
      </p:sp>
      <p:sp>
        <p:nvSpPr>
          <p:cNvPr id="92" name="TextBox 91">
            <a:extLst>
              <a:ext uri="{FF2B5EF4-FFF2-40B4-BE49-F238E27FC236}">
                <a16:creationId xmlns:a16="http://schemas.microsoft.com/office/drawing/2014/main" id="{099F5C05-27CE-4BB2-A2F1-3E4AA45A2B7B}"/>
              </a:ext>
            </a:extLst>
          </p:cNvPr>
          <p:cNvSpPr txBox="1"/>
          <p:nvPr/>
        </p:nvSpPr>
        <p:spPr>
          <a:xfrm>
            <a:off x="820765" y="3942787"/>
            <a:ext cx="2894350" cy="126738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171450" marR="0" lvl="0" indent="-171450" algn="l" defTabSz="609570" rtl="0" eaLnBrk="1" fontAlgn="base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14284A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14284A"/>
                </a:solidFill>
                <a:effectLst/>
                <a:uLnTx/>
                <a:uFillTx/>
                <a:latin typeface="CiscoSansTT ExtraLight"/>
                <a:ea typeface="ＭＳ Ｐゴシック" charset="0"/>
                <a:cs typeface="Arial"/>
                <a:sym typeface="Arial"/>
              </a:rPr>
              <a:t>Device configurations</a:t>
            </a:r>
          </a:p>
          <a:p>
            <a:pPr marL="171450" marR="0" lvl="0" indent="-171450" algn="l" defTabSz="609570" rtl="0" eaLnBrk="1" fontAlgn="base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14284A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14284A"/>
                </a:solidFill>
                <a:effectLst/>
                <a:uLnTx/>
                <a:uFillTx/>
                <a:latin typeface="CiscoSansTT ExtraLight"/>
                <a:ea typeface="ＭＳ Ｐゴシック" charset="0"/>
                <a:cs typeface="Arial"/>
                <a:sym typeface="Arial"/>
              </a:rPr>
              <a:t>Software platform information</a:t>
            </a:r>
          </a:p>
          <a:p>
            <a:pPr marL="171450" marR="0" lvl="0" indent="-171450" algn="l" defTabSz="609570" rtl="0" eaLnBrk="1" fontAlgn="base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14284A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14284A"/>
                </a:solidFill>
                <a:effectLst/>
                <a:uLnTx/>
                <a:uFillTx/>
                <a:latin typeface="CiscoSansTT ExtraLight"/>
                <a:ea typeface="ＭＳ Ｐゴシック" charset="0"/>
                <a:cs typeface="Arial"/>
                <a:sym typeface="Arial"/>
              </a:rPr>
              <a:t>Hardware platform information</a:t>
            </a:r>
          </a:p>
          <a:p>
            <a:pPr marL="171450" marR="0" lvl="0" indent="-171450" algn="l" defTabSz="609570" rtl="0" eaLnBrk="1" fontAlgn="base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14284A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14284A"/>
                </a:solidFill>
                <a:effectLst/>
                <a:uLnTx/>
                <a:uFillTx/>
                <a:latin typeface="CiscoSansTT ExtraLight"/>
                <a:ea typeface="ＭＳ Ｐゴシック" charset="0"/>
                <a:cs typeface="Arial"/>
                <a:sym typeface="Arial"/>
              </a:rPr>
              <a:t>Syslogs</a:t>
            </a:r>
          </a:p>
          <a:p>
            <a:pPr marL="171450" marR="0" lvl="0" indent="-171450" algn="l" defTabSz="609570" rtl="0" eaLnBrk="1" fontAlgn="base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14284A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14284A"/>
                </a:solidFill>
                <a:effectLst/>
                <a:uLnTx/>
                <a:uFillTx/>
                <a:latin typeface="CiscoSansTT ExtraLight"/>
                <a:ea typeface="ＭＳ Ｐゴシック" charset="0"/>
                <a:cs typeface="Arial"/>
                <a:sym typeface="Arial"/>
              </a:rPr>
              <a:t>Risk and vulnerabilities</a:t>
            </a:r>
          </a:p>
          <a:p>
            <a:pPr marL="0" marR="0" lvl="0" indent="0" algn="l" defTabSz="609570" rtl="0" eaLnBrk="1" fontAlgn="base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14284A"/>
              </a:buClr>
              <a:buSzPct val="100000"/>
              <a:buFont typeface="Arial"/>
              <a:buNone/>
              <a:tabLst/>
              <a:defRPr/>
            </a:pPr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srgbClr val="14284A"/>
              </a:solidFill>
              <a:effectLst/>
              <a:uLnTx/>
              <a:uFillTx/>
              <a:latin typeface="CiscoSansTT ExtraLight"/>
              <a:ea typeface="ＭＳ Ｐゴシック" charset="0"/>
              <a:cs typeface="Arial"/>
              <a:sym typeface="Arial"/>
            </a:endParaRPr>
          </a:p>
        </p:txBody>
      </p:sp>
      <p:sp>
        <p:nvSpPr>
          <p:cNvPr id="73" name="Google Shape;1439;p198">
            <a:extLst>
              <a:ext uri="{FF2B5EF4-FFF2-40B4-BE49-F238E27FC236}">
                <a16:creationId xmlns:a16="http://schemas.microsoft.com/office/drawing/2014/main" id="{EAEA8F0B-DC75-46CD-8032-DCCB43DE59B5}"/>
              </a:ext>
            </a:extLst>
          </p:cNvPr>
          <p:cNvSpPr txBox="1"/>
          <p:nvPr/>
        </p:nvSpPr>
        <p:spPr>
          <a:xfrm>
            <a:off x="1195511" y="3131975"/>
            <a:ext cx="1735687" cy="498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ctr" defTabSz="12191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14284A"/>
                </a:solidFill>
                <a:effectLst/>
                <a:uLnTx/>
                <a:uFillTx/>
                <a:latin typeface="CiscoSansTT ExtraLight" panose="020B0303020201020303" pitchFamily="34" charset="0"/>
                <a:ea typeface="ＭＳ Ｐゴシック" charset="0"/>
                <a:cs typeface="CiscoSansTT ExtraLight" panose="020B0303020201020303" pitchFamily="34" charset="0"/>
                <a:sym typeface="Arial"/>
              </a:rPr>
              <a:t>Comprehensive</a:t>
            </a:r>
          </a:p>
          <a:p>
            <a:pPr marL="0" marR="0" lvl="0" indent="0" algn="ctr" defTabSz="12191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14284A"/>
                </a:solidFill>
                <a:effectLst/>
                <a:uLnTx/>
                <a:uFillTx/>
                <a:latin typeface="CiscoSansTT ExtraLight" panose="020B0303020201020303" pitchFamily="34" charset="0"/>
                <a:ea typeface="ＭＳ Ｐゴシック" charset="0"/>
                <a:cs typeface="CiscoSansTT ExtraLight" panose="020B0303020201020303" pitchFamily="34" charset="0"/>
                <a:sym typeface="Arial"/>
              </a:rPr>
              <a:t>data collection</a:t>
            </a:r>
          </a:p>
        </p:txBody>
      </p:sp>
      <p:sp>
        <p:nvSpPr>
          <p:cNvPr id="74" name="Google Shape;1439;p198">
            <a:extLst>
              <a:ext uri="{FF2B5EF4-FFF2-40B4-BE49-F238E27FC236}">
                <a16:creationId xmlns:a16="http://schemas.microsoft.com/office/drawing/2014/main" id="{70D7BF31-0907-4B4D-BDDF-565D6663F3A1}"/>
              </a:ext>
            </a:extLst>
          </p:cNvPr>
          <p:cNvSpPr txBox="1"/>
          <p:nvPr/>
        </p:nvSpPr>
        <p:spPr>
          <a:xfrm>
            <a:off x="9593491" y="3131975"/>
            <a:ext cx="1070312" cy="498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ctr" defTabSz="12191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14284A"/>
                </a:solidFill>
                <a:effectLst/>
                <a:uLnTx/>
                <a:uFillTx/>
                <a:latin typeface="CiscoSansTT ExtraLight" panose="020B0303020201020303" pitchFamily="34" charset="0"/>
                <a:ea typeface="ＭＳ Ｐゴシック" charset="0"/>
                <a:cs typeface="CiscoSansTT ExtraLight" panose="020B0303020201020303" pitchFamily="34" charset="0"/>
                <a:sym typeface="Arial"/>
              </a:rPr>
              <a:t>Results</a:t>
            </a:r>
          </a:p>
        </p:txBody>
      </p:sp>
      <p:sp>
        <p:nvSpPr>
          <p:cNvPr id="75" name="Google Shape;1439;p198">
            <a:extLst>
              <a:ext uri="{FF2B5EF4-FFF2-40B4-BE49-F238E27FC236}">
                <a16:creationId xmlns:a16="http://schemas.microsoft.com/office/drawing/2014/main" id="{5EF9BAC7-F94E-4F5D-B8EA-A1FE40A90469}"/>
              </a:ext>
            </a:extLst>
          </p:cNvPr>
          <p:cNvSpPr txBox="1"/>
          <p:nvPr/>
        </p:nvSpPr>
        <p:spPr>
          <a:xfrm>
            <a:off x="4121314" y="3131975"/>
            <a:ext cx="1260942" cy="498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ctr" defTabSz="12191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14284A"/>
                </a:solidFill>
                <a:effectLst/>
                <a:uLnTx/>
                <a:uFillTx/>
                <a:latin typeface="CiscoSansTT ExtraLight" panose="020B0303020201020303" pitchFamily="34" charset="0"/>
                <a:ea typeface="ＭＳ Ｐゴシック" charset="0"/>
                <a:cs typeface="CiscoSansTT ExtraLight" panose="020B0303020201020303" pitchFamily="34" charset="0"/>
                <a:sym typeface="Arial"/>
              </a:rPr>
              <a:t>Analytics and </a:t>
            </a:r>
          </a:p>
          <a:p>
            <a:pPr marL="0" marR="0" lvl="0" indent="0" algn="ctr" defTabSz="12191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14284A"/>
                </a:solidFill>
                <a:effectLst/>
                <a:uLnTx/>
                <a:uFillTx/>
                <a:latin typeface="CiscoSansTT ExtraLight" panose="020B0303020201020303" pitchFamily="34" charset="0"/>
                <a:ea typeface="ＭＳ Ｐゴシック" charset="0"/>
                <a:cs typeface="CiscoSansTT ExtraLight" panose="020B0303020201020303" pitchFamily="34" charset="0"/>
                <a:sym typeface="Arial"/>
              </a:rPr>
              <a:t>Insights reports</a:t>
            </a:r>
          </a:p>
        </p:txBody>
      </p:sp>
      <p:sp>
        <p:nvSpPr>
          <p:cNvPr id="76" name="Google Shape;1439;p198">
            <a:extLst>
              <a:ext uri="{FF2B5EF4-FFF2-40B4-BE49-F238E27FC236}">
                <a16:creationId xmlns:a16="http://schemas.microsoft.com/office/drawing/2014/main" id="{CB787DB3-1823-45F7-BF7A-2F2837B57520}"/>
              </a:ext>
            </a:extLst>
          </p:cNvPr>
          <p:cNvSpPr txBox="1"/>
          <p:nvPr/>
        </p:nvSpPr>
        <p:spPr>
          <a:xfrm>
            <a:off x="6789466" y="3131975"/>
            <a:ext cx="1301498" cy="498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ctr" defTabSz="12191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14284A"/>
                </a:solidFill>
                <a:effectLst/>
                <a:uLnTx/>
                <a:uFillTx/>
                <a:latin typeface="CiscoSansTT ExtraLight" panose="020B0303020201020303" pitchFamily="34" charset="0"/>
                <a:ea typeface="ＭＳ Ｐゴシック" charset="0"/>
                <a:cs typeface="CiscoSansTT ExtraLight" panose="020B0303020201020303" pitchFamily="34" charset="0"/>
                <a:sym typeface="Arial"/>
              </a:rPr>
              <a:t>Cisco® consulting</a:t>
            </a:r>
          </a:p>
        </p:txBody>
      </p:sp>
      <p:sp>
        <p:nvSpPr>
          <p:cNvPr id="79" name="Oval 78">
            <a:extLst>
              <a:ext uri="{FF2B5EF4-FFF2-40B4-BE49-F238E27FC236}">
                <a16:creationId xmlns:a16="http://schemas.microsoft.com/office/drawing/2014/main" id="{41653A58-333A-4C67-B733-69EFEA2F10C6}"/>
              </a:ext>
            </a:extLst>
          </p:cNvPr>
          <p:cNvSpPr/>
          <p:nvPr/>
        </p:nvSpPr>
        <p:spPr>
          <a:xfrm>
            <a:off x="1523354" y="2014791"/>
            <a:ext cx="1080000" cy="1080000"/>
          </a:xfrm>
          <a:prstGeom prst="ellipse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095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sp>
        <p:nvSpPr>
          <p:cNvPr id="96" name="Google Shape;1433;p198">
            <a:extLst>
              <a:ext uri="{FF2B5EF4-FFF2-40B4-BE49-F238E27FC236}">
                <a16:creationId xmlns:a16="http://schemas.microsoft.com/office/drawing/2014/main" id="{C5749284-D5C4-42C2-8F19-96010C59A27E}"/>
              </a:ext>
            </a:extLst>
          </p:cNvPr>
          <p:cNvSpPr/>
          <p:nvPr/>
        </p:nvSpPr>
        <p:spPr>
          <a:xfrm>
            <a:off x="1595354" y="2088897"/>
            <a:ext cx="934661" cy="933894"/>
          </a:xfrm>
          <a:prstGeom prst="ellipse">
            <a:avLst/>
          </a:prstGeom>
          <a:noFill/>
          <a:ln w="50800" cap="flat" cmpd="sng">
            <a:solidFill>
              <a:schemeClr val="tx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60933" rIns="121900" bIns="60933" anchor="t" anchorCtr="0">
            <a:noAutofit/>
          </a:bodyPr>
          <a:lstStyle/>
          <a:p>
            <a:pPr marL="0" marR="0" lvl="0" indent="0" algn="l" defTabSz="12191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Tx/>
              <a:buNone/>
              <a:tabLst/>
              <a:defRPr/>
            </a:pPr>
            <a:endParaRPr kumimoji="0" sz="2400" b="0" i="0" u="none" strike="noStrike" kern="0" cap="none" spc="0" normalizeH="0" baseline="0" noProof="0">
              <a:ln>
                <a:noFill/>
              </a:ln>
              <a:solidFill>
                <a:srgbClr val="282828"/>
              </a:solidFill>
              <a:effectLst/>
              <a:uLnTx/>
              <a:uFillTx/>
              <a:latin typeface="CiscoSansTT ExtraLight" panose="020B0303020201020303" pitchFamily="34" charset="0"/>
              <a:ea typeface="ＭＳ Ｐゴシック" charset="0"/>
              <a:cs typeface="CiscoSansTT ExtraLight" panose="020B0303020201020303" pitchFamily="34" charset="0"/>
              <a:sym typeface="Arial"/>
            </a:endParaRPr>
          </a:p>
        </p:txBody>
      </p:sp>
      <p:sp>
        <p:nvSpPr>
          <p:cNvPr id="81" name="Oval 80">
            <a:extLst>
              <a:ext uri="{FF2B5EF4-FFF2-40B4-BE49-F238E27FC236}">
                <a16:creationId xmlns:a16="http://schemas.microsoft.com/office/drawing/2014/main" id="{0A26254B-A3F6-4979-B23A-14BB06D0AAC9}"/>
              </a:ext>
            </a:extLst>
          </p:cNvPr>
          <p:cNvSpPr/>
          <p:nvPr/>
        </p:nvSpPr>
        <p:spPr>
          <a:xfrm>
            <a:off x="4211785" y="2014791"/>
            <a:ext cx="1080000" cy="1080000"/>
          </a:xfrm>
          <a:prstGeom prst="ellipse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095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sp>
        <p:nvSpPr>
          <p:cNvPr id="106" name="Google Shape;1433;p198">
            <a:extLst>
              <a:ext uri="{FF2B5EF4-FFF2-40B4-BE49-F238E27FC236}">
                <a16:creationId xmlns:a16="http://schemas.microsoft.com/office/drawing/2014/main" id="{AF064714-9EBB-485D-B815-B6C2A9FF8D58}"/>
              </a:ext>
            </a:extLst>
          </p:cNvPr>
          <p:cNvSpPr/>
          <p:nvPr/>
        </p:nvSpPr>
        <p:spPr>
          <a:xfrm>
            <a:off x="4283785" y="2088897"/>
            <a:ext cx="934661" cy="933894"/>
          </a:xfrm>
          <a:prstGeom prst="ellipse">
            <a:avLst/>
          </a:prstGeom>
          <a:noFill/>
          <a:ln w="50800" cap="flat" cmpd="sng">
            <a:solidFill>
              <a:schemeClr val="tx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60933" rIns="121900" bIns="60933" anchor="t" anchorCtr="0">
            <a:noAutofit/>
          </a:bodyPr>
          <a:lstStyle/>
          <a:p>
            <a:pPr marL="0" marR="0" lvl="0" indent="0" algn="l" defTabSz="12191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Tx/>
              <a:buNone/>
              <a:tabLst/>
              <a:defRPr/>
            </a:pPr>
            <a:endParaRPr kumimoji="0" sz="2400" b="0" i="0" u="none" strike="noStrike" kern="0" cap="none" spc="0" normalizeH="0" baseline="0" noProof="0">
              <a:ln>
                <a:noFill/>
              </a:ln>
              <a:solidFill>
                <a:srgbClr val="282828"/>
              </a:solidFill>
              <a:effectLst/>
              <a:uLnTx/>
              <a:uFillTx/>
              <a:latin typeface="CiscoSansTT ExtraLight" panose="020B0303020201020303" pitchFamily="34" charset="0"/>
              <a:ea typeface="ＭＳ Ｐゴシック" charset="0"/>
              <a:cs typeface="CiscoSansTT ExtraLight" panose="020B0303020201020303" pitchFamily="34" charset="0"/>
              <a:sym typeface="Arial"/>
            </a:endParaRPr>
          </a:p>
        </p:txBody>
      </p:sp>
      <p:sp>
        <p:nvSpPr>
          <p:cNvPr id="82" name="Oval 81">
            <a:extLst>
              <a:ext uri="{FF2B5EF4-FFF2-40B4-BE49-F238E27FC236}">
                <a16:creationId xmlns:a16="http://schemas.microsoft.com/office/drawing/2014/main" id="{78C0FE68-5B67-4BB5-97A1-26F97D2147DE}"/>
              </a:ext>
            </a:extLst>
          </p:cNvPr>
          <p:cNvSpPr/>
          <p:nvPr/>
        </p:nvSpPr>
        <p:spPr>
          <a:xfrm>
            <a:off x="6900215" y="2014791"/>
            <a:ext cx="1080000" cy="1080000"/>
          </a:xfrm>
          <a:prstGeom prst="ellipse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095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sp>
        <p:nvSpPr>
          <p:cNvPr id="113" name="Google Shape;1433;p198">
            <a:extLst>
              <a:ext uri="{FF2B5EF4-FFF2-40B4-BE49-F238E27FC236}">
                <a16:creationId xmlns:a16="http://schemas.microsoft.com/office/drawing/2014/main" id="{2A7B0A09-056B-44B7-AC6A-1C22CE1CEB52}"/>
              </a:ext>
            </a:extLst>
          </p:cNvPr>
          <p:cNvSpPr/>
          <p:nvPr/>
        </p:nvSpPr>
        <p:spPr>
          <a:xfrm>
            <a:off x="6972215" y="2088897"/>
            <a:ext cx="934661" cy="933894"/>
          </a:xfrm>
          <a:prstGeom prst="ellipse">
            <a:avLst/>
          </a:prstGeom>
          <a:noFill/>
          <a:ln w="50800" cap="flat" cmpd="sng">
            <a:solidFill>
              <a:schemeClr val="tx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60933" rIns="121900" bIns="60933" anchor="t" anchorCtr="0">
            <a:noAutofit/>
          </a:bodyPr>
          <a:lstStyle/>
          <a:p>
            <a:pPr marL="0" marR="0" lvl="0" indent="0" algn="l" defTabSz="12191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Tx/>
              <a:buNone/>
              <a:tabLst/>
              <a:defRPr/>
            </a:pPr>
            <a:endParaRPr kumimoji="0" sz="2400" b="0" i="0" u="none" strike="noStrike" kern="0" cap="none" spc="0" normalizeH="0" baseline="0" noProof="0">
              <a:ln>
                <a:noFill/>
              </a:ln>
              <a:solidFill>
                <a:srgbClr val="282828"/>
              </a:solidFill>
              <a:effectLst/>
              <a:uLnTx/>
              <a:uFillTx/>
              <a:latin typeface="CiscoSansTT ExtraLight" panose="020B0303020201020303" pitchFamily="34" charset="0"/>
              <a:ea typeface="ＭＳ Ｐゴシック" charset="0"/>
              <a:cs typeface="CiscoSansTT ExtraLight" panose="020B0303020201020303" pitchFamily="34" charset="0"/>
              <a:sym typeface="Arial"/>
            </a:endParaRPr>
          </a:p>
        </p:txBody>
      </p:sp>
      <p:sp>
        <p:nvSpPr>
          <p:cNvPr id="80" name="Oval 79">
            <a:extLst>
              <a:ext uri="{FF2B5EF4-FFF2-40B4-BE49-F238E27FC236}">
                <a16:creationId xmlns:a16="http://schemas.microsoft.com/office/drawing/2014/main" id="{C2CE84A5-F5C6-4DDC-9F13-04092FF8C3E2}"/>
              </a:ext>
            </a:extLst>
          </p:cNvPr>
          <p:cNvSpPr/>
          <p:nvPr/>
        </p:nvSpPr>
        <p:spPr>
          <a:xfrm>
            <a:off x="9588647" y="2014791"/>
            <a:ext cx="1080000" cy="1080000"/>
          </a:xfrm>
          <a:prstGeom prst="ellipse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095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sp>
        <p:nvSpPr>
          <p:cNvPr id="103" name="Google Shape;1433;p198">
            <a:extLst>
              <a:ext uri="{FF2B5EF4-FFF2-40B4-BE49-F238E27FC236}">
                <a16:creationId xmlns:a16="http://schemas.microsoft.com/office/drawing/2014/main" id="{3ECBC0BD-E0F8-4F56-8892-055AD2422BCB}"/>
              </a:ext>
            </a:extLst>
          </p:cNvPr>
          <p:cNvSpPr/>
          <p:nvPr/>
        </p:nvSpPr>
        <p:spPr>
          <a:xfrm>
            <a:off x="9660647" y="2088897"/>
            <a:ext cx="934661" cy="933894"/>
          </a:xfrm>
          <a:prstGeom prst="ellipse">
            <a:avLst/>
          </a:prstGeom>
          <a:noFill/>
          <a:ln w="50800" cap="flat" cmpd="sng">
            <a:solidFill>
              <a:schemeClr val="tx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121900" tIns="60933" rIns="121900" bIns="60933" anchor="t" anchorCtr="0">
            <a:noAutofit/>
          </a:bodyPr>
          <a:lstStyle/>
          <a:p>
            <a:pPr marL="0" marR="0" lvl="0" indent="0" algn="l" defTabSz="121911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Tx/>
              <a:buNone/>
              <a:tabLst/>
              <a:defRPr/>
            </a:pPr>
            <a:endParaRPr kumimoji="0" sz="2400" b="0" i="0" u="none" strike="noStrike" kern="0" cap="none" spc="0" normalizeH="0" baseline="0" noProof="0">
              <a:ln>
                <a:noFill/>
              </a:ln>
              <a:solidFill>
                <a:srgbClr val="282828"/>
              </a:solidFill>
              <a:effectLst/>
              <a:uLnTx/>
              <a:uFillTx/>
              <a:latin typeface="CiscoSansTT ExtraLight" panose="020B0303020201020303" pitchFamily="34" charset="0"/>
              <a:ea typeface="ＭＳ Ｐゴシック" charset="0"/>
              <a:cs typeface="CiscoSansTT ExtraLight" panose="020B0303020201020303" pitchFamily="34" charset="0"/>
              <a:sym typeface="Arial"/>
            </a:endParaRPr>
          </a:p>
        </p:txBody>
      </p:sp>
      <p:sp>
        <p:nvSpPr>
          <p:cNvPr id="175" name="TextBox 174">
            <a:extLst>
              <a:ext uri="{FF2B5EF4-FFF2-40B4-BE49-F238E27FC236}">
                <a16:creationId xmlns:a16="http://schemas.microsoft.com/office/drawing/2014/main" id="{CB178CC7-0781-4FC9-9CF9-8A71549AD5E3}"/>
              </a:ext>
            </a:extLst>
          </p:cNvPr>
          <p:cNvSpPr txBox="1"/>
          <p:nvPr/>
        </p:nvSpPr>
        <p:spPr>
          <a:xfrm>
            <a:off x="6197629" y="3942787"/>
            <a:ext cx="2494845" cy="78478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171450" marR="0" lvl="0" indent="-171450" algn="l" defTabSz="609570" rtl="0" eaLnBrk="1" fontAlgn="base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14284A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14284A"/>
                </a:solidFill>
                <a:effectLst/>
                <a:uLnTx/>
                <a:uFillTx/>
                <a:latin typeface="CiscoSansTT ExtraLight"/>
                <a:ea typeface="ＭＳ Ｐゴシック" charset="0"/>
                <a:cs typeface="Arial"/>
                <a:sym typeface="Arial"/>
              </a:rPr>
              <a:t>Consulting Engineer recommendations and prioritized actionable insights</a:t>
            </a:r>
          </a:p>
        </p:txBody>
      </p:sp>
      <p:sp>
        <p:nvSpPr>
          <p:cNvPr id="176" name="TextBox 175">
            <a:extLst>
              <a:ext uri="{FF2B5EF4-FFF2-40B4-BE49-F238E27FC236}">
                <a16:creationId xmlns:a16="http://schemas.microsoft.com/office/drawing/2014/main" id="{0F9FA19D-BF5B-4B3D-826F-04CEBA89DE9D}"/>
              </a:ext>
            </a:extLst>
          </p:cNvPr>
          <p:cNvSpPr txBox="1"/>
          <p:nvPr/>
        </p:nvSpPr>
        <p:spPr>
          <a:xfrm>
            <a:off x="8886061" y="3942787"/>
            <a:ext cx="2494845" cy="196481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171450" marR="0" lvl="0" indent="-171450" algn="l" defTabSz="609570" rtl="0" eaLnBrk="1" fontAlgn="base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14284A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14284A"/>
                </a:solidFill>
                <a:effectLst/>
                <a:uLnTx/>
                <a:uFillTx/>
                <a:latin typeface="CiscoSansTT ExtraLight"/>
                <a:ea typeface="ＭＳ Ｐゴシック" charset="0"/>
                <a:cs typeface="Arial"/>
                <a:sym typeface="Arial"/>
              </a:rPr>
              <a:t>Better Software </a:t>
            </a:r>
            <a:b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14284A"/>
                </a:solidFill>
                <a:effectLst/>
                <a:uLnTx/>
                <a:uFillTx/>
                <a:latin typeface="CiscoSansTT ExtraLight"/>
                <a:ea typeface="ＭＳ Ｐゴシック" charset="0"/>
                <a:cs typeface="Arial"/>
                <a:sym typeface="Arial"/>
              </a:rPr>
            </a:b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14284A"/>
                </a:solidFill>
                <a:effectLst/>
                <a:uLnTx/>
                <a:uFillTx/>
                <a:latin typeface="CiscoSansTT ExtraLight"/>
                <a:ea typeface="ＭＳ Ｐゴシック" charset="0"/>
                <a:cs typeface="Arial"/>
                <a:sym typeface="Arial"/>
              </a:rPr>
              <a:t>Management Strategy</a:t>
            </a:r>
          </a:p>
          <a:p>
            <a:pPr marL="171450" marR="0" lvl="0" indent="-171450" algn="l" defTabSz="609570" rtl="0" eaLnBrk="1" fontAlgn="base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14284A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14284A"/>
                </a:solidFill>
                <a:effectLst/>
                <a:uLnTx/>
                <a:uFillTx/>
                <a:latin typeface="CiscoSansTT ExtraLight"/>
                <a:ea typeface="ＭＳ Ｐゴシック" charset="0"/>
                <a:cs typeface="Arial"/>
                <a:sym typeface="Arial"/>
              </a:rPr>
              <a:t>Network performance improvements</a:t>
            </a:r>
          </a:p>
          <a:p>
            <a:pPr marL="171450" marR="0" lvl="0" indent="-171450" algn="l" defTabSz="609570" rtl="0" eaLnBrk="1" fontAlgn="base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14284A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14284A"/>
                </a:solidFill>
                <a:effectLst/>
                <a:uLnTx/>
                <a:uFillTx/>
                <a:latin typeface="CiscoSansTT ExtraLight"/>
                <a:ea typeface="ＭＳ Ｐゴシック" charset="0"/>
                <a:cs typeface="Arial"/>
                <a:sym typeface="Arial"/>
              </a:rPr>
              <a:t>Less vulnerabilities </a:t>
            </a:r>
          </a:p>
          <a:p>
            <a:pPr marL="171450" marR="0" lvl="0" indent="-171450" algn="l" defTabSz="609570" rtl="0" eaLnBrk="1" fontAlgn="base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14284A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14284A"/>
                </a:solidFill>
                <a:effectLst/>
                <a:uLnTx/>
                <a:uFillTx/>
                <a:latin typeface="CiscoSansTT ExtraLight"/>
                <a:ea typeface="ＭＳ Ｐゴシック" charset="0"/>
                <a:cs typeface="Arial"/>
                <a:sym typeface="Arial"/>
              </a:rPr>
              <a:t>HW migration plan</a:t>
            </a:r>
          </a:p>
          <a:p>
            <a:pPr marL="171450" marR="0" lvl="0" indent="-171450" algn="l" defTabSz="609570" rtl="0" eaLnBrk="1" fontAlgn="base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14284A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14284A"/>
                </a:solidFill>
                <a:effectLst/>
                <a:uLnTx/>
                <a:uFillTx/>
                <a:latin typeface="CiscoSansTT ExtraLight"/>
                <a:ea typeface="ＭＳ Ｐゴシック" charset="0"/>
                <a:cs typeface="Arial"/>
                <a:sym typeface="Arial"/>
              </a:rPr>
              <a:t>Improved network </a:t>
            </a:r>
            <a:b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14284A"/>
                </a:solidFill>
                <a:effectLst/>
                <a:uLnTx/>
                <a:uFillTx/>
                <a:latin typeface="CiscoSansTT ExtraLight"/>
                <a:ea typeface="ＭＳ Ｐゴシック" charset="0"/>
                <a:cs typeface="Arial"/>
                <a:sym typeface="Arial"/>
              </a:rPr>
            </a:b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14284A"/>
                </a:solidFill>
                <a:effectLst/>
                <a:uLnTx/>
                <a:uFillTx/>
                <a:latin typeface="CiscoSansTT ExtraLight"/>
                <a:ea typeface="ＭＳ Ｐゴシック" charset="0"/>
                <a:cs typeface="Arial"/>
                <a:sym typeface="Arial"/>
              </a:rPr>
              <a:t>stability and availability</a:t>
            </a:r>
          </a:p>
        </p:txBody>
      </p:sp>
      <p:grpSp>
        <p:nvGrpSpPr>
          <p:cNvPr id="48" name="Group 47">
            <a:extLst>
              <a:ext uri="{FF2B5EF4-FFF2-40B4-BE49-F238E27FC236}">
                <a16:creationId xmlns:a16="http://schemas.microsoft.com/office/drawing/2014/main" id="{BA5A4C2D-C913-47AC-B295-624EDDEDA401}"/>
              </a:ext>
            </a:extLst>
          </p:cNvPr>
          <p:cNvGrpSpPr/>
          <p:nvPr/>
        </p:nvGrpSpPr>
        <p:grpSpPr>
          <a:xfrm>
            <a:off x="830580" y="3732213"/>
            <a:ext cx="2475363" cy="163514"/>
            <a:chOff x="830580" y="3732213"/>
            <a:chExt cx="2475363" cy="163514"/>
          </a:xfrm>
        </p:grpSpPr>
        <p:sp>
          <p:nvSpPr>
            <p:cNvPr id="49" name="Triangle 79">
              <a:extLst>
                <a:ext uri="{FF2B5EF4-FFF2-40B4-BE49-F238E27FC236}">
                  <a16:creationId xmlns:a16="http://schemas.microsoft.com/office/drawing/2014/main" id="{96B7EDC2-B79D-479D-B16E-9E6FE0F095A5}"/>
                </a:ext>
              </a:extLst>
            </p:cNvPr>
            <p:cNvSpPr/>
            <p:nvPr/>
          </p:nvSpPr>
          <p:spPr>
            <a:xfrm rot="10800000">
              <a:off x="1906934" y="3732213"/>
              <a:ext cx="322656" cy="163514"/>
            </a:xfrm>
            <a:prstGeom prst="triangle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67" b="0" i="0" u="none" strike="noStrike" kern="1200" cap="none" spc="0" normalizeH="0" baseline="0" noProof="0">
                <a:ln>
                  <a:noFill/>
                </a:ln>
                <a:solidFill>
                  <a:srgbClr val="005073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endParaRPr>
            </a:p>
          </p:txBody>
        </p:sp>
        <p:cxnSp>
          <p:nvCxnSpPr>
            <p:cNvPr id="50" name="Straight Connector 49">
              <a:extLst>
                <a:ext uri="{FF2B5EF4-FFF2-40B4-BE49-F238E27FC236}">
                  <a16:creationId xmlns:a16="http://schemas.microsoft.com/office/drawing/2014/main" id="{E4227EF5-71C8-4A0F-9822-DFEBB9F2FB3B}"/>
                </a:ext>
              </a:extLst>
            </p:cNvPr>
            <p:cNvCxnSpPr>
              <a:cxnSpLocks/>
            </p:cNvCxnSpPr>
            <p:nvPr/>
          </p:nvCxnSpPr>
          <p:spPr>
            <a:xfrm>
              <a:off x="830580" y="3732213"/>
              <a:ext cx="2475363" cy="0"/>
            </a:xfrm>
            <a:prstGeom prst="line">
              <a:avLst/>
            </a:prstGeom>
            <a:ln w="12700" cap="rnd">
              <a:solidFill>
                <a:schemeClr val="bg2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56" name="Group 55">
            <a:extLst>
              <a:ext uri="{FF2B5EF4-FFF2-40B4-BE49-F238E27FC236}">
                <a16:creationId xmlns:a16="http://schemas.microsoft.com/office/drawing/2014/main" id="{5FF23A4A-E371-4C02-A7D0-BB7B443579E8}"/>
              </a:ext>
            </a:extLst>
          </p:cNvPr>
          <p:cNvGrpSpPr/>
          <p:nvPr/>
        </p:nvGrpSpPr>
        <p:grpSpPr>
          <a:xfrm>
            <a:off x="3519012" y="3732213"/>
            <a:ext cx="2475363" cy="163514"/>
            <a:chOff x="830580" y="3732213"/>
            <a:chExt cx="2475363" cy="163514"/>
          </a:xfrm>
        </p:grpSpPr>
        <p:sp>
          <p:nvSpPr>
            <p:cNvPr id="57" name="Triangle 79">
              <a:extLst>
                <a:ext uri="{FF2B5EF4-FFF2-40B4-BE49-F238E27FC236}">
                  <a16:creationId xmlns:a16="http://schemas.microsoft.com/office/drawing/2014/main" id="{B2419F9A-315A-4EA5-B155-387C213043F3}"/>
                </a:ext>
              </a:extLst>
            </p:cNvPr>
            <p:cNvSpPr/>
            <p:nvPr/>
          </p:nvSpPr>
          <p:spPr>
            <a:xfrm rot="10800000">
              <a:off x="1906934" y="3732213"/>
              <a:ext cx="322656" cy="163514"/>
            </a:xfrm>
            <a:prstGeom prst="triangle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67" b="0" i="0" u="none" strike="noStrike" kern="1200" cap="none" spc="0" normalizeH="0" baseline="0" noProof="0">
                <a:ln>
                  <a:noFill/>
                </a:ln>
                <a:solidFill>
                  <a:srgbClr val="005073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endParaRPr>
            </a:p>
          </p:txBody>
        </p:sp>
        <p:cxnSp>
          <p:nvCxnSpPr>
            <p:cNvPr id="58" name="Straight Connector 57">
              <a:extLst>
                <a:ext uri="{FF2B5EF4-FFF2-40B4-BE49-F238E27FC236}">
                  <a16:creationId xmlns:a16="http://schemas.microsoft.com/office/drawing/2014/main" id="{F29009E4-4E93-46B7-B28D-1895A2F5F0E7}"/>
                </a:ext>
              </a:extLst>
            </p:cNvPr>
            <p:cNvCxnSpPr>
              <a:cxnSpLocks/>
            </p:cNvCxnSpPr>
            <p:nvPr/>
          </p:nvCxnSpPr>
          <p:spPr>
            <a:xfrm>
              <a:off x="830580" y="3732213"/>
              <a:ext cx="2475363" cy="0"/>
            </a:xfrm>
            <a:prstGeom prst="line">
              <a:avLst/>
            </a:prstGeom>
            <a:ln w="12700" cap="rnd">
              <a:solidFill>
                <a:schemeClr val="bg2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59" name="Group 58">
            <a:extLst>
              <a:ext uri="{FF2B5EF4-FFF2-40B4-BE49-F238E27FC236}">
                <a16:creationId xmlns:a16="http://schemas.microsoft.com/office/drawing/2014/main" id="{05455228-3682-47F8-9336-8B829DD80384}"/>
              </a:ext>
            </a:extLst>
          </p:cNvPr>
          <p:cNvGrpSpPr/>
          <p:nvPr/>
        </p:nvGrpSpPr>
        <p:grpSpPr>
          <a:xfrm>
            <a:off x="6207444" y="3732213"/>
            <a:ext cx="2475363" cy="163514"/>
            <a:chOff x="830580" y="3732213"/>
            <a:chExt cx="2475363" cy="163514"/>
          </a:xfrm>
        </p:grpSpPr>
        <p:sp>
          <p:nvSpPr>
            <p:cNvPr id="60" name="Triangle 79">
              <a:extLst>
                <a:ext uri="{FF2B5EF4-FFF2-40B4-BE49-F238E27FC236}">
                  <a16:creationId xmlns:a16="http://schemas.microsoft.com/office/drawing/2014/main" id="{211BB151-B9BE-4E02-BC1A-10567568BD28}"/>
                </a:ext>
              </a:extLst>
            </p:cNvPr>
            <p:cNvSpPr/>
            <p:nvPr/>
          </p:nvSpPr>
          <p:spPr>
            <a:xfrm rot="10800000">
              <a:off x="1906934" y="3732213"/>
              <a:ext cx="322656" cy="163514"/>
            </a:xfrm>
            <a:prstGeom prst="triangle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67" b="0" i="0" u="none" strike="noStrike" kern="1200" cap="none" spc="0" normalizeH="0" baseline="0" noProof="0">
                <a:ln>
                  <a:noFill/>
                </a:ln>
                <a:solidFill>
                  <a:srgbClr val="005073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endParaRPr>
            </a:p>
          </p:txBody>
        </p: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755E2ED6-840B-4DE0-8763-EFC2592B0927}"/>
                </a:ext>
              </a:extLst>
            </p:cNvPr>
            <p:cNvCxnSpPr>
              <a:cxnSpLocks/>
            </p:cNvCxnSpPr>
            <p:nvPr/>
          </p:nvCxnSpPr>
          <p:spPr>
            <a:xfrm>
              <a:off x="830580" y="3732213"/>
              <a:ext cx="2475363" cy="0"/>
            </a:xfrm>
            <a:prstGeom prst="line">
              <a:avLst/>
            </a:prstGeom>
            <a:ln w="12700" cap="rnd">
              <a:solidFill>
                <a:schemeClr val="bg2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62" name="Group 61">
            <a:extLst>
              <a:ext uri="{FF2B5EF4-FFF2-40B4-BE49-F238E27FC236}">
                <a16:creationId xmlns:a16="http://schemas.microsoft.com/office/drawing/2014/main" id="{C37B8B63-47DB-421E-9AEB-A509EB38A897}"/>
              </a:ext>
            </a:extLst>
          </p:cNvPr>
          <p:cNvGrpSpPr/>
          <p:nvPr/>
        </p:nvGrpSpPr>
        <p:grpSpPr>
          <a:xfrm>
            <a:off x="8895876" y="3732213"/>
            <a:ext cx="2475363" cy="163514"/>
            <a:chOff x="830580" y="3732213"/>
            <a:chExt cx="2475363" cy="163514"/>
          </a:xfrm>
        </p:grpSpPr>
        <p:sp>
          <p:nvSpPr>
            <p:cNvPr id="63" name="Triangle 79">
              <a:extLst>
                <a:ext uri="{FF2B5EF4-FFF2-40B4-BE49-F238E27FC236}">
                  <a16:creationId xmlns:a16="http://schemas.microsoft.com/office/drawing/2014/main" id="{BBC8C4A1-5C6A-424D-8F0A-C5DD2D50C811}"/>
                </a:ext>
              </a:extLst>
            </p:cNvPr>
            <p:cNvSpPr/>
            <p:nvPr/>
          </p:nvSpPr>
          <p:spPr>
            <a:xfrm rot="10800000">
              <a:off x="1906934" y="3732213"/>
              <a:ext cx="322656" cy="163514"/>
            </a:xfrm>
            <a:prstGeom prst="triangle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67" b="0" i="0" u="none" strike="noStrike" kern="1200" cap="none" spc="0" normalizeH="0" baseline="0" noProof="0">
                <a:ln>
                  <a:noFill/>
                </a:ln>
                <a:solidFill>
                  <a:srgbClr val="005073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endParaRPr>
            </a:p>
          </p:txBody>
        </p: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96B3D2F1-C911-4308-8574-BCBC0F5080BA}"/>
                </a:ext>
              </a:extLst>
            </p:cNvPr>
            <p:cNvCxnSpPr>
              <a:cxnSpLocks/>
            </p:cNvCxnSpPr>
            <p:nvPr/>
          </p:nvCxnSpPr>
          <p:spPr>
            <a:xfrm>
              <a:off x="830580" y="3732213"/>
              <a:ext cx="2475363" cy="0"/>
            </a:xfrm>
            <a:prstGeom prst="line">
              <a:avLst/>
            </a:prstGeom>
            <a:ln w="12700" cap="rnd">
              <a:solidFill>
                <a:schemeClr val="bg2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54" name="Graphic 53">
            <a:extLst>
              <a:ext uri="{FF2B5EF4-FFF2-40B4-BE49-F238E27FC236}">
                <a16:creationId xmlns:a16="http://schemas.microsoft.com/office/drawing/2014/main" id="{A614D1CF-5640-D449-85AD-54E8266C114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9737987" y="2160591"/>
            <a:ext cx="792000" cy="792000"/>
          </a:xfrm>
          <a:prstGeom prst="rect">
            <a:avLst/>
          </a:prstGeom>
        </p:spPr>
      </p:pic>
      <p:pic>
        <p:nvPicPr>
          <p:cNvPr id="55" name="Graphic 54">
            <a:extLst>
              <a:ext uri="{FF2B5EF4-FFF2-40B4-BE49-F238E27FC236}">
                <a16:creationId xmlns:a16="http://schemas.microsoft.com/office/drawing/2014/main" id="{3186F793-93F2-024B-8BF3-DE628B51C70F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4352901" y="2160591"/>
            <a:ext cx="792000" cy="792000"/>
          </a:xfrm>
          <a:prstGeom prst="rect">
            <a:avLst/>
          </a:prstGeom>
        </p:spPr>
      </p:pic>
      <p:pic>
        <p:nvPicPr>
          <p:cNvPr id="65" name="Graphic 64">
            <a:extLst>
              <a:ext uri="{FF2B5EF4-FFF2-40B4-BE49-F238E27FC236}">
                <a16:creationId xmlns:a16="http://schemas.microsoft.com/office/drawing/2014/main" id="{B55F02F7-5B97-B649-9C74-E87515860EE9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7042790" y="2160591"/>
            <a:ext cx="792000" cy="792000"/>
          </a:xfrm>
          <a:prstGeom prst="rect">
            <a:avLst/>
          </a:prstGeom>
        </p:spPr>
      </p:pic>
      <p:pic>
        <p:nvPicPr>
          <p:cNvPr id="66" name="Graphic 65">
            <a:extLst>
              <a:ext uri="{FF2B5EF4-FFF2-40B4-BE49-F238E27FC236}">
                <a16:creationId xmlns:a16="http://schemas.microsoft.com/office/drawing/2014/main" id="{F01FC5D1-6E75-9240-85CA-9D9624B19505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663898" y="2160591"/>
            <a:ext cx="792000" cy="792000"/>
          </a:xfrm>
          <a:prstGeom prst="rect">
            <a:avLst/>
          </a:prstGeom>
        </p:spPr>
      </p:pic>
      <p:grpSp>
        <p:nvGrpSpPr>
          <p:cNvPr id="35" name="Group 34">
            <a:extLst>
              <a:ext uri="{FF2B5EF4-FFF2-40B4-BE49-F238E27FC236}">
                <a16:creationId xmlns:a16="http://schemas.microsoft.com/office/drawing/2014/main" id="{15AD9B8F-8145-E148-AB4F-11EBFFC61E19}"/>
              </a:ext>
            </a:extLst>
          </p:cNvPr>
          <p:cNvGrpSpPr>
            <a:grpSpLocks noChangeAspect="1"/>
          </p:cNvGrpSpPr>
          <p:nvPr/>
        </p:nvGrpSpPr>
        <p:grpSpPr>
          <a:xfrm>
            <a:off x="3067775" y="2309281"/>
            <a:ext cx="546435" cy="543136"/>
            <a:chOff x="1579728" y="2192901"/>
            <a:chExt cx="496986" cy="493986"/>
          </a:xfrm>
        </p:grpSpPr>
        <p:sp>
          <p:nvSpPr>
            <p:cNvPr id="36" name="Freeform 664">
              <a:extLst>
                <a:ext uri="{FF2B5EF4-FFF2-40B4-BE49-F238E27FC236}">
                  <a16:creationId xmlns:a16="http://schemas.microsoft.com/office/drawing/2014/main" id="{04F27536-5476-3349-9612-0636A36E6EB9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1759722" y="2192901"/>
              <a:ext cx="134996" cy="493986"/>
            </a:xfrm>
            <a:custGeom>
              <a:avLst/>
              <a:gdLst>
                <a:gd name="T0" fmla="*/ 29 w 57"/>
                <a:gd name="T1" fmla="*/ 209 h 209"/>
                <a:gd name="T2" fmla="*/ 29 w 57"/>
                <a:gd name="T3" fmla="*/ 209 h 209"/>
                <a:gd name="T4" fmla="*/ 0 w 57"/>
                <a:gd name="T5" fmla="*/ 181 h 209"/>
                <a:gd name="T6" fmla="*/ 0 w 57"/>
                <a:gd name="T7" fmla="*/ 28 h 209"/>
                <a:gd name="T8" fmla="*/ 29 w 57"/>
                <a:gd name="T9" fmla="*/ 0 h 209"/>
                <a:gd name="T10" fmla="*/ 57 w 57"/>
                <a:gd name="T11" fmla="*/ 28 h 209"/>
                <a:gd name="T12" fmla="*/ 57 w 57"/>
                <a:gd name="T13" fmla="*/ 181 h 209"/>
                <a:gd name="T14" fmla="*/ 29 w 57"/>
                <a:gd name="T15" fmla="*/ 209 h 2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7" h="209">
                  <a:moveTo>
                    <a:pt x="29" y="209"/>
                  </a:moveTo>
                  <a:cubicBezTo>
                    <a:pt x="29" y="209"/>
                    <a:pt x="29" y="209"/>
                    <a:pt x="29" y="209"/>
                  </a:cubicBezTo>
                  <a:cubicBezTo>
                    <a:pt x="13" y="209"/>
                    <a:pt x="0" y="196"/>
                    <a:pt x="0" y="181"/>
                  </a:cubicBezTo>
                  <a:cubicBezTo>
                    <a:pt x="0" y="28"/>
                    <a:pt x="0" y="28"/>
                    <a:pt x="0" y="28"/>
                  </a:cubicBezTo>
                  <a:cubicBezTo>
                    <a:pt x="0" y="13"/>
                    <a:pt x="13" y="0"/>
                    <a:pt x="29" y="0"/>
                  </a:cubicBezTo>
                  <a:cubicBezTo>
                    <a:pt x="45" y="0"/>
                    <a:pt x="57" y="13"/>
                    <a:pt x="57" y="28"/>
                  </a:cubicBezTo>
                  <a:cubicBezTo>
                    <a:pt x="57" y="181"/>
                    <a:pt x="57" y="181"/>
                    <a:pt x="57" y="181"/>
                  </a:cubicBezTo>
                  <a:cubicBezTo>
                    <a:pt x="57" y="196"/>
                    <a:pt x="45" y="209"/>
                    <a:pt x="29" y="209"/>
                  </a:cubicBezTo>
                </a:path>
              </a:pathLst>
            </a:custGeom>
            <a:solidFill>
              <a:schemeClr val="accent3"/>
            </a:solidFill>
            <a:ln>
              <a:solidFill>
                <a:schemeClr val="accent3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2F446B"/>
                </a:solidFill>
                <a:effectLst/>
                <a:uLnTx/>
                <a:uFillTx/>
                <a:latin typeface="CiscoSansTT ExtraLight"/>
                <a:ea typeface="+mn-ea"/>
                <a:cs typeface="+mn-cs"/>
              </a:endParaRPr>
            </a:p>
          </p:txBody>
        </p:sp>
        <p:sp>
          <p:nvSpPr>
            <p:cNvPr id="37" name="Freeform 665">
              <a:extLst>
                <a:ext uri="{FF2B5EF4-FFF2-40B4-BE49-F238E27FC236}">
                  <a16:creationId xmlns:a16="http://schemas.microsoft.com/office/drawing/2014/main" id="{F72276C9-13BF-9D4D-B103-D22008AFA9E5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1579728" y="2368943"/>
              <a:ext cx="496986" cy="134996"/>
            </a:xfrm>
            <a:custGeom>
              <a:avLst/>
              <a:gdLst>
                <a:gd name="T0" fmla="*/ 0 w 210"/>
                <a:gd name="T1" fmla="*/ 28 h 57"/>
                <a:gd name="T2" fmla="*/ 0 w 210"/>
                <a:gd name="T3" fmla="*/ 28 h 57"/>
                <a:gd name="T4" fmla="*/ 29 w 210"/>
                <a:gd name="T5" fmla="*/ 0 h 57"/>
                <a:gd name="T6" fmla="*/ 181 w 210"/>
                <a:gd name="T7" fmla="*/ 0 h 57"/>
                <a:gd name="T8" fmla="*/ 210 w 210"/>
                <a:gd name="T9" fmla="*/ 28 h 57"/>
                <a:gd name="T10" fmla="*/ 181 w 210"/>
                <a:gd name="T11" fmla="*/ 57 h 57"/>
                <a:gd name="T12" fmla="*/ 29 w 210"/>
                <a:gd name="T13" fmla="*/ 57 h 57"/>
                <a:gd name="T14" fmla="*/ 0 w 210"/>
                <a:gd name="T15" fmla="*/ 28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10" h="57">
                  <a:moveTo>
                    <a:pt x="0" y="28"/>
                  </a:moveTo>
                  <a:cubicBezTo>
                    <a:pt x="0" y="28"/>
                    <a:pt x="0" y="28"/>
                    <a:pt x="0" y="28"/>
                  </a:cubicBezTo>
                  <a:cubicBezTo>
                    <a:pt x="0" y="13"/>
                    <a:pt x="13" y="0"/>
                    <a:pt x="29" y="0"/>
                  </a:cubicBezTo>
                  <a:cubicBezTo>
                    <a:pt x="181" y="0"/>
                    <a:pt x="181" y="0"/>
                    <a:pt x="181" y="0"/>
                  </a:cubicBezTo>
                  <a:cubicBezTo>
                    <a:pt x="197" y="0"/>
                    <a:pt x="210" y="13"/>
                    <a:pt x="210" y="28"/>
                  </a:cubicBezTo>
                  <a:cubicBezTo>
                    <a:pt x="210" y="44"/>
                    <a:pt x="197" y="57"/>
                    <a:pt x="181" y="57"/>
                  </a:cubicBezTo>
                  <a:cubicBezTo>
                    <a:pt x="29" y="57"/>
                    <a:pt x="29" y="57"/>
                    <a:pt x="29" y="57"/>
                  </a:cubicBezTo>
                  <a:cubicBezTo>
                    <a:pt x="13" y="57"/>
                    <a:pt x="0" y="44"/>
                    <a:pt x="0" y="28"/>
                  </a:cubicBezTo>
                </a:path>
              </a:pathLst>
            </a:custGeom>
            <a:solidFill>
              <a:schemeClr val="accent3"/>
            </a:solidFill>
            <a:ln>
              <a:solidFill>
                <a:schemeClr val="accent3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2F446B"/>
                </a:solidFill>
                <a:effectLst/>
                <a:uLnTx/>
                <a:uFillTx/>
                <a:latin typeface="CiscoSansTT ExtraLight"/>
                <a:ea typeface="+mn-ea"/>
                <a:cs typeface="+mn-cs"/>
              </a:endParaRPr>
            </a:p>
          </p:txBody>
        </p:sp>
        <p:sp>
          <p:nvSpPr>
            <p:cNvPr id="38" name="Rectangle 37">
              <a:extLst>
                <a:ext uri="{FF2B5EF4-FFF2-40B4-BE49-F238E27FC236}">
                  <a16:creationId xmlns:a16="http://schemas.microsoft.com/office/drawing/2014/main" id="{A9BFAC8A-1038-624F-9283-30295E043D1D}"/>
                </a:ext>
              </a:extLst>
            </p:cNvPr>
            <p:cNvSpPr/>
            <p:nvPr/>
          </p:nvSpPr>
          <p:spPr>
            <a:xfrm>
              <a:off x="1759636" y="2367857"/>
              <a:ext cx="137160" cy="137160"/>
            </a:xfrm>
            <a:prstGeom prst="rect">
              <a:avLst/>
            </a:prstGeom>
            <a:solidFill>
              <a:schemeClr val="accent3">
                <a:lumMod val="75000"/>
              </a:schemeClr>
            </a:solidFill>
            <a:ln w="3175">
              <a:solidFill>
                <a:schemeClr val="accent3">
                  <a:lumMod val="75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iscoSansTT ExtraLight"/>
                <a:ea typeface="+mn-ea"/>
                <a:cs typeface="+mn-cs"/>
              </a:endParaRPr>
            </a:p>
          </p:txBody>
        </p:sp>
      </p:grpSp>
      <p:grpSp>
        <p:nvGrpSpPr>
          <p:cNvPr id="39" name="Group 38">
            <a:extLst>
              <a:ext uri="{FF2B5EF4-FFF2-40B4-BE49-F238E27FC236}">
                <a16:creationId xmlns:a16="http://schemas.microsoft.com/office/drawing/2014/main" id="{C98F0816-EAD7-8E4D-B911-10DAF3F749F7}"/>
              </a:ext>
            </a:extLst>
          </p:cNvPr>
          <p:cNvGrpSpPr>
            <a:grpSpLocks noChangeAspect="1"/>
          </p:cNvGrpSpPr>
          <p:nvPr/>
        </p:nvGrpSpPr>
        <p:grpSpPr>
          <a:xfrm>
            <a:off x="5704136" y="2309281"/>
            <a:ext cx="546435" cy="543136"/>
            <a:chOff x="1579728" y="2192901"/>
            <a:chExt cx="496986" cy="493986"/>
          </a:xfrm>
        </p:grpSpPr>
        <p:sp>
          <p:nvSpPr>
            <p:cNvPr id="40" name="Freeform 664">
              <a:extLst>
                <a:ext uri="{FF2B5EF4-FFF2-40B4-BE49-F238E27FC236}">
                  <a16:creationId xmlns:a16="http://schemas.microsoft.com/office/drawing/2014/main" id="{0B22C301-AC9C-4649-B0CE-11B70A1429F8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1759722" y="2192901"/>
              <a:ext cx="134996" cy="493986"/>
            </a:xfrm>
            <a:custGeom>
              <a:avLst/>
              <a:gdLst>
                <a:gd name="T0" fmla="*/ 29 w 57"/>
                <a:gd name="T1" fmla="*/ 209 h 209"/>
                <a:gd name="T2" fmla="*/ 29 w 57"/>
                <a:gd name="T3" fmla="*/ 209 h 209"/>
                <a:gd name="T4" fmla="*/ 0 w 57"/>
                <a:gd name="T5" fmla="*/ 181 h 209"/>
                <a:gd name="T6" fmla="*/ 0 w 57"/>
                <a:gd name="T7" fmla="*/ 28 h 209"/>
                <a:gd name="T8" fmla="*/ 29 w 57"/>
                <a:gd name="T9" fmla="*/ 0 h 209"/>
                <a:gd name="T10" fmla="*/ 57 w 57"/>
                <a:gd name="T11" fmla="*/ 28 h 209"/>
                <a:gd name="T12" fmla="*/ 57 w 57"/>
                <a:gd name="T13" fmla="*/ 181 h 209"/>
                <a:gd name="T14" fmla="*/ 29 w 57"/>
                <a:gd name="T15" fmla="*/ 209 h 2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7" h="209">
                  <a:moveTo>
                    <a:pt x="29" y="209"/>
                  </a:moveTo>
                  <a:cubicBezTo>
                    <a:pt x="29" y="209"/>
                    <a:pt x="29" y="209"/>
                    <a:pt x="29" y="209"/>
                  </a:cubicBezTo>
                  <a:cubicBezTo>
                    <a:pt x="13" y="209"/>
                    <a:pt x="0" y="196"/>
                    <a:pt x="0" y="181"/>
                  </a:cubicBezTo>
                  <a:cubicBezTo>
                    <a:pt x="0" y="28"/>
                    <a:pt x="0" y="28"/>
                    <a:pt x="0" y="28"/>
                  </a:cubicBezTo>
                  <a:cubicBezTo>
                    <a:pt x="0" y="13"/>
                    <a:pt x="13" y="0"/>
                    <a:pt x="29" y="0"/>
                  </a:cubicBezTo>
                  <a:cubicBezTo>
                    <a:pt x="45" y="0"/>
                    <a:pt x="57" y="13"/>
                    <a:pt x="57" y="28"/>
                  </a:cubicBezTo>
                  <a:cubicBezTo>
                    <a:pt x="57" y="181"/>
                    <a:pt x="57" y="181"/>
                    <a:pt x="57" y="181"/>
                  </a:cubicBezTo>
                  <a:cubicBezTo>
                    <a:pt x="57" y="196"/>
                    <a:pt x="45" y="209"/>
                    <a:pt x="29" y="209"/>
                  </a:cubicBezTo>
                </a:path>
              </a:pathLst>
            </a:custGeom>
            <a:solidFill>
              <a:schemeClr val="accent3"/>
            </a:solidFill>
            <a:ln>
              <a:solidFill>
                <a:schemeClr val="accent3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2F446B"/>
                </a:solidFill>
                <a:effectLst/>
                <a:uLnTx/>
                <a:uFillTx/>
                <a:latin typeface="CiscoSansTT ExtraLight"/>
                <a:ea typeface="+mn-ea"/>
                <a:cs typeface="+mn-cs"/>
              </a:endParaRPr>
            </a:p>
          </p:txBody>
        </p:sp>
        <p:sp>
          <p:nvSpPr>
            <p:cNvPr id="41" name="Freeform 665">
              <a:extLst>
                <a:ext uri="{FF2B5EF4-FFF2-40B4-BE49-F238E27FC236}">
                  <a16:creationId xmlns:a16="http://schemas.microsoft.com/office/drawing/2014/main" id="{CDBC2D7D-FA65-E443-AF85-2673207BA1A0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1579728" y="2368943"/>
              <a:ext cx="496986" cy="134996"/>
            </a:xfrm>
            <a:custGeom>
              <a:avLst/>
              <a:gdLst>
                <a:gd name="T0" fmla="*/ 0 w 210"/>
                <a:gd name="T1" fmla="*/ 28 h 57"/>
                <a:gd name="T2" fmla="*/ 0 w 210"/>
                <a:gd name="T3" fmla="*/ 28 h 57"/>
                <a:gd name="T4" fmla="*/ 29 w 210"/>
                <a:gd name="T5" fmla="*/ 0 h 57"/>
                <a:gd name="T6" fmla="*/ 181 w 210"/>
                <a:gd name="T7" fmla="*/ 0 h 57"/>
                <a:gd name="T8" fmla="*/ 210 w 210"/>
                <a:gd name="T9" fmla="*/ 28 h 57"/>
                <a:gd name="T10" fmla="*/ 181 w 210"/>
                <a:gd name="T11" fmla="*/ 57 h 57"/>
                <a:gd name="T12" fmla="*/ 29 w 210"/>
                <a:gd name="T13" fmla="*/ 57 h 57"/>
                <a:gd name="T14" fmla="*/ 0 w 210"/>
                <a:gd name="T15" fmla="*/ 28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10" h="57">
                  <a:moveTo>
                    <a:pt x="0" y="28"/>
                  </a:moveTo>
                  <a:cubicBezTo>
                    <a:pt x="0" y="28"/>
                    <a:pt x="0" y="28"/>
                    <a:pt x="0" y="28"/>
                  </a:cubicBezTo>
                  <a:cubicBezTo>
                    <a:pt x="0" y="13"/>
                    <a:pt x="13" y="0"/>
                    <a:pt x="29" y="0"/>
                  </a:cubicBezTo>
                  <a:cubicBezTo>
                    <a:pt x="181" y="0"/>
                    <a:pt x="181" y="0"/>
                    <a:pt x="181" y="0"/>
                  </a:cubicBezTo>
                  <a:cubicBezTo>
                    <a:pt x="197" y="0"/>
                    <a:pt x="210" y="13"/>
                    <a:pt x="210" y="28"/>
                  </a:cubicBezTo>
                  <a:cubicBezTo>
                    <a:pt x="210" y="44"/>
                    <a:pt x="197" y="57"/>
                    <a:pt x="181" y="57"/>
                  </a:cubicBezTo>
                  <a:cubicBezTo>
                    <a:pt x="29" y="57"/>
                    <a:pt x="29" y="57"/>
                    <a:pt x="29" y="57"/>
                  </a:cubicBezTo>
                  <a:cubicBezTo>
                    <a:pt x="13" y="57"/>
                    <a:pt x="0" y="44"/>
                    <a:pt x="0" y="28"/>
                  </a:cubicBezTo>
                </a:path>
              </a:pathLst>
            </a:custGeom>
            <a:solidFill>
              <a:schemeClr val="accent3"/>
            </a:solidFill>
            <a:ln>
              <a:solidFill>
                <a:schemeClr val="accent3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2F446B"/>
                </a:solidFill>
                <a:effectLst/>
                <a:uLnTx/>
                <a:uFillTx/>
                <a:latin typeface="CiscoSansTT ExtraLight"/>
                <a:ea typeface="+mn-ea"/>
                <a:cs typeface="+mn-cs"/>
              </a:endParaRPr>
            </a:p>
          </p:txBody>
        </p:sp>
        <p:sp>
          <p:nvSpPr>
            <p:cNvPr id="42" name="Rectangle 41">
              <a:extLst>
                <a:ext uri="{FF2B5EF4-FFF2-40B4-BE49-F238E27FC236}">
                  <a16:creationId xmlns:a16="http://schemas.microsoft.com/office/drawing/2014/main" id="{5A16F935-0C59-0E41-8DF1-5AD0ECC383F7}"/>
                </a:ext>
              </a:extLst>
            </p:cNvPr>
            <p:cNvSpPr/>
            <p:nvPr/>
          </p:nvSpPr>
          <p:spPr>
            <a:xfrm>
              <a:off x="1759636" y="2367857"/>
              <a:ext cx="137160" cy="137160"/>
            </a:xfrm>
            <a:prstGeom prst="rect">
              <a:avLst/>
            </a:prstGeom>
            <a:solidFill>
              <a:schemeClr val="accent3">
                <a:lumMod val="75000"/>
              </a:schemeClr>
            </a:solidFill>
            <a:ln w="3175">
              <a:solidFill>
                <a:schemeClr val="accent3">
                  <a:lumMod val="75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iscoSansTT ExtraLight"/>
                <a:ea typeface="+mn-ea"/>
                <a:cs typeface="+mn-cs"/>
              </a:endParaRPr>
            </a:p>
          </p:txBody>
        </p:sp>
      </p:grpSp>
      <p:grpSp>
        <p:nvGrpSpPr>
          <p:cNvPr id="43" name="Group 42">
            <a:extLst>
              <a:ext uri="{FF2B5EF4-FFF2-40B4-BE49-F238E27FC236}">
                <a16:creationId xmlns:a16="http://schemas.microsoft.com/office/drawing/2014/main" id="{2B33D604-4EAA-2E4B-B578-99FAAC1FAE17}"/>
              </a:ext>
            </a:extLst>
          </p:cNvPr>
          <p:cNvGrpSpPr/>
          <p:nvPr/>
        </p:nvGrpSpPr>
        <p:grpSpPr>
          <a:xfrm>
            <a:off x="8437392" y="2397157"/>
            <a:ext cx="546435" cy="346175"/>
            <a:chOff x="8429662" y="2506020"/>
            <a:chExt cx="546435" cy="346175"/>
          </a:xfrm>
        </p:grpSpPr>
        <p:sp>
          <p:nvSpPr>
            <p:cNvPr id="44" name="Freeform 665">
              <a:extLst>
                <a:ext uri="{FF2B5EF4-FFF2-40B4-BE49-F238E27FC236}">
                  <a16:creationId xmlns:a16="http://schemas.microsoft.com/office/drawing/2014/main" id="{D58A3351-3CC9-EF4C-9208-71AEB09118EF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8429662" y="2506020"/>
              <a:ext cx="546435" cy="148428"/>
            </a:xfrm>
            <a:custGeom>
              <a:avLst/>
              <a:gdLst>
                <a:gd name="T0" fmla="*/ 0 w 210"/>
                <a:gd name="T1" fmla="*/ 28 h 57"/>
                <a:gd name="T2" fmla="*/ 0 w 210"/>
                <a:gd name="T3" fmla="*/ 28 h 57"/>
                <a:gd name="T4" fmla="*/ 29 w 210"/>
                <a:gd name="T5" fmla="*/ 0 h 57"/>
                <a:gd name="T6" fmla="*/ 181 w 210"/>
                <a:gd name="T7" fmla="*/ 0 h 57"/>
                <a:gd name="T8" fmla="*/ 210 w 210"/>
                <a:gd name="T9" fmla="*/ 28 h 57"/>
                <a:gd name="T10" fmla="*/ 181 w 210"/>
                <a:gd name="T11" fmla="*/ 57 h 57"/>
                <a:gd name="T12" fmla="*/ 29 w 210"/>
                <a:gd name="T13" fmla="*/ 57 h 57"/>
                <a:gd name="T14" fmla="*/ 0 w 210"/>
                <a:gd name="T15" fmla="*/ 28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10" h="57">
                  <a:moveTo>
                    <a:pt x="0" y="28"/>
                  </a:moveTo>
                  <a:cubicBezTo>
                    <a:pt x="0" y="28"/>
                    <a:pt x="0" y="28"/>
                    <a:pt x="0" y="28"/>
                  </a:cubicBezTo>
                  <a:cubicBezTo>
                    <a:pt x="0" y="13"/>
                    <a:pt x="13" y="0"/>
                    <a:pt x="29" y="0"/>
                  </a:cubicBezTo>
                  <a:cubicBezTo>
                    <a:pt x="181" y="0"/>
                    <a:pt x="181" y="0"/>
                    <a:pt x="181" y="0"/>
                  </a:cubicBezTo>
                  <a:cubicBezTo>
                    <a:pt x="197" y="0"/>
                    <a:pt x="210" y="13"/>
                    <a:pt x="210" y="28"/>
                  </a:cubicBezTo>
                  <a:cubicBezTo>
                    <a:pt x="210" y="44"/>
                    <a:pt x="197" y="57"/>
                    <a:pt x="181" y="57"/>
                  </a:cubicBezTo>
                  <a:cubicBezTo>
                    <a:pt x="29" y="57"/>
                    <a:pt x="29" y="57"/>
                    <a:pt x="29" y="57"/>
                  </a:cubicBezTo>
                  <a:cubicBezTo>
                    <a:pt x="13" y="57"/>
                    <a:pt x="0" y="44"/>
                    <a:pt x="0" y="28"/>
                  </a:cubicBezTo>
                </a:path>
              </a:pathLst>
            </a:custGeom>
            <a:solidFill>
              <a:schemeClr val="accent3"/>
            </a:solidFill>
            <a:ln>
              <a:solidFill>
                <a:schemeClr val="accent3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2F446B"/>
                </a:solidFill>
                <a:effectLst/>
                <a:uLnTx/>
                <a:uFillTx/>
                <a:latin typeface="CiscoSansTT ExtraLight"/>
                <a:ea typeface="+mn-ea"/>
                <a:cs typeface="+mn-cs"/>
              </a:endParaRPr>
            </a:p>
          </p:txBody>
        </p:sp>
        <p:sp>
          <p:nvSpPr>
            <p:cNvPr id="45" name="Freeform 665">
              <a:extLst>
                <a:ext uri="{FF2B5EF4-FFF2-40B4-BE49-F238E27FC236}">
                  <a16:creationId xmlns:a16="http://schemas.microsoft.com/office/drawing/2014/main" id="{6D4D64ED-64AC-D445-8D53-CAA038F05227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8429662" y="2703767"/>
              <a:ext cx="546435" cy="148428"/>
            </a:xfrm>
            <a:custGeom>
              <a:avLst/>
              <a:gdLst>
                <a:gd name="T0" fmla="*/ 0 w 210"/>
                <a:gd name="T1" fmla="*/ 28 h 57"/>
                <a:gd name="T2" fmla="*/ 0 w 210"/>
                <a:gd name="T3" fmla="*/ 28 h 57"/>
                <a:gd name="T4" fmla="*/ 29 w 210"/>
                <a:gd name="T5" fmla="*/ 0 h 57"/>
                <a:gd name="T6" fmla="*/ 181 w 210"/>
                <a:gd name="T7" fmla="*/ 0 h 57"/>
                <a:gd name="T8" fmla="*/ 210 w 210"/>
                <a:gd name="T9" fmla="*/ 28 h 57"/>
                <a:gd name="T10" fmla="*/ 181 w 210"/>
                <a:gd name="T11" fmla="*/ 57 h 57"/>
                <a:gd name="T12" fmla="*/ 29 w 210"/>
                <a:gd name="T13" fmla="*/ 57 h 57"/>
                <a:gd name="T14" fmla="*/ 0 w 210"/>
                <a:gd name="T15" fmla="*/ 28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10" h="57">
                  <a:moveTo>
                    <a:pt x="0" y="28"/>
                  </a:moveTo>
                  <a:cubicBezTo>
                    <a:pt x="0" y="28"/>
                    <a:pt x="0" y="28"/>
                    <a:pt x="0" y="28"/>
                  </a:cubicBezTo>
                  <a:cubicBezTo>
                    <a:pt x="0" y="13"/>
                    <a:pt x="13" y="0"/>
                    <a:pt x="29" y="0"/>
                  </a:cubicBezTo>
                  <a:cubicBezTo>
                    <a:pt x="181" y="0"/>
                    <a:pt x="181" y="0"/>
                    <a:pt x="181" y="0"/>
                  </a:cubicBezTo>
                  <a:cubicBezTo>
                    <a:pt x="197" y="0"/>
                    <a:pt x="210" y="13"/>
                    <a:pt x="210" y="28"/>
                  </a:cubicBezTo>
                  <a:cubicBezTo>
                    <a:pt x="210" y="44"/>
                    <a:pt x="197" y="57"/>
                    <a:pt x="181" y="57"/>
                  </a:cubicBezTo>
                  <a:cubicBezTo>
                    <a:pt x="29" y="57"/>
                    <a:pt x="29" y="57"/>
                    <a:pt x="29" y="57"/>
                  </a:cubicBezTo>
                  <a:cubicBezTo>
                    <a:pt x="13" y="57"/>
                    <a:pt x="0" y="44"/>
                    <a:pt x="0" y="28"/>
                  </a:cubicBezTo>
                </a:path>
              </a:pathLst>
            </a:custGeom>
            <a:solidFill>
              <a:schemeClr val="accent3"/>
            </a:solidFill>
            <a:ln>
              <a:solidFill>
                <a:schemeClr val="accent3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2F446B"/>
                </a:solidFill>
                <a:effectLst/>
                <a:uLnTx/>
                <a:uFillTx/>
                <a:latin typeface="CiscoSansTT ExtraLight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022983094"/>
      </p:ext>
    </p:extLst>
  </p:cSld>
  <p:clrMapOvr>
    <a:masterClrMapping/>
  </p:clrMapOvr>
  <p:transition>
    <p:fade/>
  </p:transition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" name="Group 11">
            <a:extLst>
              <a:ext uri="{FF2B5EF4-FFF2-40B4-BE49-F238E27FC236}">
                <a16:creationId xmlns:a16="http://schemas.microsoft.com/office/drawing/2014/main" id="{FF375516-C839-2540-B92C-172BE60F9073}"/>
              </a:ext>
            </a:extLst>
          </p:cNvPr>
          <p:cNvGrpSpPr/>
          <p:nvPr/>
        </p:nvGrpSpPr>
        <p:grpSpPr>
          <a:xfrm>
            <a:off x="939975" y="3411468"/>
            <a:ext cx="1923534" cy="669389"/>
            <a:chOff x="939974" y="2676457"/>
            <a:chExt cx="1923534" cy="669389"/>
          </a:xfrm>
        </p:grpSpPr>
        <p:sp>
          <p:nvSpPr>
            <p:cNvPr id="224" name="Rectangle: Rounded Corners 223">
              <a:extLst>
                <a:ext uri="{FF2B5EF4-FFF2-40B4-BE49-F238E27FC236}">
                  <a16:creationId xmlns:a16="http://schemas.microsoft.com/office/drawing/2014/main" id="{8D6D3EC0-F02F-4F08-800C-2921D495EF7A}"/>
                </a:ext>
              </a:extLst>
            </p:cNvPr>
            <p:cNvSpPr/>
            <p:nvPr/>
          </p:nvSpPr>
          <p:spPr>
            <a:xfrm>
              <a:off x="1587546" y="3045910"/>
              <a:ext cx="603887" cy="299936"/>
            </a:xfrm>
            <a:prstGeom prst="roundRect">
              <a:avLst>
                <a:gd name="adj" fmla="val 50000"/>
              </a:avLst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48000" bIns="0" rtlCol="0" anchor="ctr" anchorCtr="0"/>
            <a:lstStyle/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>
                  <a:ln>
                    <a:noFill/>
                  </a:ln>
                  <a:solidFill>
                    <a:srgbClr val="00BCEB"/>
                  </a:solidFill>
                  <a:effectLst/>
                  <a:uLnTx/>
                  <a:uFillTx/>
                  <a:latin typeface="CiscoSansTT ExtraLight" panose="020B0303020201020303" pitchFamily="34" charset="0"/>
                  <a:ea typeface="+mn-ea"/>
                  <a:cs typeface="CiscoSansTT ExtraLight" panose="020B0303020201020303" pitchFamily="34" charset="0"/>
                </a:rPr>
                <a:t>x1</a:t>
              </a:r>
            </a:p>
          </p:txBody>
        </p:sp>
        <p:sp>
          <p:nvSpPr>
            <p:cNvPr id="225" name="Rectangle: Rounded Corners 224">
              <a:extLst>
                <a:ext uri="{FF2B5EF4-FFF2-40B4-BE49-F238E27FC236}">
                  <a16:creationId xmlns:a16="http://schemas.microsoft.com/office/drawing/2014/main" id="{C03B0DC6-E06B-4147-880F-4EBF1C6E90B1}"/>
                </a:ext>
              </a:extLst>
            </p:cNvPr>
            <p:cNvSpPr/>
            <p:nvPr/>
          </p:nvSpPr>
          <p:spPr>
            <a:xfrm>
              <a:off x="2259621" y="3045910"/>
              <a:ext cx="603887" cy="299936"/>
            </a:xfrm>
            <a:prstGeom prst="roundRect">
              <a:avLst>
                <a:gd name="adj" fmla="val 50000"/>
              </a:avLst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48000" bIns="0" rtlCol="0" anchor="ctr" anchorCtr="0"/>
            <a:lstStyle/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>
                  <a:ln>
                    <a:noFill/>
                  </a:ln>
                  <a:solidFill>
                    <a:srgbClr val="00BCEB"/>
                  </a:solidFill>
                  <a:effectLst/>
                  <a:uLnTx/>
                  <a:uFillTx/>
                  <a:latin typeface="CiscoSansTT ExtraLight" panose="020B0303020201020303" pitchFamily="34" charset="0"/>
                  <a:ea typeface="+mn-ea"/>
                  <a:cs typeface="CiscoSansTT ExtraLight" panose="020B0303020201020303" pitchFamily="34" charset="0"/>
                </a:rPr>
                <a:t>x2</a:t>
              </a:r>
            </a:p>
          </p:txBody>
        </p:sp>
        <p:sp>
          <p:nvSpPr>
            <p:cNvPr id="221" name="Rectangle: Rounded Corners 220">
              <a:extLst>
                <a:ext uri="{FF2B5EF4-FFF2-40B4-BE49-F238E27FC236}">
                  <a16:creationId xmlns:a16="http://schemas.microsoft.com/office/drawing/2014/main" id="{615A8680-7C51-4654-8362-BD660056986D}"/>
                </a:ext>
              </a:extLst>
            </p:cNvPr>
            <p:cNvSpPr/>
            <p:nvPr/>
          </p:nvSpPr>
          <p:spPr>
            <a:xfrm>
              <a:off x="940979" y="2676457"/>
              <a:ext cx="603887" cy="299936"/>
            </a:xfrm>
            <a:prstGeom prst="roundRect">
              <a:avLst>
                <a:gd name="adj" fmla="val 50000"/>
              </a:avLst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48000" bIns="0" rtlCol="0" anchor="ctr" anchorCtr="0"/>
            <a:lstStyle/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>
                  <a:ln>
                    <a:noFill/>
                  </a:ln>
                  <a:solidFill>
                    <a:srgbClr val="00BCEB"/>
                  </a:solidFill>
                  <a:effectLst/>
                  <a:uLnTx/>
                  <a:uFillTx/>
                  <a:latin typeface="CiscoSansTT ExtraLight" panose="020B0303020201020303" pitchFamily="34" charset="0"/>
                  <a:ea typeface="+mn-ea"/>
                  <a:cs typeface="CiscoSansTT ExtraLight" panose="020B0303020201020303" pitchFamily="34" charset="0"/>
                </a:rPr>
                <a:t>x7</a:t>
              </a:r>
            </a:p>
          </p:txBody>
        </p:sp>
        <p:sp>
          <p:nvSpPr>
            <p:cNvPr id="222" name="Rectangle: Rounded Corners 221">
              <a:extLst>
                <a:ext uri="{FF2B5EF4-FFF2-40B4-BE49-F238E27FC236}">
                  <a16:creationId xmlns:a16="http://schemas.microsoft.com/office/drawing/2014/main" id="{BCA31D35-27F5-4D4C-ADB6-CA419B834F48}"/>
                </a:ext>
              </a:extLst>
            </p:cNvPr>
            <p:cNvSpPr/>
            <p:nvPr/>
          </p:nvSpPr>
          <p:spPr>
            <a:xfrm>
              <a:off x="1588049" y="2676457"/>
              <a:ext cx="603887" cy="299936"/>
            </a:xfrm>
            <a:prstGeom prst="roundRect">
              <a:avLst>
                <a:gd name="adj" fmla="val 50000"/>
              </a:avLst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48000" bIns="0" rtlCol="0" anchor="ctr" anchorCtr="0"/>
            <a:lstStyle/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>
                  <a:ln>
                    <a:noFill/>
                  </a:ln>
                  <a:solidFill>
                    <a:srgbClr val="00BCEB"/>
                  </a:solidFill>
                  <a:effectLst/>
                  <a:uLnTx/>
                  <a:uFillTx/>
                  <a:latin typeface="CiscoSansTT ExtraLight" panose="020B0303020201020303" pitchFamily="34" charset="0"/>
                  <a:ea typeface="+mn-ea"/>
                  <a:cs typeface="CiscoSansTT ExtraLight" panose="020B0303020201020303" pitchFamily="34" charset="0"/>
                </a:rPr>
                <a:t>x1</a:t>
              </a:r>
            </a:p>
          </p:txBody>
        </p:sp>
        <p:sp>
          <p:nvSpPr>
            <p:cNvPr id="223" name="Rectangle: Rounded Corners 222">
              <a:extLst>
                <a:ext uri="{FF2B5EF4-FFF2-40B4-BE49-F238E27FC236}">
                  <a16:creationId xmlns:a16="http://schemas.microsoft.com/office/drawing/2014/main" id="{1B18CEEA-29E6-49D5-A6D8-0D6491D4BD81}"/>
                </a:ext>
              </a:extLst>
            </p:cNvPr>
            <p:cNvSpPr/>
            <p:nvPr/>
          </p:nvSpPr>
          <p:spPr>
            <a:xfrm>
              <a:off x="2259621" y="2676457"/>
              <a:ext cx="603887" cy="299936"/>
            </a:xfrm>
            <a:prstGeom prst="roundRect">
              <a:avLst>
                <a:gd name="adj" fmla="val 50000"/>
              </a:avLst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48000" bIns="0" rtlCol="0" anchor="ctr" anchorCtr="0"/>
            <a:lstStyle/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>
                  <a:ln>
                    <a:noFill/>
                  </a:ln>
                  <a:solidFill>
                    <a:srgbClr val="00BCEB"/>
                  </a:solidFill>
                  <a:effectLst/>
                  <a:uLnTx/>
                  <a:uFillTx/>
                  <a:latin typeface="CiscoSansTT ExtraLight" panose="020B0303020201020303" pitchFamily="34" charset="0"/>
                  <a:ea typeface="+mn-ea"/>
                  <a:cs typeface="CiscoSansTT ExtraLight" panose="020B0303020201020303" pitchFamily="34" charset="0"/>
                </a:rPr>
                <a:t>x1</a:t>
              </a:r>
            </a:p>
          </p:txBody>
        </p:sp>
        <p:sp>
          <p:nvSpPr>
            <p:cNvPr id="220" name="Rectangle: Rounded Corners 219">
              <a:extLst>
                <a:ext uri="{FF2B5EF4-FFF2-40B4-BE49-F238E27FC236}">
                  <a16:creationId xmlns:a16="http://schemas.microsoft.com/office/drawing/2014/main" id="{24E69B50-E032-45C7-AB01-7F7967A165F9}"/>
                </a:ext>
              </a:extLst>
            </p:cNvPr>
            <p:cNvSpPr/>
            <p:nvPr/>
          </p:nvSpPr>
          <p:spPr>
            <a:xfrm>
              <a:off x="939974" y="3038328"/>
              <a:ext cx="603887" cy="299936"/>
            </a:xfrm>
            <a:prstGeom prst="roundRect">
              <a:avLst>
                <a:gd name="adj" fmla="val 50000"/>
              </a:avLst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48000" bIns="0" rtlCol="0" anchor="ctr" anchorCtr="0"/>
            <a:lstStyle/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>
                  <a:ln>
                    <a:noFill/>
                  </a:ln>
                  <a:solidFill>
                    <a:srgbClr val="00BCEB"/>
                  </a:solidFill>
                  <a:effectLst/>
                  <a:uLnTx/>
                  <a:uFillTx/>
                  <a:latin typeface="CiscoSansTT ExtraLight" panose="020B0303020201020303" pitchFamily="34" charset="0"/>
                  <a:ea typeface="+mn-ea"/>
                  <a:cs typeface="CiscoSansTT ExtraLight" panose="020B0303020201020303" pitchFamily="34" charset="0"/>
                </a:rPr>
                <a:t>x4</a:t>
              </a:r>
            </a:p>
          </p:txBody>
        </p:sp>
        <p:pic>
          <p:nvPicPr>
            <p:cNvPr id="61" name="Graphic 60">
              <a:extLst>
                <a:ext uri="{FF2B5EF4-FFF2-40B4-BE49-F238E27FC236}">
                  <a16:creationId xmlns:a16="http://schemas.microsoft.com/office/drawing/2014/main" id="{3CB1A87A-EB98-456E-90EF-BA1C6C21A649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940979" y="2676457"/>
              <a:ext cx="290463" cy="289608"/>
            </a:xfrm>
            <a:prstGeom prst="rect">
              <a:avLst/>
            </a:prstGeom>
          </p:spPr>
        </p:pic>
        <p:pic>
          <p:nvPicPr>
            <p:cNvPr id="62" name="Graphic 61">
              <a:extLst>
                <a:ext uri="{FF2B5EF4-FFF2-40B4-BE49-F238E27FC236}">
                  <a16:creationId xmlns:a16="http://schemas.microsoft.com/office/drawing/2014/main" id="{44537BA5-C24C-497E-80CD-73C7487D6974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1588474" y="2676672"/>
              <a:ext cx="289612" cy="289608"/>
            </a:xfrm>
            <a:prstGeom prst="rect">
              <a:avLst/>
            </a:prstGeom>
          </p:spPr>
        </p:pic>
        <p:pic>
          <p:nvPicPr>
            <p:cNvPr id="63" name="Graphic 62">
              <a:extLst>
                <a:ext uri="{FF2B5EF4-FFF2-40B4-BE49-F238E27FC236}">
                  <a16:creationId xmlns:a16="http://schemas.microsoft.com/office/drawing/2014/main" id="{87CE361C-BD7B-42F6-9B1C-A47C6691EEBC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2259620" y="2676457"/>
              <a:ext cx="289896" cy="289608"/>
            </a:xfrm>
            <a:prstGeom prst="rect">
              <a:avLst/>
            </a:prstGeom>
          </p:spPr>
        </p:pic>
        <p:pic>
          <p:nvPicPr>
            <p:cNvPr id="64" name="Graphic 63">
              <a:extLst>
                <a:ext uri="{FF2B5EF4-FFF2-40B4-BE49-F238E27FC236}">
                  <a16:creationId xmlns:a16="http://schemas.microsoft.com/office/drawing/2014/main" id="{832C479A-45FF-4FE6-8359-FC42BDDDADB6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943641" y="3043740"/>
              <a:ext cx="289612" cy="289608"/>
            </a:xfrm>
            <a:prstGeom prst="rect">
              <a:avLst/>
            </a:prstGeom>
          </p:spPr>
        </p:pic>
        <p:pic>
          <p:nvPicPr>
            <p:cNvPr id="65" name="Graphic 64">
              <a:extLst>
                <a:ext uri="{FF2B5EF4-FFF2-40B4-BE49-F238E27FC236}">
                  <a16:creationId xmlns:a16="http://schemas.microsoft.com/office/drawing/2014/main" id="{A5DD8843-224C-4B4D-8A60-5C033BA6A566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>
              <a:extLs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p:blipFill>
          <p:spPr>
            <a:xfrm>
              <a:off x="1589522" y="3045910"/>
              <a:ext cx="289612" cy="289608"/>
            </a:xfrm>
            <a:prstGeom prst="rect">
              <a:avLst/>
            </a:prstGeom>
          </p:spPr>
        </p:pic>
        <p:pic>
          <p:nvPicPr>
            <p:cNvPr id="66" name="Graphic 65">
              <a:extLst>
                <a:ext uri="{FF2B5EF4-FFF2-40B4-BE49-F238E27FC236}">
                  <a16:creationId xmlns:a16="http://schemas.microsoft.com/office/drawing/2014/main" id="{869DD001-F575-4B4E-A54B-2E98E4A4CC68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>
              <a:extLst>
                <a:ext uri="{96DAC541-7B7A-43D3-8B79-37D633B846F1}">
                  <asvg:svgBlip xmlns:asvg="http://schemas.microsoft.com/office/drawing/2016/SVG/main" r:embed="rId14"/>
                </a:ext>
              </a:extLst>
            </a:blip>
            <a:stretch>
              <a:fillRect/>
            </a:stretch>
          </p:blipFill>
          <p:spPr>
            <a:xfrm>
              <a:off x="2259903" y="3045910"/>
              <a:ext cx="289612" cy="289608"/>
            </a:xfrm>
            <a:prstGeom prst="rect">
              <a:avLst/>
            </a:prstGeom>
          </p:spPr>
        </p:pic>
      </p:grpSp>
      <p:grpSp>
        <p:nvGrpSpPr>
          <p:cNvPr id="13" name="Group 12">
            <a:extLst>
              <a:ext uri="{FF2B5EF4-FFF2-40B4-BE49-F238E27FC236}">
                <a16:creationId xmlns:a16="http://schemas.microsoft.com/office/drawing/2014/main" id="{6F0C2AFA-0DB9-A743-9EAF-26E5190F2C0D}"/>
              </a:ext>
            </a:extLst>
          </p:cNvPr>
          <p:cNvGrpSpPr/>
          <p:nvPr/>
        </p:nvGrpSpPr>
        <p:grpSpPr>
          <a:xfrm>
            <a:off x="3773217" y="3383332"/>
            <a:ext cx="1848643" cy="669389"/>
            <a:chOff x="3959005" y="2894240"/>
            <a:chExt cx="1848643" cy="669389"/>
          </a:xfrm>
        </p:grpSpPr>
        <p:sp>
          <p:nvSpPr>
            <p:cNvPr id="262" name="Rectangle: Rounded Corners 261">
              <a:extLst>
                <a:ext uri="{FF2B5EF4-FFF2-40B4-BE49-F238E27FC236}">
                  <a16:creationId xmlns:a16="http://schemas.microsoft.com/office/drawing/2014/main" id="{F196BA9A-7204-4075-94A1-7F21698AA477}"/>
                </a:ext>
              </a:extLst>
            </p:cNvPr>
            <p:cNvSpPr/>
            <p:nvPr/>
          </p:nvSpPr>
          <p:spPr>
            <a:xfrm>
              <a:off x="4579692" y="3263693"/>
              <a:ext cx="603887" cy="299936"/>
            </a:xfrm>
            <a:prstGeom prst="roundRect">
              <a:avLst>
                <a:gd name="adj" fmla="val 50000"/>
              </a:avLst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48000" bIns="0" rtlCol="0" anchor="ctr" anchorCtr="0"/>
            <a:lstStyle/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>
                  <a:ln>
                    <a:noFill/>
                  </a:ln>
                  <a:solidFill>
                    <a:srgbClr val="14284A"/>
                  </a:solidFill>
                  <a:effectLst/>
                  <a:uLnTx/>
                  <a:uFillTx/>
                  <a:latin typeface="CiscoSansTT ExtraLight" panose="020B0303020201020303" pitchFamily="34" charset="0"/>
                  <a:ea typeface="+mn-ea"/>
                  <a:cs typeface="CiscoSansTT ExtraLight" panose="020B0303020201020303" pitchFamily="34" charset="0"/>
                </a:rPr>
                <a:t>x1</a:t>
              </a:r>
            </a:p>
          </p:txBody>
        </p:sp>
        <p:sp>
          <p:nvSpPr>
            <p:cNvPr id="263" name="Rectangle: Rounded Corners 262">
              <a:extLst>
                <a:ext uri="{FF2B5EF4-FFF2-40B4-BE49-F238E27FC236}">
                  <a16:creationId xmlns:a16="http://schemas.microsoft.com/office/drawing/2014/main" id="{CFD11C52-ABA6-432E-9BD9-B87704F8805A}"/>
                </a:ext>
              </a:extLst>
            </p:cNvPr>
            <p:cNvSpPr/>
            <p:nvPr/>
          </p:nvSpPr>
          <p:spPr>
            <a:xfrm>
              <a:off x="5203761" y="3263693"/>
              <a:ext cx="603887" cy="299936"/>
            </a:xfrm>
            <a:prstGeom prst="roundRect">
              <a:avLst>
                <a:gd name="adj" fmla="val 50000"/>
              </a:avLst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48000" bIns="0" rtlCol="0" anchor="ctr" anchorCtr="0"/>
            <a:lstStyle/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>
                  <a:ln>
                    <a:noFill/>
                  </a:ln>
                  <a:solidFill>
                    <a:srgbClr val="14284A"/>
                  </a:solidFill>
                  <a:effectLst/>
                  <a:uLnTx/>
                  <a:uFillTx/>
                  <a:latin typeface="CiscoSansTT ExtraLight" panose="020B0303020201020303" pitchFamily="34" charset="0"/>
                  <a:ea typeface="+mn-ea"/>
                  <a:cs typeface="CiscoSansTT ExtraLight" panose="020B0303020201020303" pitchFamily="34" charset="0"/>
                </a:rPr>
                <a:t>x2</a:t>
              </a:r>
            </a:p>
          </p:txBody>
        </p:sp>
        <p:sp>
          <p:nvSpPr>
            <p:cNvPr id="264" name="Rectangle: Rounded Corners 263">
              <a:extLst>
                <a:ext uri="{FF2B5EF4-FFF2-40B4-BE49-F238E27FC236}">
                  <a16:creationId xmlns:a16="http://schemas.microsoft.com/office/drawing/2014/main" id="{69AA52F5-598F-4357-9FEF-AE77FF786347}"/>
                </a:ext>
              </a:extLst>
            </p:cNvPr>
            <p:cNvSpPr/>
            <p:nvPr/>
          </p:nvSpPr>
          <p:spPr>
            <a:xfrm>
              <a:off x="3960011" y="2894240"/>
              <a:ext cx="603887" cy="299936"/>
            </a:xfrm>
            <a:prstGeom prst="roundRect">
              <a:avLst>
                <a:gd name="adj" fmla="val 50000"/>
              </a:avLst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48000" bIns="0" rtlCol="0" anchor="ctr" anchorCtr="0"/>
            <a:lstStyle/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>
                  <a:ln>
                    <a:noFill/>
                  </a:ln>
                  <a:solidFill>
                    <a:srgbClr val="14284A"/>
                  </a:solidFill>
                  <a:effectLst/>
                  <a:uLnTx/>
                  <a:uFillTx/>
                  <a:latin typeface="CiscoSansTT ExtraLight" panose="020B0303020201020303" pitchFamily="34" charset="0"/>
                  <a:ea typeface="+mn-ea"/>
                  <a:cs typeface="CiscoSansTT ExtraLight" panose="020B0303020201020303" pitchFamily="34" charset="0"/>
                </a:rPr>
                <a:t>x7</a:t>
              </a:r>
            </a:p>
          </p:txBody>
        </p:sp>
        <p:sp>
          <p:nvSpPr>
            <p:cNvPr id="265" name="Rectangle: Rounded Corners 264">
              <a:extLst>
                <a:ext uri="{FF2B5EF4-FFF2-40B4-BE49-F238E27FC236}">
                  <a16:creationId xmlns:a16="http://schemas.microsoft.com/office/drawing/2014/main" id="{9709CDB7-C178-4867-BA5E-2408D2A86070}"/>
                </a:ext>
              </a:extLst>
            </p:cNvPr>
            <p:cNvSpPr/>
            <p:nvPr/>
          </p:nvSpPr>
          <p:spPr>
            <a:xfrm>
              <a:off x="4580195" y="2894240"/>
              <a:ext cx="603887" cy="299936"/>
            </a:xfrm>
            <a:prstGeom prst="roundRect">
              <a:avLst>
                <a:gd name="adj" fmla="val 50000"/>
              </a:avLst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48000" bIns="0" rtlCol="0" anchor="ctr" anchorCtr="0"/>
            <a:lstStyle/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>
                  <a:ln>
                    <a:noFill/>
                  </a:ln>
                  <a:solidFill>
                    <a:srgbClr val="14284A"/>
                  </a:solidFill>
                  <a:effectLst/>
                  <a:uLnTx/>
                  <a:uFillTx/>
                  <a:latin typeface="CiscoSansTT ExtraLight" panose="020B0303020201020303" pitchFamily="34" charset="0"/>
                  <a:ea typeface="+mn-ea"/>
                  <a:cs typeface="CiscoSansTT ExtraLight" panose="020B0303020201020303" pitchFamily="34" charset="0"/>
                </a:rPr>
                <a:t>x1</a:t>
              </a:r>
            </a:p>
          </p:txBody>
        </p:sp>
        <p:sp>
          <p:nvSpPr>
            <p:cNvPr id="266" name="Rectangle: Rounded Corners 265">
              <a:extLst>
                <a:ext uri="{FF2B5EF4-FFF2-40B4-BE49-F238E27FC236}">
                  <a16:creationId xmlns:a16="http://schemas.microsoft.com/office/drawing/2014/main" id="{3A300B61-047B-4A97-BFA4-DF407CA2521E}"/>
                </a:ext>
              </a:extLst>
            </p:cNvPr>
            <p:cNvSpPr/>
            <p:nvPr/>
          </p:nvSpPr>
          <p:spPr>
            <a:xfrm>
              <a:off x="5203761" y="2894240"/>
              <a:ext cx="603887" cy="299936"/>
            </a:xfrm>
            <a:prstGeom prst="roundRect">
              <a:avLst>
                <a:gd name="adj" fmla="val 50000"/>
              </a:avLst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48000" bIns="0" rtlCol="0" anchor="ctr" anchorCtr="0"/>
            <a:lstStyle/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>
                  <a:ln>
                    <a:noFill/>
                  </a:ln>
                  <a:solidFill>
                    <a:srgbClr val="14284A"/>
                  </a:solidFill>
                  <a:effectLst/>
                  <a:uLnTx/>
                  <a:uFillTx/>
                  <a:latin typeface="CiscoSansTT ExtraLight" panose="020B0303020201020303" pitchFamily="34" charset="0"/>
                  <a:ea typeface="+mn-ea"/>
                  <a:cs typeface="CiscoSansTT ExtraLight" panose="020B0303020201020303" pitchFamily="34" charset="0"/>
                </a:rPr>
                <a:t>x1</a:t>
              </a:r>
            </a:p>
          </p:txBody>
        </p:sp>
        <p:sp>
          <p:nvSpPr>
            <p:cNvPr id="267" name="Rectangle: Rounded Corners 266">
              <a:extLst>
                <a:ext uri="{FF2B5EF4-FFF2-40B4-BE49-F238E27FC236}">
                  <a16:creationId xmlns:a16="http://schemas.microsoft.com/office/drawing/2014/main" id="{318DFE50-9A5B-48CB-8180-167DC9EFC8B2}"/>
                </a:ext>
              </a:extLst>
            </p:cNvPr>
            <p:cNvSpPr/>
            <p:nvPr/>
          </p:nvSpPr>
          <p:spPr>
            <a:xfrm>
              <a:off x="3959005" y="3256110"/>
              <a:ext cx="603887" cy="299936"/>
            </a:xfrm>
            <a:prstGeom prst="roundRect">
              <a:avLst>
                <a:gd name="adj" fmla="val 50000"/>
              </a:avLst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48000" bIns="0" rtlCol="0" anchor="ctr" anchorCtr="0"/>
            <a:lstStyle/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>
                  <a:ln>
                    <a:noFill/>
                  </a:ln>
                  <a:solidFill>
                    <a:srgbClr val="14284A"/>
                  </a:solidFill>
                  <a:effectLst/>
                  <a:uLnTx/>
                  <a:uFillTx/>
                  <a:latin typeface="CiscoSansTT ExtraLight" panose="020B0303020201020303" pitchFamily="34" charset="0"/>
                  <a:ea typeface="+mn-ea"/>
                  <a:cs typeface="CiscoSansTT ExtraLight" panose="020B0303020201020303" pitchFamily="34" charset="0"/>
                </a:rPr>
                <a:t>x4</a:t>
              </a:r>
            </a:p>
          </p:txBody>
        </p:sp>
        <p:pic>
          <p:nvPicPr>
            <p:cNvPr id="268" name="Graphic 267">
              <a:extLst>
                <a:ext uri="{FF2B5EF4-FFF2-40B4-BE49-F238E27FC236}">
                  <a16:creationId xmlns:a16="http://schemas.microsoft.com/office/drawing/2014/main" id="{C9545903-F55F-45CE-A797-24832036483A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3960011" y="2894240"/>
              <a:ext cx="290463" cy="289608"/>
            </a:xfrm>
            <a:prstGeom prst="rect">
              <a:avLst/>
            </a:prstGeom>
          </p:spPr>
        </p:pic>
        <p:pic>
          <p:nvPicPr>
            <p:cNvPr id="269" name="Graphic 268">
              <a:extLst>
                <a:ext uri="{FF2B5EF4-FFF2-40B4-BE49-F238E27FC236}">
                  <a16:creationId xmlns:a16="http://schemas.microsoft.com/office/drawing/2014/main" id="{AC35B555-AF38-4F5D-85A4-99BB4D0E3ECF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4580620" y="2894454"/>
              <a:ext cx="289612" cy="289608"/>
            </a:xfrm>
            <a:prstGeom prst="rect">
              <a:avLst/>
            </a:prstGeom>
          </p:spPr>
        </p:pic>
        <p:pic>
          <p:nvPicPr>
            <p:cNvPr id="270" name="Graphic 269">
              <a:extLst>
                <a:ext uri="{FF2B5EF4-FFF2-40B4-BE49-F238E27FC236}">
                  <a16:creationId xmlns:a16="http://schemas.microsoft.com/office/drawing/2014/main" id="{D6F2F1C9-7D93-44F5-A400-00356662F9C1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5203761" y="2894240"/>
              <a:ext cx="289896" cy="289608"/>
            </a:xfrm>
            <a:prstGeom prst="rect">
              <a:avLst/>
            </a:prstGeom>
          </p:spPr>
        </p:pic>
        <p:pic>
          <p:nvPicPr>
            <p:cNvPr id="271" name="Graphic 270">
              <a:extLst>
                <a:ext uri="{FF2B5EF4-FFF2-40B4-BE49-F238E27FC236}">
                  <a16:creationId xmlns:a16="http://schemas.microsoft.com/office/drawing/2014/main" id="{428E182F-7F35-4401-9897-ED501625468D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3962672" y="3261522"/>
              <a:ext cx="289612" cy="289608"/>
            </a:xfrm>
            <a:prstGeom prst="rect">
              <a:avLst/>
            </a:prstGeom>
          </p:spPr>
        </p:pic>
        <p:pic>
          <p:nvPicPr>
            <p:cNvPr id="272" name="Graphic 271">
              <a:extLst>
                <a:ext uri="{FF2B5EF4-FFF2-40B4-BE49-F238E27FC236}">
                  <a16:creationId xmlns:a16="http://schemas.microsoft.com/office/drawing/2014/main" id="{2746B7D3-3056-44AD-AF15-069A9D14C096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>
              <a:extLs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p:blipFill>
          <p:spPr>
            <a:xfrm>
              <a:off x="4581668" y="3263693"/>
              <a:ext cx="289612" cy="289608"/>
            </a:xfrm>
            <a:prstGeom prst="rect">
              <a:avLst/>
            </a:prstGeom>
          </p:spPr>
        </p:pic>
        <p:pic>
          <p:nvPicPr>
            <p:cNvPr id="273" name="Graphic 272">
              <a:extLst>
                <a:ext uri="{FF2B5EF4-FFF2-40B4-BE49-F238E27FC236}">
                  <a16:creationId xmlns:a16="http://schemas.microsoft.com/office/drawing/2014/main" id="{A772025B-92B7-402B-99E4-807F17CFBFA7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>
              <a:extLst>
                <a:ext uri="{96DAC541-7B7A-43D3-8B79-37D633B846F1}">
                  <asvg:svgBlip xmlns:asvg="http://schemas.microsoft.com/office/drawing/2016/SVG/main" r:embed="rId14"/>
                </a:ext>
              </a:extLst>
            </a:blip>
            <a:stretch>
              <a:fillRect/>
            </a:stretch>
          </p:blipFill>
          <p:spPr>
            <a:xfrm>
              <a:off x="5204044" y="3263693"/>
              <a:ext cx="289612" cy="289608"/>
            </a:xfrm>
            <a:prstGeom prst="rect">
              <a:avLst/>
            </a:prstGeom>
          </p:spPr>
        </p:pic>
      </p:grpSp>
      <p:grpSp>
        <p:nvGrpSpPr>
          <p:cNvPr id="14" name="Group 13">
            <a:extLst>
              <a:ext uri="{FF2B5EF4-FFF2-40B4-BE49-F238E27FC236}">
                <a16:creationId xmlns:a16="http://schemas.microsoft.com/office/drawing/2014/main" id="{7DDB4C67-A3DC-374F-8135-481E322BC42E}"/>
              </a:ext>
            </a:extLst>
          </p:cNvPr>
          <p:cNvGrpSpPr/>
          <p:nvPr/>
        </p:nvGrpSpPr>
        <p:grpSpPr>
          <a:xfrm>
            <a:off x="6537327" y="3383332"/>
            <a:ext cx="1912015" cy="669389"/>
            <a:chOff x="6673462" y="3055097"/>
            <a:chExt cx="1912015" cy="669389"/>
          </a:xfrm>
        </p:grpSpPr>
        <p:sp>
          <p:nvSpPr>
            <p:cNvPr id="226" name="Rectangle: Rounded Corners 225">
              <a:extLst>
                <a:ext uri="{FF2B5EF4-FFF2-40B4-BE49-F238E27FC236}">
                  <a16:creationId xmlns:a16="http://schemas.microsoft.com/office/drawing/2014/main" id="{BCFDA868-B30C-4A0B-9F09-907B173A5D2D}"/>
                </a:ext>
              </a:extLst>
            </p:cNvPr>
            <p:cNvSpPr/>
            <p:nvPr/>
          </p:nvSpPr>
          <p:spPr>
            <a:xfrm>
              <a:off x="7309515" y="3424550"/>
              <a:ext cx="603887" cy="299936"/>
            </a:xfrm>
            <a:prstGeom prst="roundRect">
              <a:avLst>
                <a:gd name="adj" fmla="val 50000"/>
              </a:avLst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48000" bIns="0" rtlCol="0" anchor="ctr" anchorCtr="0"/>
            <a:lstStyle/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>
                  <a:ln>
                    <a:noFill/>
                  </a:ln>
                  <a:solidFill>
                    <a:srgbClr val="6EBE4A"/>
                  </a:solidFill>
                  <a:effectLst/>
                  <a:uLnTx/>
                  <a:uFillTx/>
                  <a:latin typeface="CiscoSansTT ExtraLight" panose="020B0303020201020303" pitchFamily="34" charset="0"/>
                  <a:ea typeface="+mn-ea"/>
                  <a:cs typeface="CiscoSansTT ExtraLight" panose="020B0303020201020303" pitchFamily="34" charset="0"/>
                </a:rPr>
                <a:t>x1</a:t>
              </a:r>
            </a:p>
          </p:txBody>
        </p:sp>
        <p:sp>
          <p:nvSpPr>
            <p:cNvPr id="227" name="Rectangle: Rounded Corners 226">
              <a:extLst>
                <a:ext uri="{FF2B5EF4-FFF2-40B4-BE49-F238E27FC236}">
                  <a16:creationId xmlns:a16="http://schemas.microsoft.com/office/drawing/2014/main" id="{4FD9BCC9-9ED2-4F73-B34F-5F9464573453}"/>
                </a:ext>
              </a:extLst>
            </p:cNvPr>
            <p:cNvSpPr/>
            <p:nvPr/>
          </p:nvSpPr>
          <p:spPr>
            <a:xfrm>
              <a:off x="7981590" y="3424550"/>
              <a:ext cx="603887" cy="299936"/>
            </a:xfrm>
            <a:prstGeom prst="roundRect">
              <a:avLst>
                <a:gd name="adj" fmla="val 50000"/>
              </a:avLst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48000" bIns="0" rtlCol="0" anchor="ctr" anchorCtr="0"/>
            <a:lstStyle/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>
                  <a:ln>
                    <a:noFill/>
                  </a:ln>
                  <a:solidFill>
                    <a:srgbClr val="6EBE4A"/>
                  </a:solidFill>
                  <a:effectLst/>
                  <a:uLnTx/>
                  <a:uFillTx/>
                  <a:latin typeface="CiscoSansTT ExtraLight" panose="020B0303020201020303" pitchFamily="34" charset="0"/>
                  <a:ea typeface="+mn-ea"/>
                  <a:cs typeface="CiscoSansTT ExtraLight" panose="020B0303020201020303" pitchFamily="34" charset="0"/>
                </a:rPr>
                <a:t>x1</a:t>
              </a:r>
            </a:p>
          </p:txBody>
        </p:sp>
        <p:sp>
          <p:nvSpPr>
            <p:cNvPr id="228" name="Rectangle: Rounded Corners 227">
              <a:extLst>
                <a:ext uri="{FF2B5EF4-FFF2-40B4-BE49-F238E27FC236}">
                  <a16:creationId xmlns:a16="http://schemas.microsoft.com/office/drawing/2014/main" id="{A49171EB-B1ED-4238-B46C-4FC7231032D4}"/>
                </a:ext>
              </a:extLst>
            </p:cNvPr>
            <p:cNvSpPr/>
            <p:nvPr/>
          </p:nvSpPr>
          <p:spPr>
            <a:xfrm>
              <a:off x="6674467" y="3055097"/>
              <a:ext cx="603887" cy="299936"/>
            </a:xfrm>
            <a:prstGeom prst="roundRect">
              <a:avLst>
                <a:gd name="adj" fmla="val 50000"/>
              </a:avLst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48000" bIns="0" rtlCol="0" anchor="ctr" anchorCtr="0"/>
            <a:lstStyle/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>
                  <a:ln>
                    <a:noFill/>
                  </a:ln>
                  <a:solidFill>
                    <a:srgbClr val="6EBE4A"/>
                  </a:solidFill>
                  <a:effectLst/>
                  <a:uLnTx/>
                  <a:uFillTx/>
                  <a:latin typeface="CiscoSansTT ExtraLight" panose="020B0303020201020303" pitchFamily="34" charset="0"/>
                  <a:ea typeface="+mn-ea"/>
                  <a:cs typeface="CiscoSansTT ExtraLight" panose="020B0303020201020303" pitchFamily="34" charset="0"/>
                </a:rPr>
                <a:t>x8</a:t>
              </a:r>
            </a:p>
          </p:txBody>
        </p:sp>
        <p:sp>
          <p:nvSpPr>
            <p:cNvPr id="229" name="Rectangle: Rounded Corners 228">
              <a:extLst>
                <a:ext uri="{FF2B5EF4-FFF2-40B4-BE49-F238E27FC236}">
                  <a16:creationId xmlns:a16="http://schemas.microsoft.com/office/drawing/2014/main" id="{DA416E19-A279-4A75-88FF-88AD17C4E00B}"/>
                </a:ext>
              </a:extLst>
            </p:cNvPr>
            <p:cNvSpPr/>
            <p:nvPr/>
          </p:nvSpPr>
          <p:spPr>
            <a:xfrm>
              <a:off x="7310018" y="3055097"/>
              <a:ext cx="603887" cy="299936"/>
            </a:xfrm>
            <a:prstGeom prst="roundRect">
              <a:avLst>
                <a:gd name="adj" fmla="val 50000"/>
              </a:avLst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48000" bIns="0" rtlCol="0" anchor="ctr" anchorCtr="0"/>
            <a:lstStyle/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>
                  <a:ln>
                    <a:noFill/>
                  </a:ln>
                  <a:solidFill>
                    <a:srgbClr val="6EBE4A"/>
                  </a:solidFill>
                  <a:effectLst/>
                  <a:uLnTx/>
                  <a:uFillTx/>
                  <a:latin typeface="CiscoSansTT ExtraLight" panose="020B0303020201020303" pitchFamily="34" charset="0"/>
                  <a:ea typeface="+mn-ea"/>
                  <a:cs typeface="CiscoSansTT ExtraLight" panose="020B0303020201020303" pitchFamily="34" charset="0"/>
                </a:rPr>
                <a:t>x1</a:t>
              </a:r>
            </a:p>
          </p:txBody>
        </p:sp>
        <p:sp>
          <p:nvSpPr>
            <p:cNvPr id="230" name="Rectangle: Rounded Corners 229">
              <a:extLst>
                <a:ext uri="{FF2B5EF4-FFF2-40B4-BE49-F238E27FC236}">
                  <a16:creationId xmlns:a16="http://schemas.microsoft.com/office/drawing/2014/main" id="{DAD421F7-4B02-4749-8F6F-677166E690E9}"/>
                </a:ext>
              </a:extLst>
            </p:cNvPr>
            <p:cNvSpPr/>
            <p:nvPr/>
          </p:nvSpPr>
          <p:spPr>
            <a:xfrm>
              <a:off x="7981590" y="3055097"/>
              <a:ext cx="603887" cy="299936"/>
            </a:xfrm>
            <a:prstGeom prst="roundRect">
              <a:avLst>
                <a:gd name="adj" fmla="val 50000"/>
              </a:avLst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48000" bIns="0" rtlCol="0" anchor="ctr" anchorCtr="0"/>
            <a:lstStyle/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>
                  <a:ln>
                    <a:noFill/>
                  </a:ln>
                  <a:solidFill>
                    <a:srgbClr val="6EBE4A"/>
                  </a:solidFill>
                  <a:effectLst/>
                  <a:uLnTx/>
                  <a:uFillTx/>
                  <a:latin typeface="CiscoSansTT ExtraLight" panose="020B0303020201020303" pitchFamily="34" charset="0"/>
                  <a:ea typeface="+mn-ea"/>
                  <a:cs typeface="CiscoSansTT ExtraLight" panose="020B0303020201020303" pitchFamily="34" charset="0"/>
                </a:rPr>
                <a:t>x1</a:t>
              </a:r>
            </a:p>
          </p:txBody>
        </p:sp>
        <p:sp>
          <p:nvSpPr>
            <p:cNvPr id="231" name="Rectangle: Rounded Corners 230">
              <a:extLst>
                <a:ext uri="{FF2B5EF4-FFF2-40B4-BE49-F238E27FC236}">
                  <a16:creationId xmlns:a16="http://schemas.microsoft.com/office/drawing/2014/main" id="{852515AD-CDD2-4012-8185-0B3F4D9751A1}"/>
                </a:ext>
              </a:extLst>
            </p:cNvPr>
            <p:cNvSpPr/>
            <p:nvPr/>
          </p:nvSpPr>
          <p:spPr>
            <a:xfrm>
              <a:off x="6673462" y="3416968"/>
              <a:ext cx="603887" cy="299936"/>
            </a:xfrm>
            <a:prstGeom prst="roundRect">
              <a:avLst>
                <a:gd name="adj" fmla="val 50000"/>
              </a:avLst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48000" bIns="0" rtlCol="0" anchor="ctr" anchorCtr="0"/>
            <a:lstStyle/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>
                  <a:ln>
                    <a:noFill/>
                  </a:ln>
                  <a:solidFill>
                    <a:srgbClr val="6EBE4A"/>
                  </a:solidFill>
                  <a:effectLst/>
                  <a:uLnTx/>
                  <a:uFillTx/>
                  <a:latin typeface="CiscoSansTT ExtraLight" panose="020B0303020201020303" pitchFamily="34" charset="0"/>
                  <a:ea typeface="+mn-ea"/>
                  <a:cs typeface="CiscoSansTT ExtraLight" panose="020B0303020201020303" pitchFamily="34" charset="0"/>
                </a:rPr>
                <a:t>x8</a:t>
              </a:r>
            </a:p>
          </p:txBody>
        </p:sp>
        <p:pic>
          <p:nvPicPr>
            <p:cNvPr id="232" name="Graphic 231">
              <a:extLst>
                <a:ext uri="{FF2B5EF4-FFF2-40B4-BE49-F238E27FC236}">
                  <a16:creationId xmlns:a16="http://schemas.microsoft.com/office/drawing/2014/main" id="{DFACCAF8-B48B-4AA6-983E-8898DA1EC35C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6674467" y="3055097"/>
              <a:ext cx="290463" cy="289608"/>
            </a:xfrm>
            <a:prstGeom prst="rect">
              <a:avLst/>
            </a:prstGeom>
          </p:spPr>
        </p:pic>
        <p:pic>
          <p:nvPicPr>
            <p:cNvPr id="233" name="Graphic 232">
              <a:extLst>
                <a:ext uri="{FF2B5EF4-FFF2-40B4-BE49-F238E27FC236}">
                  <a16:creationId xmlns:a16="http://schemas.microsoft.com/office/drawing/2014/main" id="{B37AE05B-B070-4C5C-ADE8-A00469926F10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7310443" y="3055312"/>
              <a:ext cx="289612" cy="289608"/>
            </a:xfrm>
            <a:prstGeom prst="rect">
              <a:avLst/>
            </a:prstGeom>
          </p:spPr>
        </p:pic>
        <p:pic>
          <p:nvPicPr>
            <p:cNvPr id="234" name="Graphic 233">
              <a:extLst>
                <a:ext uri="{FF2B5EF4-FFF2-40B4-BE49-F238E27FC236}">
                  <a16:creationId xmlns:a16="http://schemas.microsoft.com/office/drawing/2014/main" id="{D82D6E68-5B57-4944-ACDC-98B265EBFD9D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7981589" y="3055097"/>
              <a:ext cx="289896" cy="289608"/>
            </a:xfrm>
            <a:prstGeom prst="rect">
              <a:avLst/>
            </a:prstGeom>
          </p:spPr>
        </p:pic>
        <p:pic>
          <p:nvPicPr>
            <p:cNvPr id="235" name="Graphic 234">
              <a:extLst>
                <a:ext uri="{FF2B5EF4-FFF2-40B4-BE49-F238E27FC236}">
                  <a16:creationId xmlns:a16="http://schemas.microsoft.com/office/drawing/2014/main" id="{18F01AFB-C1FC-4802-B752-E1FDA1FDCAB8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6677129" y="3422380"/>
              <a:ext cx="289612" cy="289608"/>
            </a:xfrm>
            <a:prstGeom prst="rect">
              <a:avLst/>
            </a:prstGeom>
          </p:spPr>
        </p:pic>
        <p:pic>
          <p:nvPicPr>
            <p:cNvPr id="236" name="Graphic 235">
              <a:extLst>
                <a:ext uri="{FF2B5EF4-FFF2-40B4-BE49-F238E27FC236}">
                  <a16:creationId xmlns:a16="http://schemas.microsoft.com/office/drawing/2014/main" id="{19E0432C-8712-477B-A27C-6FA1826ED99E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>
              <a:extLs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p:blipFill>
          <p:spPr>
            <a:xfrm>
              <a:off x="7311491" y="3424550"/>
              <a:ext cx="289612" cy="289608"/>
            </a:xfrm>
            <a:prstGeom prst="rect">
              <a:avLst/>
            </a:prstGeom>
          </p:spPr>
        </p:pic>
        <p:pic>
          <p:nvPicPr>
            <p:cNvPr id="237" name="Graphic 236">
              <a:extLst>
                <a:ext uri="{FF2B5EF4-FFF2-40B4-BE49-F238E27FC236}">
                  <a16:creationId xmlns:a16="http://schemas.microsoft.com/office/drawing/2014/main" id="{82452A53-0767-4B34-9092-2BC9370A7FB7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>
              <a:extLst>
                <a:ext uri="{96DAC541-7B7A-43D3-8B79-37D633B846F1}">
                  <asvg:svgBlip xmlns:asvg="http://schemas.microsoft.com/office/drawing/2016/SVG/main" r:embed="rId14"/>
                </a:ext>
              </a:extLst>
            </a:blip>
            <a:stretch>
              <a:fillRect/>
            </a:stretch>
          </p:blipFill>
          <p:spPr>
            <a:xfrm>
              <a:off x="7981873" y="3424550"/>
              <a:ext cx="289612" cy="289608"/>
            </a:xfrm>
            <a:prstGeom prst="rect">
              <a:avLst/>
            </a:prstGeom>
          </p:spPr>
        </p:pic>
      </p:grpSp>
      <p:grpSp>
        <p:nvGrpSpPr>
          <p:cNvPr id="15" name="Group 14">
            <a:extLst>
              <a:ext uri="{FF2B5EF4-FFF2-40B4-BE49-F238E27FC236}">
                <a16:creationId xmlns:a16="http://schemas.microsoft.com/office/drawing/2014/main" id="{2F930F55-A16D-7244-BE53-26A76021AD86}"/>
              </a:ext>
            </a:extLst>
          </p:cNvPr>
          <p:cNvGrpSpPr/>
          <p:nvPr/>
        </p:nvGrpSpPr>
        <p:grpSpPr>
          <a:xfrm>
            <a:off x="9332436" y="3383332"/>
            <a:ext cx="1913388" cy="669389"/>
            <a:chOff x="9696971" y="2896618"/>
            <a:chExt cx="1913388" cy="669389"/>
          </a:xfrm>
        </p:grpSpPr>
        <p:sp>
          <p:nvSpPr>
            <p:cNvPr id="238" name="Rectangle: Rounded Corners 237">
              <a:extLst>
                <a:ext uri="{FF2B5EF4-FFF2-40B4-BE49-F238E27FC236}">
                  <a16:creationId xmlns:a16="http://schemas.microsoft.com/office/drawing/2014/main" id="{5DABD283-99D8-4DDE-83F1-FFF0D1616E7A}"/>
                </a:ext>
              </a:extLst>
            </p:cNvPr>
            <p:cNvSpPr/>
            <p:nvPr/>
          </p:nvSpPr>
          <p:spPr>
            <a:xfrm>
              <a:off x="10334398" y="3266071"/>
              <a:ext cx="603887" cy="299936"/>
            </a:xfrm>
            <a:prstGeom prst="roundRect">
              <a:avLst>
                <a:gd name="adj" fmla="val 50000"/>
              </a:avLst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48000" bIns="0" rtlCol="0" anchor="ctr" anchorCtr="0"/>
            <a:lstStyle/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>
                  <a:ln>
                    <a:noFill/>
                  </a:ln>
                  <a:solidFill>
                    <a:srgbClr val="FBAB18"/>
                  </a:solidFill>
                  <a:effectLst/>
                  <a:uLnTx/>
                  <a:uFillTx/>
                  <a:latin typeface="CiscoSansTT ExtraLight" panose="020B0303020201020303" pitchFamily="34" charset="0"/>
                  <a:ea typeface="+mn-ea"/>
                  <a:cs typeface="CiscoSansTT ExtraLight" panose="020B0303020201020303" pitchFamily="34" charset="0"/>
                </a:rPr>
                <a:t>x1</a:t>
              </a:r>
            </a:p>
          </p:txBody>
        </p:sp>
        <p:sp>
          <p:nvSpPr>
            <p:cNvPr id="239" name="Rectangle: Rounded Corners 238">
              <a:extLst>
                <a:ext uri="{FF2B5EF4-FFF2-40B4-BE49-F238E27FC236}">
                  <a16:creationId xmlns:a16="http://schemas.microsoft.com/office/drawing/2014/main" id="{8DB6D240-B91E-43C3-BD08-17DF097A0428}"/>
                </a:ext>
              </a:extLst>
            </p:cNvPr>
            <p:cNvSpPr/>
            <p:nvPr/>
          </p:nvSpPr>
          <p:spPr>
            <a:xfrm>
              <a:off x="11006472" y="3266071"/>
              <a:ext cx="603887" cy="299936"/>
            </a:xfrm>
            <a:prstGeom prst="roundRect">
              <a:avLst>
                <a:gd name="adj" fmla="val 50000"/>
              </a:avLst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48000" bIns="0" rtlCol="0" anchor="ctr" anchorCtr="0"/>
            <a:lstStyle/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>
                  <a:ln>
                    <a:noFill/>
                  </a:ln>
                  <a:solidFill>
                    <a:srgbClr val="FBAB18"/>
                  </a:solidFill>
                  <a:effectLst/>
                  <a:uLnTx/>
                  <a:uFillTx/>
                  <a:latin typeface="CiscoSansTT ExtraLight" panose="020B0303020201020303" pitchFamily="34" charset="0"/>
                  <a:ea typeface="+mn-ea"/>
                  <a:cs typeface="CiscoSansTT ExtraLight" panose="020B0303020201020303" pitchFamily="34" charset="0"/>
                </a:rPr>
                <a:t>x1</a:t>
              </a:r>
            </a:p>
          </p:txBody>
        </p:sp>
        <p:sp>
          <p:nvSpPr>
            <p:cNvPr id="240" name="Rectangle: Rounded Corners 239">
              <a:extLst>
                <a:ext uri="{FF2B5EF4-FFF2-40B4-BE49-F238E27FC236}">
                  <a16:creationId xmlns:a16="http://schemas.microsoft.com/office/drawing/2014/main" id="{D28E6113-9AE4-4502-8558-6FADED584439}"/>
                </a:ext>
              </a:extLst>
            </p:cNvPr>
            <p:cNvSpPr/>
            <p:nvPr/>
          </p:nvSpPr>
          <p:spPr>
            <a:xfrm>
              <a:off x="9697976" y="2896618"/>
              <a:ext cx="603887" cy="299936"/>
            </a:xfrm>
            <a:prstGeom prst="roundRect">
              <a:avLst>
                <a:gd name="adj" fmla="val 50000"/>
              </a:avLst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48000" bIns="0" rtlCol="0" anchor="ctr" anchorCtr="0"/>
            <a:lstStyle/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>
                  <a:ln>
                    <a:noFill/>
                  </a:ln>
                  <a:solidFill>
                    <a:srgbClr val="FBAB18"/>
                  </a:solidFill>
                  <a:effectLst/>
                  <a:uLnTx/>
                  <a:uFillTx/>
                  <a:latin typeface="CiscoSansTT ExtraLight" panose="020B0303020201020303" pitchFamily="34" charset="0"/>
                  <a:ea typeface="+mn-ea"/>
                  <a:cs typeface="CiscoSansTT ExtraLight" panose="020B0303020201020303" pitchFamily="34" charset="0"/>
                </a:rPr>
                <a:t>x7</a:t>
              </a:r>
            </a:p>
          </p:txBody>
        </p:sp>
        <p:sp>
          <p:nvSpPr>
            <p:cNvPr id="241" name="Rectangle: Rounded Corners 240">
              <a:extLst>
                <a:ext uri="{FF2B5EF4-FFF2-40B4-BE49-F238E27FC236}">
                  <a16:creationId xmlns:a16="http://schemas.microsoft.com/office/drawing/2014/main" id="{01F14961-8609-4506-8588-97CC557D008E}"/>
                </a:ext>
              </a:extLst>
            </p:cNvPr>
            <p:cNvSpPr/>
            <p:nvPr/>
          </p:nvSpPr>
          <p:spPr>
            <a:xfrm>
              <a:off x="10334900" y="2896618"/>
              <a:ext cx="603887" cy="299936"/>
            </a:xfrm>
            <a:prstGeom prst="roundRect">
              <a:avLst>
                <a:gd name="adj" fmla="val 50000"/>
              </a:avLst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48000" bIns="0" rtlCol="0" anchor="ctr" anchorCtr="0"/>
            <a:lstStyle/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>
                  <a:ln>
                    <a:noFill/>
                  </a:ln>
                  <a:solidFill>
                    <a:srgbClr val="FBAB18"/>
                  </a:solidFill>
                  <a:effectLst/>
                  <a:uLnTx/>
                  <a:uFillTx/>
                  <a:latin typeface="CiscoSansTT ExtraLight" panose="020B0303020201020303" pitchFamily="34" charset="0"/>
                  <a:ea typeface="+mn-ea"/>
                  <a:cs typeface="CiscoSansTT ExtraLight" panose="020B0303020201020303" pitchFamily="34" charset="0"/>
                </a:rPr>
                <a:t>x1</a:t>
              </a:r>
            </a:p>
          </p:txBody>
        </p:sp>
        <p:sp>
          <p:nvSpPr>
            <p:cNvPr id="242" name="Rectangle: Rounded Corners 241">
              <a:extLst>
                <a:ext uri="{FF2B5EF4-FFF2-40B4-BE49-F238E27FC236}">
                  <a16:creationId xmlns:a16="http://schemas.microsoft.com/office/drawing/2014/main" id="{98CCEAF8-04DF-435A-959F-AFAAAE7E4C1B}"/>
                </a:ext>
              </a:extLst>
            </p:cNvPr>
            <p:cNvSpPr/>
            <p:nvPr/>
          </p:nvSpPr>
          <p:spPr>
            <a:xfrm>
              <a:off x="11006472" y="2896618"/>
              <a:ext cx="603887" cy="299936"/>
            </a:xfrm>
            <a:prstGeom prst="roundRect">
              <a:avLst>
                <a:gd name="adj" fmla="val 50000"/>
              </a:avLst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48000" bIns="0" rtlCol="0" anchor="ctr" anchorCtr="0"/>
            <a:lstStyle/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>
                  <a:ln>
                    <a:noFill/>
                  </a:ln>
                  <a:solidFill>
                    <a:srgbClr val="FBAB18"/>
                  </a:solidFill>
                  <a:effectLst/>
                  <a:uLnTx/>
                  <a:uFillTx/>
                  <a:latin typeface="CiscoSansTT ExtraLight" panose="020B0303020201020303" pitchFamily="34" charset="0"/>
                  <a:ea typeface="+mn-ea"/>
                  <a:cs typeface="CiscoSansTT ExtraLight" panose="020B0303020201020303" pitchFamily="34" charset="0"/>
                </a:rPr>
                <a:t>x1</a:t>
              </a:r>
            </a:p>
          </p:txBody>
        </p:sp>
        <p:sp>
          <p:nvSpPr>
            <p:cNvPr id="243" name="Rectangle: Rounded Corners 242">
              <a:extLst>
                <a:ext uri="{FF2B5EF4-FFF2-40B4-BE49-F238E27FC236}">
                  <a16:creationId xmlns:a16="http://schemas.microsoft.com/office/drawing/2014/main" id="{3263103C-6773-4EA5-AFC3-9D99067A77F7}"/>
                </a:ext>
              </a:extLst>
            </p:cNvPr>
            <p:cNvSpPr/>
            <p:nvPr/>
          </p:nvSpPr>
          <p:spPr>
            <a:xfrm>
              <a:off x="9696971" y="3258488"/>
              <a:ext cx="603887" cy="299936"/>
            </a:xfrm>
            <a:prstGeom prst="roundRect">
              <a:avLst>
                <a:gd name="adj" fmla="val 50000"/>
              </a:avLst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48000" bIns="0" rtlCol="0" anchor="ctr" anchorCtr="0"/>
            <a:lstStyle/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>
                  <a:ln>
                    <a:noFill/>
                  </a:ln>
                  <a:solidFill>
                    <a:srgbClr val="FBAB18"/>
                  </a:solidFill>
                  <a:effectLst/>
                  <a:uLnTx/>
                  <a:uFillTx/>
                  <a:latin typeface="CiscoSansTT ExtraLight" panose="020B0303020201020303" pitchFamily="34" charset="0"/>
                  <a:ea typeface="+mn-ea"/>
                  <a:cs typeface="CiscoSansTT ExtraLight" panose="020B0303020201020303" pitchFamily="34" charset="0"/>
                </a:rPr>
                <a:t>x2</a:t>
              </a:r>
            </a:p>
          </p:txBody>
        </p:sp>
        <p:pic>
          <p:nvPicPr>
            <p:cNvPr id="244" name="Graphic 243">
              <a:extLst>
                <a:ext uri="{FF2B5EF4-FFF2-40B4-BE49-F238E27FC236}">
                  <a16:creationId xmlns:a16="http://schemas.microsoft.com/office/drawing/2014/main" id="{BDF3D4D8-9615-4C5F-8439-21409CC379F1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9697976" y="2896618"/>
              <a:ext cx="290463" cy="289608"/>
            </a:xfrm>
            <a:prstGeom prst="rect">
              <a:avLst/>
            </a:prstGeom>
          </p:spPr>
        </p:pic>
        <p:pic>
          <p:nvPicPr>
            <p:cNvPr id="245" name="Graphic 244">
              <a:extLst>
                <a:ext uri="{FF2B5EF4-FFF2-40B4-BE49-F238E27FC236}">
                  <a16:creationId xmlns:a16="http://schemas.microsoft.com/office/drawing/2014/main" id="{4E5FCB12-6E52-4137-9FBE-8DFD5223393D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10335326" y="2896832"/>
              <a:ext cx="289612" cy="289608"/>
            </a:xfrm>
            <a:prstGeom prst="rect">
              <a:avLst/>
            </a:prstGeom>
          </p:spPr>
        </p:pic>
        <p:pic>
          <p:nvPicPr>
            <p:cNvPr id="246" name="Graphic 245">
              <a:extLst>
                <a:ext uri="{FF2B5EF4-FFF2-40B4-BE49-F238E27FC236}">
                  <a16:creationId xmlns:a16="http://schemas.microsoft.com/office/drawing/2014/main" id="{D17384AA-7399-44C4-9B96-23EF4F61C31A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11006472" y="2896618"/>
              <a:ext cx="289896" cy="289608"/>
            </a:xfrm>
            <a:prstGeom prst="rect">
              <a:avLst/>
            </a:prstGeom>
          </p:spPr>
        </p:pic>
        <p:pic>
          <p:nvPicPr>
            <p:cNvPr id="247" name="Graphic 246">
              <a:extLst>
                <a:ext uri="{FF2B5EF4-FFF2-40B4-BE49-F238E27FC236}">
                  <a16:creationId xmlns:a16="http://schemas.microsoft.com/office/drawing/2014/main" id="{A00C18B7-7F67-4FB2-92B7-22DCD9BAA292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9700638" y="3263900"/>
              <a:ext cx="289612" cy="289608"/>
            </a:xfrm>
            <a:prstGeom prst="rect">
              <a:avLst/>
            </a:prstGeom>
          </p:spPr>
        </p:pic>
        <p:pic>
          <p:nvPicPr>
            <p:cNvPr id="248" name="Graphic 247">
              <a:extLst>
                <a:ext uri="{FF2B5EF4-FFF2-40B4-BE49-F238E27FC236}">
                  <a16:creationId xmlns:a16="http://schemas.microsoft.com/office/drawing/2014/main" id="{C89F3CA0-AC23-45AC-958F-4DB54CF724F4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>
              <a:extLs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p:blipFill>
          <p:spPr>
            <a:xfrm>
              <a:off x="10336374" y="3266071"/>
              <a:ext cx="289612" cy="289608"/>
            </a:xfrm>
            <a:prstGeom prst="rect">
              <a:avLst/>
            </a:prstGeom>
          </p:spPr>
        </p:pic>
        <p:pic>
          <p:nvPicPr>
            <p:cNvPr id="249" name="Graphic 248">
              <a:extLst>
                <a:ext uri="{FF2B5EF4-FFF2-40B4-BE49-F238E27FC236}">
                  <a16:creationId xmlns:a16="http://schemas.microsoft.com/office/drawing/2014/main" id="{99CB932D-6D7D-4A15-8B8B-BACC1C0CAD37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>
              <a:extLst>
                <a:ext uri="{96DAC541-7B7A-43D3-8B79-37D633B846F1}">
                  <asvg:svgBlip xmlns:asvg="http://schemas.microsoft.com/office/drawing/2016/SVG/main" r:embed="rId14"/>
                </a:ext>
              </a:extLst>
            </a:blip>
            <a:stretch>
              <a:fillRect/>
            </a:stretch>
          </p:blipFill>
          <p:spPr>
            <a:xfrm>
              <a:off x="11006755" y="3266071"/>
              <a:ext cx="289612" cy="289608"/>
            </a:xfrm>
            <a:prstGeom prst="rect">
              <a:avLst/>
            </a:prstGeom>
          </p:spPr>
        </p:pic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36B1E09F-FEE5-4534-8262-D5385841C68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58960" y="261807"/>
            <a:ext cx="10752667" cy="903816"/>
          </a:xfrm>
        </p:spPr>
        <p:txBody>
          <a:bodyPr/>
          <a:lstStyle/>
          <a:p>
            <a:r>
              <a:rPr lang="en-US" sz="2000">
                <a:solidFill>
                  <a:schemeClr val="accent2"/>
                </a:solidFill>
              </a:rPr>
              <a:t>Advantage use case</a:t>
            </a:r>
            <a:br>
              <a:rPr lang="en-US"/>
            </a:br>
            <a:r>
              <a:rPr lang="en-US"/>
              <a:t>Business Critical Services</a:t>
            </a:r>
            <a:br>
              <a:rPr lang="en-US"/>
            </a:br>
            <a:r>
              <a:rPr lang="en-GB" sz="2400" b="1">
                <a:solidFill>
                  <a:schemeClr val="accent2"/>
                </a:solidFill>
              </a:rPr>
              <a:t>Transform to Cisco D</a:t>
            </a:r>
            <a:r>
              <a:rPr lang="en-GB" sz="2400">
                <a:solidFill>
                  <a:schemeClr val="accent2"/>
                </a:solidFill>
              </a:rPr>
              <a:t>NA, SD-WAN, SD-A</a:t>
            </a:r>
            <a:br>
              <a:rPr lang="en-GB" sz="2400">
                <a:solidFill>
                  <a:schemeClr val="accent2"/>
                </a:solidFill>
              </a:rPr>
            </a:br>
            <a:br>
              <a:rPr lang="en-US" sz="2400">
                <a:solidFill>
                  <a:schemeClr val="accent2"/>
                </a:solidFill>
              </a:rPr>
            </a:br>
            <a:endParaRPr lang="en-US" sz="2400">
              <a:solidFill>
                <a:schemeClr val="accent2"/>
              </a:solidFill>
            </a:endParaRPr>
          </a:p>
        </p:txBody>
      </p:sp>
      <p:sp>
        <p:nvSpPr>
          <p:cNvPr id="111" name="Triangle 79">
            <a:extLst>
              <a:ext uri="{FF2B5EF4-FFF2-40B4-BE49-F238E27FC236}">
                <a16:creationId xmlns:a16="http://schemas.microsoft.com/office/drawing/2014/main" id="{99275724-1D3C-475D-BEA4-C5DF07B6CCFB}"/>
              </a:ext>
            </a:extLst>
          </p:cNvPr>
          <p:cNvSpPr/>
          <p:nvPr/>
        </p:nvSpPr>
        <p:spPr>
          <a:xfrm rot="10800000">
            <a:off x="1740414" y="4347949"/>
            <a:ext cx="322656" cy="163514"/>
          </a:xfrm>
          <a:prstGeom prst="triangl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endParaRPr kumimoji="0" lang="en-US" sz="1467" b="0" i="0" u="none" strike="noStrike" kern="1200" cap="none" spc="0" normalizeH="0" baseline="0" noProof="0">
              <a:ln>
                <a:noFill/>
              </a:ln>
              <a:solidFill>
                <a:srgbClr val="005073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13" name="TextBox 112">
            <a:extLst>
              <a:ext uri="{FF2B5EF4-FFF2-40B4-BE49-F238E27FC236}">
                <a16:creationId xmlns:a16="http://schemas.microsoft.com/office/drawing/2014/main" id="{6BB24F6A-F563-490B-9EC3-F609FC14AF1C}"/>
              </a:ext>
            </a:extLst>
          </p:cNvPr>
          <p:cNvSpPr txBox="1"/>
          <p:nvPr/>
        </p:nvSpPr>
        <p:spPr>
          <a:xfrm>
            <a:off x="821742" y="4577033"/>
            <a:ext cx="2160000" cy="155781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Pts val="1400"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14284A"/>
                </a:solidFill>
                <a:effectLst/>
                <a:uLnTx/>
                <a:uFillTx/>
                <a:latin typeface="CiscoSansTT ExtraLight" panose="020B0303020201020303" pitchFamily="34" charset="0"/>
                <a:ea typeface="Helvetica Neue Light"/>
                <a:cs typeface="CiscoSansTT ExtraLight" panose="020B0303020201020303" pitchFamily="34" charset="0"/>
                <a:sym typeface="Helvetica Neue Light"/>
              </a:rPr>
              <a:t>Identified stakeholder priorities and readiness to transform </a:t>
            </a:r>
          </a:p>
          <a:p>
            <a:pPr marL="179388" marR="0" lvl="0" indent="-179388" algn="l" defTabSz="609570" rtl="0" eaLnBrk="1" fontAlgn="base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rgbClr val="00BCEB"/>
              </a:buClr>
              <a:buSzPts val="1400"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14284A"/>
                </a:solidFill>
                <a:effectLst/>
                <a:uLnTx/>
                <a:uFillTx/>
                <a:latin typeface="CiscoSansTT ExtraLight" panose="020B0303020201020303" pitchFamily="34" charset="0"/>
                <a:ea typeface="ＭＳ Ｐゴシック" charset="0"/>
                <a:cs typeface="CiscoSansTT ExtraLight" panose="020B0303020201020303" pitchFamily="34" charset="0"/>
                <a:sym typeface="Helvetica Neue Light"/>
              </a:rPr>
              <a:t>Documented 16 use cases and resiliency requirements across the business </a:t>
            </a:r>
          </a:p>
          <a:p>
            <a:pPr marL="228589" marR="0" lvl="0" indent="-228589" algn="l" defTabSz="609570" rtl="0" eaLnBrk="1" fontAlgn="base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rgbClr val="00BCEB"/>
              </a:buClr>
              <a:buSzPts val="1400"/>
              <a:buFont typeface="Arial" panose="020B0604020202020204" pitchFamily="34" charset="0"/>
              <a:buChar char="•"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14284A"/>
              </a:solidFill>
              <a:effectLst/>
              <a:uLnTx/>
              <a:uFillTx/>
              <a:latin typeface="CiscoSansTT ExtraLight" panose="020B0303020201020303" pitchFamily="34" charset="0"/>
              <a:ea typeface="ＭＳ Ｐゴシック" charset="0"/>
              <a:cs typeface="CiscoSansTT ExtraLight" panose="020B0303020201020303" pitchFamily="34" charset="0"/>
              <a:sym typeface="Helvetica Neue Light"/>
            </a:endParaRPr>
          </a:p>
        </p:txBody>
      </p:sp>
      <p:sp>
        <p:nvSpPr>
          <p:cNvPr id="114" name="Rectangle 113">
            <a:extLst>
              <a:ext uri="{FF2B5EF4-FFF2-40B4-BE49-F238E27FC236}">
                <a16:creationId xmlns:a16="http://schemas.microsoft.com/office/drawing/2014/main" id="{0DAA5E65-2D78-489B-B21F-F8946AEDB530}"/>
              </a:ext>
            </a:extLst>
          </p:cNvPr>
          <p:cNvSpPr/>
          <p:nvPr/>
        </p:nvSpPr>
        <p:spPr>
          <a:xfrm>
            <a:off x="1333317" y="2426279"/>
            <a:ext cx="1136850" cy="37965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0" cap="none" spc="0" normalizeH="0" baseline="0" noProof="0">
                <a:ln>
                  <a:noFill/>
                </a:ln>
                <a:solidFill>
                  <a:srgbClr val="00BCEB"/>
                </a:solidFill>
                <a:effectLst/>
                <a:uLnTx/>
                <a:uFillTx/>
                <a:latin typeface="CiscoSansTT ExtraLight" panose="020B0303020201020303" pitchFamily="34" charset="0"/>
                <a:ea typeface="ＭＳ Ｐゴシック" charset="0"/>
                <a:cs typeface="CiscoSansTT ExtraLight" panose="020B0303020201020303" pitchFamily="34" charset="0"/>
              </a:rPr>
              <a:t>Phase 1 </a:t>
            </a:r>
          </a:p>
        </p:txBody>
      </p:sp>
      <p:sp>
        <p:nvSpPr>
          <p:cNvPr id="115" name="TextBox 114">
            <a:extLst>
              <a:ext uri="{FF2B5EF4-FFF2-40B4-BE49-F238E27FC236}">
                <a16:creationId xmlns:a16="http://schemas.microsoft.com/office/drawing/2014/main" id="{3580029F-1014-48DC-B158-E824C548767C}"/>
              </a:ext>
            </a:extLst>
          </p:cNvPr>
          <p:cNvSpPr txBox="1"/>
          <p:nvPr/>
        </p:nvSpPr>
        <p:spPr>
          <a:xfrm>
            <a:off x="3617538" y="4591101"/>
            <a:ext cx="2160000" cy="155781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Pts val="1400"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14284A"/>
                </a:solidFill>
                <a:effectLst/>
                <a:uLnTx/>
                <a:uFillTx/>
                <a:latin typeface="CiscoSansTT ExtraLight" panose="020B0303020201020303" pitchFamily="34" charset="0"/>
                <a:ea typeface="Helvetica Neue Light"/>
                <a:cs typeface="CiscoSansTT ExtraLight" panose="020B0303020201020303" pitchFamily="34" charset="0"/>
                <a:sym typeface="Helvetica Neue Light"/>
              </a:rPr>
              <a:t>Audit passed for baseline readiness to begin transformation, defined </a:t>
            </a:r>
            <a:b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14284A"/>
                </a:solidFill>
                <a:effectLst/>
                <a:uLnTx/>
                <a:uFillTx/>
                <a:latin typeface="CiscoSansTT ExtraLight" panose="020B0303020201020303" pitchFamily="34" charset="0"/>
                <a:ea typeface="Helvetica Neue Light"/>
                <a:cs typeface="CiscoSansTT ExtraLight" panose="020B0303020201020303" pitchFamily="34" charset="0"/>
                <a:sym typeface="Helvetica Neue Light"/>
              </a:rPr>
            </a:b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14284A"/>
                </a:solidFill>
                <a:effectLst/>
                <a:uLnTx/>
                <a:uFillTx/>
                <a:latin typeface="CiscoSansTT ExtraLight" panose="020B0303020201020303" pitchFamily="34" charset="0"/>
                <a:ea typeface="Helvetica Neue Light"/>
                <a:cs typeface="CiscoSansTT ExtraLight" panose="020B0303020201020303" pitchFamily="34" charset="0"/>
                <a:sym typeface="Helvetica Neue Light"/>
              </a:rPr>
              <a:t>1st round features set</a:t>
            </a:r>
          </a:p>
          <a:p>
            <a:pPr marL="179388" marR="0" lvl="0" indent="-179388" algn="l" defTabSz="609570" rtl="0" eaLnBrk="1" fontAlgn="base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rgbClr val="005073"/>
              </a:buClr>
              <a:buSzPts val="1400"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14284A"/>
                </a:solidFill>
                <a:effectLst/>
                <a:uLnTx/>
                <a:uFillTx/>
                <a:latin typeface="CiscoSansTT ExtraLight" panose="020B0303020201020303" pitchFamily="34" charset="0"/>
                <a:ea typeface="ＭＳ Ｐゴシック" charset="0"/>
                <a:cs typeface="CiscoSansTT ExtraLight" panose="020B0303020201020303" pitchFamily="34" charset="0"/>
                <a:sym typeface="Helvetica Neue Light"/>
              </a:rPr>
              <a:t>100% sign-off </a:t>
            </a:r>
            <a:b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14284A"/>
                </a:solidFill>
                <a:effectLst/>
                <a:uLnTx/>
                <a:uFillTx/>
                <a:latin typeface="CiscoSansTT ExtraLight" panose="020B0303020201020303" pitchFamily="34" charset="0"/>
                <a:ea typeface="ＭＳ Ｐゴシック" charset="0"/>
                <a:cs typeface="CiscoSansTT ExtraLight" panose="020B0303020201020303" pitchFamily="34" charset="0"/>
                <a:sym typeface="Helvetica Neue Light"/>
              </a:rPr>
            </a:b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14284A"/>
                </a:solidFill>
                <a:effectLst/>
                <a:uLnTx/>
                <a:uFillTx/>
                <a:latin typeface="CiscoSansTT ExtraLight" panose="020B0303020201020303" pitchFamily="34" charset="0"/>
                <a:ea typeface="ＭＳ Ｐゴシック" charset="0"/>
                <a:cs typeface="CiscoSansTT ExtraLight" panose="020B0303020201020303" pitchFamily="34" charset="0"/>
                <a:sym typeface="Helvetica Neue Light"/>
              </a:rPr>
              <a:t>on transition plan 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14284A"/>
              </a:solidFill>
              <a:effectLst/>
              <a:uLnTx/>
              <a:uFillTx/>
              <a:latin typeface="CiscoSansTT ExtraLight" panose="020B0303020201020303" pitchFamily="34" charset="0"/>
              <a:ea typeface="ＭＳ Ｐゴシック" charset="0"/>
              <a:cs typeface="CiscoSansTT ExtraLight" panose="020B0303020201020303" pitchFamily="34" charset="0"/>
              <a:sym typeface="Helvetica Neue Light"/>
            </a:endParaRPr>
          </a:p>
        </p:txBody>
      </p:sp>
      <p:sp>
        <p:nvSpPr>
          <p:cNvPr id="116" name="Rectangle 115">
            <a:extLst>
              <a:ext uri="{FF2B5EF4-FFF2-40B4-BE49-F238E27FC236}">
                <a16:creationId xmlns:a16="http://schemas.microsoft.com/office/drawing/2014/main" id="{FE8AFB1E-E886-4846-B32E-5DFA07E0D2F8}"/>
              </a:ext>
            </a:extLst>
          </p:cNvPr>
          <p:cNvSpPr/>
          <p:nvPr/>
        </p:nvSpPr>
        <p:spPr>
          <a:xfrm>
            <a:off x="4129113" y="2426279"/>
            <a:ext cx="1136850" cy="37965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0" cap="none" spc="0" normalizeH="0" baseline="0" noProof="0">
                <a:ln>
                  <a:noFill/>
                </a:ln>
                <a:solidFill>
                  <a:srgbClr val="14284A"/>
                </a:solidFill>
                <a:effectLst/>
                <a:uLnTx/>
                <a:uFillTx/>
                <a:latin typeface="CiscoSansTT ExtraLight" panose="020B0303020201020303" pitchFamily="34" charset="0"/>
                <a:ea typeface="ＭＳ Ｐゴシック" charset="0"/>
                <a:cs typeface="CiscoSansTT ExtraLight" panose="020B0303020201020303" pitchFamily="34" charset="0"/>
              </a:rPr>
              <a:t>Phase 2 </a:t>
            </a:r>
          </a:p>
        </p:txBody>
      </p:sp>
      <p:sp>
        <p:nvSpPr>
          <p:cNvPr id="117" name="Triangle 86">
            <a:extLst>
              <a:ext uri="{FF2B5EF4-FFF2-40B4-BE49-F238E27FC236}">
                <a16:creationId xmlns:a16="http://schemas.microsoft.com/office/drawing/2014/main" id="{3AE8DFA9-E427-4B11-9D70-58EE8299D86D}"/>
              </a:ext>
            </a:extLst>
          </p:cNvPr>
          <p:cNvSpPr/>
          <p:nvPr/>
        </p:nvSpPr>
        <p:spPr>
          <a:xfrm rot="10800000">
            <a:off x="4536211" y="4347949"/>
            <a:ext cx="322656" cy="163514"/>
          </a:xfrm>
          <a:prstGeom prst="triangl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endParaRPr kumimoji="0" lang="en-US" sz="1467" b="0" i="0" u="none" strike="noStrike" kern="1200" cap="none" spc="0" normalizeH="0" baseline="0" noProof="0">
              <a:ln>
                <a:noFill/>
              </a:ln>
              <a:solidFill>
                <a:srgbClr val="005073"/>
              </a:solidFill>
              <a:effectLst/>
              <a:uLnTx/>
              <a:uFillTx/>
              <a:latin typeface="CiscoSansTT ExtraLight" panose="020B0303020201020303" pitchFamily="34" charset="0"/>
              <a:ea typeface="+mn-ea"/>
              <a:cs typeface="CiscoSansTT ExtraLight" panose="020B0303020201020303" pitchFamily="34" charset="0"/>
            </a:endParaRPr>
          </a:p>
        </p:txBody>
      </p:sp>
      <p:sp>
        <p:nvSpPr>
          <p:cNvPr id="118" name="TextBox 117">
            <a:extLst>
              <a:ext uri="{FF2B5EF4-FFF2-40B4-BE49-F238E27FC236}">
                <a16:creationId xmlns:a16="http://schemas.microsoft.com/office/drawing/2014/main" id="{C24B6726-3A13-49FA-871A-ED692E157B26}"/>
              </a:ext>
            </a:extLst>
          </p:cNvPr>
          <p:cNvSpPr txBox="1"/>
          <p:nvPr/>
        </p:nvSpPr>
        <p:spPr>
          <a:xfrm>
            <a:off x="6413334" y="4591101"/>
            <a:ext cx="2160000" cy="155781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Pts val="1400"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14284A"/>
                </a:solidFill>
                <a:effectLst/>
                <a:uLnTx/>
                <a:uFillTx/>
                <a:latin typeface="CiscoSansTT ExtraLight" panose="020B0303020201020303" pitchFamily="34" charset="0"/>
                <a:ea typeface="Helvetica Neue Light"/>
                <a:cs typeface="CiscoSansTT ExtraLight" panose="020B0303020201020303" pitchFamily="34" charset="0"/>
                <a:sym typeface="Helvetica Neue Light"/>
              </a:rPr>
              <a:t>Kicked-off deployment and on-boarding </a:t>
            </a:r>
          </a:p>
          <a:p>
            <a:pPr marL="179388" marR="0" lvl="0" indent="-179388" algn="l" defTabSz="609570" rtl="0" eaLnBrk="1" fontAlgn="base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rgbClr val="6EBE4A"/>
              </a:buClr>
              <a:buSzPts val="1400"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14284A"/>
                </a:solidFill>
                <a:effectLst/>
                <a:uLnTx/>
                <a:uFillTx/>
                <a:latin typeface="CiscoSansTT ExtraLight" panose="020B0303020201020303" pitchFamily="34" charset="0"/>
                <a:ea typeface="ＭＳ Ｐゴシック" charset="0"/>
                <a:cs typeface="CiscoSansTT ExtraLight" panose="020B0303020201020303" pitchFamily="34" charset="0"/>
                <a:sym typeface="Helvetica Neue Light"/>
              </a:rPr>
              <a:t>Training 100% complete</a:t>
            </a:r>
          </a:p>
          <a:p>
            <a:pPr marL="179388" marR="0" lvl="0" indent="-179388" algn="l" defTabSz="609570" rtl="0" eaLnBrk="1" fontAlgn="base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rgbClr val="6EBE4A"/>
              </a:buClr>
              <a:buSzPts val="1400"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14284A"/>
                </a:solidFill>
                <a:effectLst/>
                <a:uLnTx/>
                <a:uFillTx/>
                <a:latin typeface="CiscoSansTT ExtraLight" panose="020B0303020201020303" pitchFamily="34" charset="0"/>
                <a:ea typeface="ＭＳ Ｐゴシック" charset="0"/>
                <a:cs typeface="CiscoSansTT ExtraLight" panose="020B0303020201020303" pitchFamily="34" charset="0"/>
                <a:sym typeface="Helvetica Neue Light"/>
              </a:rPr>
              <a:t>Resolved 85% of trouble tickets</a:t>
            </a:r>
          </a:p>
          <a:p>
            <a:pPr marL="179388" marR="0" lvl="0" indent="-179388" algn="l" defTabSz="609570" rtl="0" eaLnBrk="1" fontAlgn="base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rgbClr val="6EBE4A"/>
              </a:buClr>
              <a:buSzPts val="1400"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14284A"/>
                </a:solidFill>
                <a:effectLst/>
                <a:uLnTx/>
                <a:uFillTx/>
                <a:latin typeface="CiscoSansTT ExtraLight" panose="020B0303020201020303" pitchFamily="34" charset="0"/>
                <a:ea typeface="ＭＳ Ｐゴシック" charset="0"/>
                <a:cs typeface="CiscoSansTT ExtraLight" panose="020B0303020201020303" pitchFamily="34" charset="0"/>
                <a:sym typeface="Helvetica Neue Light"/>
              </a:rPr>
              <a:t>Approval to begin Cisco DNA testing</a:t>
            </a:r>
          </a:p>
        </p:txBody>
      </p:sp>
      <p:sp>
        <p:nvSpPr>
          <p:cNvPr id="119" name="Rectangle 118">
            <a:extLst>
              <a:ext uri="{FF2B5EF4-FFF2-40B4-BE49-F238E27FC236}">
                <a16:creationId xmlns:a16="http://schemas.microsoft.com/office/drawing/2014/main" id="{1E3AA998-70F5-4847-9AFD-4D6E7F713AC4}"/>
              </a:ext>
            </a:extLst>
          </p:cNvPr>
          <p:cNvSpPr/>
          <p:nvPr/>
        </p:nvSpPr>
        <p:spPr>
          <a:xfrm>
            <a:off x="6924909" y="2440347"/>
            <a:ext cx="1136850" cy="37965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0" cap="none" spc="0" normalizeH="0" baseline="0" noProof="0">
                <a:ln>
                  <a:noFill/>
                </a:ln>
                <a:solidFill>
                  <a:srgbClr val="6EBE4A"/>
                </a:solidFill>
                <a:effectLst/>
                <a:uLnTx/>
                <a:uFillTx/>
                <a:latin typeface="CiscoSansTT ExtraLight" panose="020B0303020201020303" pitchFamily="34" charset="0"/>
                <a:ea typeface="ＭＳ Ｐゴシック" charset="0"/>
                <a:cs typeface="CiscoSansTT ExtraLight" panose="020B0303020201020303" pitchFamily="34" charset="0"/>
              </a:rPr>
              <a:t>Phase 3 </a:t>
            </a:r>
          </a:p>
        </p:txBody>
      </p:sp>
      <p:sp>
        <p:nvSpPr>
          <p:cNvPr id="120" name="Triangle 91">
            <a:extLst>
              <a:ext uri="{FF2B5EF4-FFF2-40B4-BE49-F238E27FC236}">
                <a16:creationId xmlns:a16="http://schemas.microsoft.com/office/drawing/2014/main" id="{E3DC36D6-419C-43C7-9101-77F293D3EE78}"/>
              </a:ext>
            </a:extLst>
          </p:cNvPr>
          <p:cNvSpPr/>
          <p:nvPr/>
        </p:nvSpPr>
        <p:spPr>
          <a:xfrm rot="10800000">
            <a:off x="7332007" y="4347949"/>
            <a:ext cx="322656" cy="163514"/>
          </a:xfrm>
          <a:prstGeom prst="triangl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endParaRPr kumimoji="0" lang="en-US" sz="1467" b="0" i="0" u="none" strike="noStrike" kern="1200" cap="none" spc="0" normalizeH="0" baseline="0" noProof="0">
              <a:ln>
                <a:noFill/>
              </a:ln>
              <a:solidFill>
                <a:srgbClr val="005073"/>
              </a:solidFill>
              <a:effectLst/>
              <a:uLnTx/>
              <a:uFillTx/>
              <a:latin typeface="CiscoSansTT ExtraLight" panose="020B0303020201020303" pitchFamily="34" charset="0"/>
              <a:ea typeface="+mn-ea"/>
              <a:cs typeface="CiscoSansTT ExtraLight" panose="020B0303020201020303" pitchFamily="34" charset="0"/>
            </a:endParaRPr>
          </a:p>
        </p:txBody>
      </p:sp>
      <p:sp>
        <p:nvSpPr>
          <p:cNvPr id="121" name="Rectangle: Rounded Corners 58">
            <a:extLst>
              <a:ext uri="{FF2B5EF4-FFF2-40B4-BE49-F238E27FC236}">
                <a16:creationId xmlns:a16="http://schemas.microsoft.com/office/drawing/2014/main" id="{0CC04F20-B45F-4998-B2F9-6866E46865EE}"/>
              </a:ext>
            </a:extLst>
          </p:cNvPr>
          <p:cNvSpPr/>
          <p:nvPr/>
        </p:nvSpPr>
        <p:spPr>
          <a:xfrm>
            <a:off x="543702" y="2789077"/>
            <a:ext cx="2716080" cy="394452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iscoSansTT ExtraLight"/>
                <a:ea typeface="+mn-ea"/>
                <a:cs typeface="+mn-cs"/>
              </a:rPr>
              <a:t>Needs assessment</a:t>
            </a:r>
          </a:p>
        </p:txBody>
      </p:sp>
      <p:sp>
        <p:nvSpPr>
          <p:cNvPr id="122" name="Rectangle: Rounded Corners 77">
            <a:extLst>
              <a:ext uri="{FF2B5EF4-FFF2-40B4-BE49-F238E27FC236}">
                <a16:creationId xmlns:a16="http://schemas.microsoft.com/office/drawing/2014/main" id="{ABD3B904-F23C-4954-871B-EA4947D5C905}"/>
              </a:ext>
            </a:extLst>
          </p:cNvPr>
          <p:cNvSpPr/>
          <p:nvPr/>
        </p:nvSpPr>
        <p:spPr>
          <a:xfrm>
            <a:off x="3339498" y="2789077"/>
            <a:ext cx="2716080" cy="394452"/>
          </a:xfrm>
          <a:prstGeom prst="roundRect">
            <a:avLst>
              <a:gd name="adj" fmla="val 50000"/>
            </a:avLst>
          </a:prstGeom>
          <a:solidFill>
            <a:schemeClr val="bg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iscoSansTT ExtraLight" panose="020B0303020201020303" pitchFamily="34" charset="0"/>
                <a:ea typeface="+mn-ea"/>
                <a:cs typeface="CiscoSansTT ExtraLight" panose="020B0303020201020303" pitchFamily="34" charset="0"/>
              </a:rPr>
              <a:t>Initial architectural design </a:t>
            </a:r>
          </a:p>
        </p:txBody>
      </p:sp>
      <p:sp>
        <p:nvSpPr>
          <p:cNvPr id="123" name="Rectangle: Rounded Corners 92">
            <a:extLst>
              <a:ext uri="{FF2B5EF4-FFF2-40B4-BE49-F238E27FC236}">
                <a16:creationId xmlns:a16="http://schemas.microsoft.com/office/drawing/2014/main" id="{C897005D-E95B-4959-91DF-07F4C5F9FC72}"/>
              </a:ext>
            </a:extLst>
          </p:cNvPr>
          <p:cNvSpPr/>
          <p:nvPr/>
        </p:nvSpPr>
        <p:spPr>
          <a:xfrm>
            <a:off x="6135294" y="2789077"/>
            <a:ext cx="2716080" cy="394452"/>
          </a:xfrm>
          <a:prstGeom prst="roundRect">
            <a:avLst>
              <a:gd name="adj" fmla="val 50000"/>
            </a:avLst>
          </a:prstGeom>
          <a:solidFill>
            <a:schemeClr val="accent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iscoSansTT ExtraLight" panose="020B0303020201020303" pitchFamily="34" charset="0"/>
                <a:ea typeface="+mn-ea"/>
                <a:cs typeface="CiscoSansTT ExtraLight" panose="020B0303020201020303" pitchFamily="34" charset="0"/>
              </a:rPr>
              <a:t>Trial Implementation</a:t>
            </a:r>
          </a:p>
        </p:txBody>
      </p:sp>
      <p:sp>
        <p:nvSpPr>
          <p:cNvPr id="126" name="Rectangle: Rounded Corners 107">
            <a:extLst>
              <a:ext uri="{FF2B5EF4-FFF2-40B4-BE49-F238E27FC236}">
                <a16:creationId xmlns:a16="http://schemas.microsoft.com/office/drawing/2014/main" id="{755BC9DA-4264-4476-B619-1AE473BC788E}"/>
              </a:ext>
            </a:extLst>
          </p:cNvPr>
          <p:cNvSpPr/>
          <p:nvPr/>
        </p:nvSpPr>
        <p:spPr>
          <a:xfrm>
            <a:off x="8931090" y="2789077"/>
            <a:ext cx="2716080" cy="394452"/>
          </a:xfrm>
          <a:prstGeom prst="roundRect">
            <a:avLst>
              <a:gd name="adj" fmla="val 50000"/>
            </a:avLst>
          </a:prstGeom>
          <a:solidFill>
            <a:schemeClr val="accent5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iscoSansTT ExtraLight"/>
                <a:ea typeface="+mn-ea"/>
                <a:cs typeface="+mn-cs"/>
              </a:rPr>
              <a:t>Testing</a:t>
            </a:r>
          </a:p>
        </p:txBody>
      </p:sp>
      <p:sp>
        <p:nvSpPr>
          <p:cNvPr id="127" name="TextBox 126">
            <a:extLst>
              <a:ext uri="{FF2B5EF4-FFF2-40B4-BE49-F238E27FC236}">
                <a16:creationId xmlns:a16="http://schemas.microsoft.com/office/drawing/2014/main" id="{98C3BA05-C641-48FD-9B3E-8DE1CE6045AE}"/>
              </a:ext>
            </a:extLst>
          </p:cNvPr>
          <p:cNvSpPr txBox="1"/>
          <p:nvPr/>
        </p:nvSpPr>
        <p:spPr>
          <a:xfrm>
            <a:off x="9209130" y="4591101"/>
            <a:ext cx="2160000" cy="155781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Pts val="1400"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14284A"/>
                </a:solidFill>
                <a:effectLst/>
                <a:uLnTx/>
                <a:uFillTx/>
                <a:latin typeface="CiscoSansTT ExtraLight" panose="020B0303020201020303" pitchFamily="34" charset="0"/>
                <a:ea typeface="Helvetica Neue Light"/>
                <a:cs typeface="CiscoSansTT ExtraLight" panose="020B0303020201020303" pitchFamily="34" charset="0"/>
                <a:sym typeface="Helvetica Neue Light"/>
              </a:rPr>
              <a:t>DNA use case testing complete, feature implementation complete</a:t>
            </a:r>
          </a:p>
          <a:p>
            <a:pPr marL="179388" marR="0" lvl="0" indent="-179388" algn="l" defTabSz="609570" rtl="0" eaLnBrk="1" fontAlgn="base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rgbClr val="FBAB18"/>
              </a:buClr>
              <a:buSzPts val="1400"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14284A"/>
                </a:solidFill>
                <a:effectLst/>
                <a:uLnTx/>
                <a:uFillTx/>
                <a:latin typeface="CiscoSansTT ExtraLight" panose="020B0303020201020303" pitchFamily="34" charset="0"/>
                <a:ea typeface="ＭＳ Ｐゴシック" charset="0"/>
                <a:cs typeface="CiscoSansTT ExtraLight" panose="020B0303020201020303" pitchFamily="34" charset="0"/>
                <a:sym typeface="Helvetica Neue Light"/>
              </a:rPr>
              <a:t>100% readiness for DNAC and SD-A implementation</a:t>
            </a:r>
          </a:p>
        </p:txBody>
      </p:sp>
      <p:sp>
        <p:nvSpPr>
          <p:cNvPr id="128" name="Rectangle 127">
            <a:extLst>
              <a:ext uri="{FF2B5EF4-FFF2-40B4-BE49-F238E27FC236}">
                <a16:creationId xmlns:a16="http://schemas.microsoft.com/office/drawing/2014/main" id="{FF84A172-171F-4E58-8C2D-31DCDB8E2849}"/>
              </a:ext>
            </a:extLst>
          </p:cNvPr>
          <p:cNvSpPr/>
          <p:nvPr/>
        </p:nvSpPr>
        <p:spPr>
          <a:xfrm>
            <a:off x="9720705" y="2440347"/>
            <a:ext cx="1136850" cy="37965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ctr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en-US" sz="1800" b="1" i="0" u="none" strike="noStrike" kern="0" cap="none" spc="0" normalizeH="0" baseline="0" noProof="0">
                <a:ln>
                  <a:noFill/>
                </a:ln>
                <a:solidFill>
                  <a:srgbClr val="FBAB18"/>
                </a:solidFill>
                <a:effectLst/>
                <a:uLnTx/>
                <a:uFillTx/>
                <a:latin typeface="CiscoSansTT ExtraLight" panose="020B0303020201020303" pitchFamily="34" charset="0"/>
                <a:ea typeface="ＭＳ Ｐゴシック" charset="0"/>
                <a:cs typeface="CiscoSansTT ExtraLight" panose="020B0303020201020303" pitchFamily="34" charset="0"/>
              </a:rPr>
              <a:t>Phase 4 </a:t>
            </a:r>
          </a:p>
        </p:txBody>
      </p:sp>
      <p:sp>
        <p:nvSpPr>
          <p:cNvPr id="129" name="Triangle 97">
            <a:extLst>
              <a:ext uri="{FF2B5EF4-FFF2-40B4-BE49-F238E27FC236}">
                <a16:creationId xmlns:a16="http://schemas.microsoft.com/office/drawing/2014/main" id="{09D0B8E7-295F-4D47-9355-1447E0AC1EAE}"/>
              </a:ext>
            </a:extLst>
          </p:cNvPr>
          <p:cNvSpPr/>
          <p:nvPr/>
        </p:nvSpPr>
        <p:spPr>
          <a:xfrm rot="10800000">
            <a:off x="10127802" y="4347949"/>
            <a:ext cx="322656" cy="163514"/>
          </a:xfrm>
          <a:prstGeom prst="triangl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endParaRPr kumimoji="0" lang="en-US" sz="1467" b="0" i="0" u="none" strike="noStrike" kern="1200" cap="none" spc="0" normalizeH="0" baseline="0" noProof="0">
              <a:ln>
                <a:noFill/>
              </a:ln>
              <a:solidFill>
                <a:srgbClr val="005073"/>
              </a:solidFill>
              <a:effectLst/>
              <a:uLnTx/>
              <a:uFillTx/>
              <a:latin typeface="CiscoSansTT ExtraLight" panose="020B0303020201020303" pitchFamily="34" charset="0"/>
              <a:ea typeface="+mn-ea"/>
              <a:cs typeface="CiscoSansTT ExtraLight" panose="020B0303020201020303" pitchFamily="34" charset="0"/>
            </a:endParaRPr>
          </a:p>
        </p:txBody>
      </p:sp>
      <p:cxnSp>
        <p:nvCxnSpPr>
          <p:cNvPr id="189" name="Straight Connector 188">
            <a:extLst>
              <a:ext uri="{FF2B5EF4-FFF2-40B4-BE49-F238E27FC236}">
                <a16:creationId xmlns:a16="http://schemas.microsoft.com/office/drawing/2014/main" id="{56AB4F42-DD63-4A15-9042-3BD34DCA0751}"/>
              </a:ext>
            </a:extLst>
          </p:cNvPr>
          <p:cNvCxnSpPr>
            <a:cxnSpLocks/>
          </p:cNvCxnSpPr>
          <p:nvPr/>
        </p:nvCxnSpPr>
        <p:spPr>
          <a:xfrm>
            <a:off x="558942" y="4347949"/>
            <a:ext cx="2685600" cy="0"/>
          </a:xfrm>
          <a:prstGeom prst="line">
            <a:avLst/>
          </a:prstGeom>
          <a:ln w="19050" cap="rnd">
            <a:solidFill>
              <a:schemeClr val="accent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0" name="Straight Connector 189">
            <a:extLst>
              <a:ext uri="{FF2B5EF4-FFF2-40B4-BE49-F238E27FC236}">
                <a16:creationId xmlns:a16="http://schemas.microsoft.com/office/drawing/2014/main" id="{1BD7EE8A-88D7-4499-8E2C-E3CC934E7694}"/>
              </a:ext>
            </a:extLst>
          </p:cNvPr>
          <p:cNvCxnSpPr>
            <a:cxnSpLocks/>
          </p:cNvCxnSpPr>
          <p:nvPr/>
        </p:nvCxnSpPr>
        <p:spPr>
          <a:xfrm>
            <a:off x="3354738" y="4347949"/>
            <a:ext cx="2685600" cy="0"/>
          </a:xfrm>
          <a:prstGeom prst="line">
            <a:avLst/>
          </a:prstGeom>
          <a:ln w="19050" cap="rnd">
            <a:solidFill>
              <a:schemeClr val="bg2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1" name="Straight Connector 190">
            <a:extLst>
              <a:ext uri="{FF2B5EF4-FFF2-40B4-BE49-F238E27FC236}">
                <a16:creationId xmlns:a16="http://schemas.microsoft.com/office/drawing/2014/main" id="{CC5CA1B1-D108-4D44-BD9E-8224C4F9BCEF}"/>
              </a:ext>
            </a:extLst>
          </p:cNvPr>
          <p:cNvCxnSpPr>
            <a:cxnSpLocks/>
          </p:cNvCxnSpPr>
          <p:nvPr/>
        </p:nvCxnSpPr>
        <p:spPr>
          <a:xfrm>
            <a:off x="6150534" y="4347949"/>
            <a:ext cx="2685600" cy="0"/>
          </a:xfrm>
          <a:prstGeom prst="line">
            <a:avLst/>
          </a:prstGeom>
          <a:ln w="19050" cap="rnd">
            <a:solidFill>
              <a:schemeClr val="accent2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2" name="Straight Connector 191">
            <a:extLst>
              <a:ext uri="{FF2B5EF4-FFF2-40B4-BE49-F238E27FC236}">
                <a16:creationId xmlns:a16="http://schemas.microsoft.com/office/drawing/2014/main" id="{4EC50139-5D8B-4AC9-A4C8-BC6E641AB209}"/>
              </a:ext>
            </a:extLst>
          </p:cNvPr>
          <p:cNvCxnSpPr>
            <a:cxnSpLocks/>
          </p:cNvCxnSpPr>
          <p:nvPr/>
        </p:nvCxnSpPr>
        <p:spPr>
          <a:xfrm>
            <a:off x="8946330" y="4347949"/>
            <a:ext cx="2685600" cy="0"/>
          </a:xfrm>
          <a:prstGeom prst="line">
            <a:avLst/>
          </a:prstGeom>
          <a:ln w="19050" cap="rnd">
            <a:solidFill>
              <a:schemeClr val="accent5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" name="Group 4">
            <a:extLst>
              <a:ext uri="{FF2B5EF4-FFF2-40B4-BE49-F238E27FC236}">
                <a16:creationId xmlns:a16="http://schemas.microsoft.com/office/drawing/2014/main" id="{54390FD6-0F4C-4455-BE59-BD4AF051C887}"/>
              </a:ext>
            </a:extLst>
          </p:cNvPr>
          <p:cNvGrpSpPr/>
          <p:nvPr/>
        </p:nvGrpSpPr>
        <p:grpSpPr>
          <a:xfrm>
            <a:off x="7566660" y="709085"/>
            <a:ext cx="4625340" cy="1361016"/>
            <a:chOff x="7566660" y="709085"/>
            <a:chExt cx="4625340" cy="1361016"/>
          </a:xfrm>
        </p:grpSpPr>
        <p:sp>
          <p:nvSpPr>
            <p:cNvPr id="100" name="Rectangle 99">
              <a:extLst>
                <a:ext uri="{FF2B5EF4-FFF2-40B4-BE49-F238E27FC236}">
                  <a16:creationId xmlns:a16="http://schemas.microsoft.com/office/drawing/2014/main" id="{D5E0ACD5-CD00-4C2E-9F59-7646E8411473}"/>
                </a:ext>
              </a:extLst>
            </p:cNvPr>
            <p:cNvSpPr/>
            <p:nvPr/>
          </p:nvSpPr>
          <p:spPr>
            <a:xfrm>
              <a:off x="7566660" y="709085"/>
              <a:ext cx="4625340" cy="1361016"/>
            </a:xfrm>
            <a:prstGeom prst="rect">
              <a:avLst/>
            </a:prstGeom>
            <a:solidFill>
              <a:srgbClr val="F4F7FA"/>
            </a:solidFill>
            <a:ln>
              <a:noFill/>
            </a:ln>
            <a:effectLst>
              <a:outerShdw dist="38100" dir="10800000" algn="l" rotWithShape="0">
                <a:schemeClr val="accent2"/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6000" tIns="48000" rIns="96000" bIns="48000"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67" b="0" i="0" u="none" strike="noStrike" kern="1200" cap="none" spc="0" normalizeH="0" baseline="0" noProof="0">
                <a:ln>
                  <a:noFill/>
                </a:ln>
                <a:solidFill>
                  <a:srgbClr val="14284A"/>
                </a:solidFill>
                <a:effectLst/>
                <a:uLnTx/>
                <a:uFillTx/>
                <a:latin typeface="CiscoSansTT ExtraLight"/>
                <a:ea typeface="+mn-ea"/>
                <a:cs typeface="+mn-cs"/>
              </a:endParaRPr>
            </a:p>
          </p:txBody>
        </p:sp>
        <p:sp>
          <p:nvSpPr>
            <p:cNvPr id="101" name="TextBox 100">
              <a:extLst>
                <a:ext uri="{FF2B5EF4-FFF2-40B4-BE49-F238E27FC236}">
                  <a16:creationId xmlns:a16="http://schemas.microsoft.com/office/drawing/2014/main" id="{8A2B532E-31EF-4C92-8B24-18162142BA72}"/>
                </a:ext>
              </a:extLst>
            </p:cNvPr>
            <p:cNvSpPr txBox="1"/>
            <p:nvPr/>
          </p:nvSpPr>
          <p:spPr>
            <a:xfrm>
              <a:off x="7918219" y="824015"/>
              <a:ext cx="582443" cy="209879"/>
            </a:xfrm>
            <a:prstGeom prst="rect">
              <a:avLst/>
            </a:prstGeom>
            <a:noFill/>
          </p:spPr>
          <p:txBody>
            <a:bodyPr wrap="none" lIns="0" tIns="0" rIns="0" bIns="0" rtlCol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1200" cap="none" spc="0" normalizeH="0" baseline="0" noProof="0">
                  <a:ln>
                    <a:noFill/>
                  </a:ln>
                  <a:solidFill>
                    <a:srgbClr val="6EBE4A"/>
                  </a:solidFill>
                  <a:effectLst/>
                  <a:uLnTx/>
                  <a:uFillTx/>
                  <a:latin typeface="CiscoSansTT ExtraLight"/>
                  <a:ea typeface="+mn-ea"/>
                  <a:cs typeface="+mn-cs"/>
                </a:rPr>
                <a:t>Legend</a:t>
              </a:r>
            </a:p>
          </p:txBody>
        </p:sp>
        <p:pic>
          <p:nvPicPr>
            <p:cNvPr id="102" name="Graphic 101">
              <a:extLst>
                <a:ext uri="{FF2B5EF4-FFF2-40B4-BE49-F238E27FC236}">
                  <a16:creationId xmlns:a16="http://schemas.microsoft.com/office/drawing/2014/main" id="{026C1E99-EDB1-4805-B59A-0A873BEA7338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7871932" y="1165624"/>
              <a:ext cx="243883" cy="243171"/>
            </a:xfrm>
            <a:prstGeom prst="rect">
              <a:avLst/>
            </a:prstGeom>
          </p:spPr>
        </p:pic>
        <p:pic>
          <p:nvPicPr>
            <p:cNvPr id="103" name="Graphic 102">
              <a:extLst>
                <a:ext uri="{FF2B5EF4-FFF2-40B4-BE49-F238E27FC236}">
                  <a16:creationId xmlns:a16="http://schemas.microsoft.com/office/drawing/2014/main" id="{C0748A62-6725-470E-A8E4-7668CEF02A92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9240603" y="1176724"/>
              <a:ext cx="220976" cy="220971"/>
            </a:xfrm>
            <a:prstGeom prst="rect">
              <a:avLst/>
            </a:prstGeom>
          </p:spPr>
        </p:pic>
        <p:pic>
          <p:nvPicPr>
            <p:cNvPr id="104" name="Graphic 103">
              <a:extLst>
                <a:ext uri="{FF2B5EF4-FFF2-40B4-BE49-F238E27FC236}">
                  <a16:creationId xmlns:a16="http://schemas.microsoft.com/office/drawing/2014/main" id="{7A762C3E-5D13-4D21-8D00-6D3BD202CC7A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7871932" y="1642420"/>
              <a:ext cx="220976" cy="220971"/>
            </a:xfrm>
            <a:prstGeom prst="rect">
              <a:avLst/>
            </a:prstGeom>
          </p:spPr>
        </p:pic>
        <p:pic>
          <p:nvPicPr>
            <p:cNvPr id="105" name="Graphic 104">
              <a:extLst>
                <a:ext uri="{FF2B5EF4-FFF2-40B4-BE49-F238E27FC236}">
                  <a16:creationId xmlns:a16="http://schemas.microsoft.com/office/drawing/2014/main" id="{37C70F7F-6DE9-4321-AF6C-603C1E7246C5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>
              <a:extLs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p:blipFill>
          <p:spPr>
            <a:xfrm>
              <a:off x="9240603" y="1642420"/>
              <a:ext cx="220976" cy="220971"/>
            </a:xfrm>
            <a:prstGeom prst="rect">
              <a:avLst/>
            </a:prstGeom>
          </p:spPr>
        </p:pic>
        <p:sp>
          <p:nvSpPr>
            <p:cNvPr id="106" name="TextBox 105">
              <a:extLst>
                <a:ext uri="{FF2B5EF4-FFF2-40B4-BE49-F238E27FC236}">
                  <a16:creationId xmlns:a16="http://schemas.microsoft.com/office/drawing/2014/main" id="{29D387F1-CE42-4DA0-8D06-0CE94236C8C7}"/>
                </a:ext>
              </a:extLst>
            </p:cNvPr>
            <p:cNvSpPr txBox="1"/>
            <p:nvPr/>
          </p:nvSpPr>
          <p:spPr>
            <a:xfrm>
              <a:off x="8187701" y="1135075"/>
              <a:ext cx="1017149" cy="304268"/>
            </a:xfrm>
            <a:prstGeom prst="rect">
              <a:avLst/>
            </a:prstGeom>
            <a:noFill/>
          </p:spPr>
          <p:txBody>
            <a:bodyPr wrap="square" lIns="0" tIns="0" rIns="0" bIns="0" rtlCol="0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-13" normalizeH="0" baseline="0" noProof="0">
                  <a:ln>
                    <a:noFill/>
                  </a:ln>
                  <a:solidFill>
                    <a:srgbClr val="2F446B"/>
                  </a:solidFill>
                  <a:effectLst/>
                  <a:uLnTx/>
                  <a:uFillTx/>
                  <a:latin typeface="CiscoSansTT ExtraLight"/>
                  <a:ea typeface="+mn-ea"/>
                  <a:cs typeface="CiscoSansTT Light" panose="020B0503020201020303" pitchFamily="34" charset="0"/>
                </a:rPr>
                <a:t>Operational Insights Review</a:t>
              </a:r>
            </a:p>
          </p:txBody>
        </p:sp>
        <p:sp>
          <p:nvSpPr>
            <p:cNvPr id="107" name="TextBox 106">
              <a:extLst>
                <a:ext uri="{FF2B5EF4-FFF2-40B4-BE49-F238E27FC236}">
                  <a16:creationId xmlns:a16="http://schemas.microsoft.com/office/drawing/2014/main" id="{2FEC4557-9E56-41A3-A675-A478306DCAA7}"/>
                </a:ext>
              </a:extLst>
            </p:cNvPr>
            <p:cNvSpPr txBox="1"/>
            <p:nvPr/>
          </p:nvSpPr>
          <p:spPr>
            <a:xfrm>
              <a:off x="9532419" y="1135075"/>
              <a:ext cx="1017149" cy="304268"/>
            </a:xfrm>
            <a:prstGeom prst="rect">
              <a:avLst/>
            </a:prstGeom>
            <a:noFill/>
          </p:spPr>
          <p:txBody>
            <a:bodyPr wrap="square" lIns="0" tIns="0" rIns="0" bIns="0" rtlCol="0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-13" normalizeH="0" baseline="0" noProof="0">
                  <a:ln>
                    <a:noFill/>
                  </a:ln>
                  <a:solidFill>
                    <a:srgbClr val="2F446B"/>
                  </a:solidFill>
                  <a:effectLst/>
                  <a:uLnTx/>
                  <a:uFillTx/>
                  <a:latin typeface="CiscoSansTT ExtraLight"/>
                  <a:ea typeface="+mn-ea"/>
                  <a:cs typeface="CiscoSansTT Light" panose="020B0503020201020303" pitchFamily="34" charset="0"/>
                </a:rPr>
                <a:t>Change Window Support</a:t>
              </a:r>
            </a:p>
          </p:txBody>
        </p:sp>
        <p:sp>
          <p:nvSpPr>
            <p:cNvPr id="109" name="TextBox 108">
              <a:extLst>
                <a:ext uri="{FF2B5EF4-FFF2-40B4-BE49-F238E27FC236}">
                  <a16:creationId xmlns:a16="http://schemas.microsoft.com/office/drawing/2014/main" id="{9A28F06C-4372-4D08-88FB-B40717EC19CC}"/>
                </a:ext>
              </a:extLst>
            </p:cNvPr>
            <p:cNvSpPr txBox="1"/>
            <p:nvPr/>
          </p:nvSpPr>
          <p:spPr>
            <a:xfrm>
              <a:off x="8187701" y="1600771"/>
              <a:ext cx="1017149" cy="304268"/>
            </a:xfrm>
            <a:prstGeom prst="rect">
              <a:avLst/>
            </a:prstGeom>
            <a:noFill/>
          </p:spPr>
          <p:txBody>
            <a:bodyPr wrap="square" lIns="0" tIns="0" rIns="0" bIns="0" rtlCol="0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-13" normalizeH="0" baseline="0" noProof="0">
                  <a:ln>
                    <a:noFill/>
                  </a:ln>
                  <a:solidFill>
                    <a:srgbClr val="2F446B"/>
                  </a:solidFill>
                  <a:effectLst/>
                  <a:uLnTx/>
                  <a:uFillTx/>
                  <a:latin typeface="CiscoSansTT ExtraLight"/>
                  <a:ea typeface="+mn-ea"/>
                  <a:cs typeface="CiscoSansTT Light" panose="020B0503020201020303" pitchFamily="34" charset="0"/>
                </a:rPr>
                <a:t>Ask the </a:t>
              </a:r>
              <a:br>
                <a:rPr kumimoji="0" lang="en-US" sz="1000" b="0" i="0" u="none" strike="noStrike" kern="1200" cap="none" spc="-13" normalizeH="0" baseline="0" noProof="0">
                  <a:ln>
                    <a:noFill/>
                  </a:ln>
                  <a:solidFill>
                    <a:srgbClr val="2F446B"/>
                  </a:solidFill>
                  <a:effectLst/>
                  <a:uLnTx/>
                  <a:uFillTx/>
                  <a:latin typeface="CiscoSansTT ExtraLight"/>
                  <a:ea typeface="+mn-ea"/>
                  <a:cs typeface="CiscoSansTT Light" panose="020B0503020201020303" pitchFamily="34" charset="0"/>
                </a:rPr>
              </a:br>
              <a:r>
                <a:rPr kumimoji="0" lang="en-US" sz="1000" b="0" i="0" u="none" strike="noStrike" kern="1200" cap="none" spc="-13" normalizeH="0" baseline="0" noProof="0">
                  <a:ln>
                    <a:noFill/>
                  </a:ln>
                  <a:solidFill>
                    <a:srgbClr val="2F446B"/>
                  </a:solidFill>
                  <a:effectLst/>
                  <a:uLnTx/>
                  <a:uFillTx/>
                  <a:latin typeface="CiscoSansTT ExtraLight"/>
                  <a:ea typeface="+mn-ea"/>
                  <a:cs typeface="CiscoSansTT Light" panose="020B0503020201020303" pitchFamily="34" charset="0"/>
                </a:rPr>
                <a:t>Experts</a:t>
              </a:r>
            </a:p>
          </p:txBody>
        </p:sp>
        <p:sp>
          <p:nvSpPr>
            <p:cNvPr id="110" name="TextBox 109">
              <a:extLst>
                <a:ext uri="{FF2B5EF4-FFF2-40B4-BE49-F238E27FC236}">
                  <a16:creationId xmlns:a16="http://schemas.microsoft.com/office/drawing/2014/main" id="{558D62F8-9199-4482-A4B8-B3BCDBF03F36}"/>
                </a:ext>
              </a:extLst>
            </p:cNvPr>
            <p:cNvSpPr txBox="1"/>
            <p:nvPr/>
          </p:nvSpPr>
          <p:spPr>
            <a:xfrm>
              <a:off x="9532419" y="1600771"/>
              <a:ext cx="1017149" cy="304268"/>
            </a:xfrm>
            <a:prstGeom prst="rect">
              <a:avLst/>
            </a:prstGeom>
            <a:noFill/>
          </p:spPr>
          <p:txBody>
            <a:bodyPr wrap="square" lIns="0" tIns="0" rIns="0" bIns="0" rtlCol="0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-13" normalizeH="0" baseline="0" noProof="0">
                  <a:ln>
                    <a:noFill/>
                  </a:ln>
                  <a:solidFill>
                    <a:srgbClr val="2F446B"/>
                  </a:solidFill>
                  <a:effectLst/>
                  <a:uLnTx/>
                  <a:uFillTx/>
                  <a:latin typeface="CiscoSansTT ExtraLight"/>
                  <a:ea typeface="+mn-ea"/>
                  <a:cs typeface="CiscoSansTT Light" panose="020B0503020201020303" pitchFamily="34" charset="0"/>
                </a:rPr>
                <a:t>Expert </a:t>
              </a:r>
              <a:br>
                <a:rPr kumimoji="0" lang="en-US" sz="1000" b="0" i="0" u="none" strike="noStrike" kern="1200" cap="none" spc="-13" normalizeH="0" baseline="0" noProof="0">
                  <a:ln>
                    <a:noFill/>
                  </a:ln>
                  <a:solidFill>
                    <a:srgbClr val="2F446B"/>
                  </a:solidFill>
                  <a:effectLst/>
                  <a:uLnTx/>
                  <a:uFillTx/>
                  <a:latin typeface="CiscoSansTT ExtraLight"/>
                  <a:ea typeface="+mn-ea"/>
                  <a:cs typeface="CiscoSansTT Light" panose="020B0503020201020303" pitchFamily="34" charset="0"/>
                </a:rPr>
              </a:br>
              <a:r>
                <a:rPr kumimoji="0" lang="en-US" sz="1000" b="0" i="0" u="none" strike="noStrike" kern="1200" cap="none" spc="-13" normalizeH="0" baseline="0" noProof="0">
                  <a:ln>
                    <a:noFill/>
                  </a:ln>
                  <a:solidFill>
                    <a:srgbClr val="2F446B"/>
                  </a:solidFill>
                  <a:effectLst/>
                  <a:uLnTx/>
                  <a:uFillTx/>
                  <a:latin typeface="CiscoSansTT ExtraLight"/>
                  <a:ea typeface="+mn-ea"/>
                  <a:cs typeface="CiscoSansTT Light" panose="020B0503020201020303" pitchFamily="34" charset="0"/>
                </a:rPr>
                <a:t>Incident Review</a:t>
              </a:r>
            </a:p>
          </p:txBody>
        </p:sp>
        <p:pic>
          <p:nvPicPr>
            <p:cNvPr id="144" name="Graphic 143">
              <a:extLst>
                <a:ext uri="{FF2B5EF4-FFF2-40B4-BE49-F238E27FC236}">
                  <a16:creationId xmlns:a16="http://schemas.microsoft.com/office/drawing/2014/main" id="{FBE5620B-9105-8E43-937F-49F10637C38E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10636582" y="1176940"/>
              <a:ext cx="220973" cy="220755"/>
            </a:xfrm>
            <a:prstGeom prst="rect">
              <a:avLst/>
            </a:prstGeom>
          </p:spPr>
        </p:pic>
        <p:pic>
          <p:nvPicPr>
            <p:cNvPr id="147" name="Graphic 146">
              <a:extLst>
                <a:ext uri="{FF2B5EF4-FFF2-40B4-BE49-F238E27FC236}">
                  <a16:creationId xmlns:a16="http://schemas.microsoft.com/office/drawing/2014/main" id="{BE062000-9705-7945-A227-41C2D24A4740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>
              <a:extLst>
                <a:ext uri="{96DAC541-7B7A-43D3-8B79-37D633B846F1}">
                  <asvg:svgBlip xmlns:asvg="http://schemas.microsoft.com/office/drawing/2016/SVG/main" r:embed="rId14"/>
                </a:ext>
              </a:extLst>
            </a:blip>
            <a:stretch>
              <a:fillRect/>
            </a:stretch>
          </p:blipFill>
          <p:spPr>
            <a:xfrm>
              <a:off x="10636582" y="1642420"/>
              <a:ext cx="220976" cy="220971"/>
            </a:xfrm>
            <a:prstGeom prst="rect">
              <a:avLst/>
            </a:prstGeom>
          </p:spPr>
        </p:pic>
        <p:sp>
          <p:nvSpPr>
            <p:cNvPr id="150" name="TextBox 149">
              <a:extLst>
                <a:ext uri="{FF2B5EF4-FFF2-40B4-BE49-F238E27FC236}">
                  <a16:creationId xmlns:a16="http://schemas.microsoft.com/office/drawing/2014/main" id="{81CC16E8-9950-214F-BB2F-137948D9938A}"/>
                </a:ext>
              </a:extLst>
            </p:cNvPr>
            <p:cNvSpPr txBox="1"/>
            <p:nvPr/>
          </p:nvSpPr>
          <p:spPr>
            <a:xfrm>
              <a:off x="10940897" y="1135075"/>
              <a:ext cx="1017149" cy="304268"/>
            </a:xfrm>
            <a:prstGeom prst="rect">
              <a:avLst/>
            </a:prstGeom>
            <a:noFill/>
          </p:spPr>
          <p:txBody>
            <a:bodyPr wrap="square" lIns="0" tIns="0" rIns="0" bIns="0" rtlCol="0" anchor="ctr" anchorCtr="0">
              <a:noAutofit/>
            </a:bodyPr>
            <a:lstStyle>
              <a:defPPr>
                <a:defRPr lang="en-US"/>
              </a:defPPr>
              <a:lvl1pPr marR="0" lvl="0" indent="0" fontAlgn="auto">
                <a:lnSpc>
                  <a:spcPct val="100000"/>
                </a:lnSpc>
                <a:spcBef>
                  <a:spcPts val="0"/>
                </a:spcBef>
                <a:spcAft>
                  <a:spcPts val="1600"/>
                </a:spcAft>
                <a:buClrTx/>
                <a:buSzTx/>
                <a:buFontTx/>
                <a:buNone/>
                <a:tabLst/>
                <a:defRPr kumimoji="0" sz="1000" b="0" i="0" u="none" strike="noStrike" cap="none" spc="-13" normalizeH="0" baseline="0">
                  <a:ln>
                    <a:noFill/>
                  </a:ln>
                  <a:solidFill>
                    <a:srgbClr val="2F446B"/>
                  </a:solidFill>
                  <a:effectLst/>
                  <a:uLnTx/>
                  <a:uFillTx/>
                  <a:latin typeface="CiscoSansTT ExtraLight"/>
                  <a:cs typeface="CiscoSansTT Light" panose="020B0503020201020303" pitchFamily="34" charset="0"/>
                </a:defRPr>
              </a:lvl1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-13" normalizeH="0" baseline="0" noProof="0">
                  <a:ln>
                    <a:noFill/>
                  </a:ln>
                  <a:solidFill>
                    <a:srgbClr val="2F446B"/>
                  </a:solidFill>
                  <a:effectLst/>
                  <a:uLnTx/>
                  <a:uFillTx/>
                  <a:latin typeface="CiscoSansTT ExtraLight"/>
                  <a:ea typeface="+mn-ea"/>
                  <a:cs typeface="CiscoSansTT Light" panose="020B0503020201020303" pitchFamily="34" charset="0"/>
                </a:rPr>
                <a:t>Expert Review Workshops</a:t>
              </a:r>
            </a:p>
          </p:txBody>
        </p:sp>
        <p:sp>
          <p:nvSpPr>
            <p:cNvPr id="153" name="TextBox 152">
              <a:extLst>
                <a:ext uri="{FF2B5EF4-FFF2-40B4-BE49-F238E27FC236}">
                  <a16:creationId xmlns:a16="http://schemas.microsoft.com/office/drawing/2014/main" id="{07B9CFAC-9E1A-BA47-90C0-59C3B7274394}"/>
                </a:ext>
              </a:extLst>
            </p:cNvPr>
            <p:cNvSpPr txBox="1"/>
            <p:nvPr/>
          </p:nvSpPr>
          <p:spPr>
            <a:xfrm>
              <a:off x="10940897" y="1600771"/>
              <a:ext cx="1017149" cy="304268"/>
            </a:xfrm>
            <a:prstGeom prst="rect">
              <a:avLst/>
            </a:prstGeom>
            <a:noFill/>
          </p:spPr>
          <p:txBody>
            <a:bodyPr wrap="square" lIns="0" tIns="0" rIns="0" bIns="0" rtlCol="0" anchor="ctr" anchorCtr="0">
              <a:noAutofit/>
            </a:bodyPr>
            <a:lstStyle>
              <a:defPPr>
                <a:defRPr lang="en-US"/>
              </a:defPPr>
              <a:lvl1pPr marR="0" lvl="0" indent="0" fontAlgn="auto">
                <a:lnSpc>
                  <a:spcPct val="100000"/>
                </a:lnSpc>
                <a:spcBef>
                  <a:spcPts val="0"/>
                </a:spcBef>
                <a:spcAft>
                  <a:spcPts val="1600"/>
                </a:spcAft>
                <a:buClrTx/>
                <a:buSzTx/>
                <a:buFontTx/>
                <a:buNone/>
                <a:tabLst/>
                <a:defRPr kumimoji="0" sz="1000" b="0" i="0" u="none" strike="noStrike" cap="none" spc="-13" normalizeH="0" baseline="0">
                  <a:ln>
                    <a:noFill/>
                  </a:ln>
                  <a:solidFill>
                    <a:srgbClr val="2F446B"/>
                  </a:solidFill>
                  <a:effectLst/>
                  <a:uLnTx/>
                  <a:uFillTx/>
                  <a:latin typeface="CiscoSansTT ExtraLight"/>
                  <a:cs typeface="CiscoSansTT Light" panose="020B0503020201020303" pitchFamily="34" charset="0"/>
                </a:defRPr>
              </a:lvl1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-13" normalizeH="0" baseline="0" noProof="0">
                  <a:ln>
                    <a:noFill/>
                  </a:ln>
                  <a:solidFill>
                    <a:srgbClr val="2F446B"/>
                  </a:solidFill>
                  <a:effectLst/>
                  <a:uLnTx/>
                  <a:uFillTx/>
                  <a:latin typeface="CiscoSansTT ExtraLight"/>
                  <a:ea typeface="+mn-ea"/>
                  <a:cs typeface="CiscoSansTT Light" panose="020B0503020201020303" pitchFamily="34" charset="0"/>
                </a:rPr>
                <a:t>Accelerators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562535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" name="Group 11">
            <a:extLst>
              <a:ext uri="{FF2B5EF4-FFF2-40B4-BE49-F238E27FC236}">
                <a16:creationId xmlns:a16="http://schemas.microsoft.com/office/drawing/2014/main" id="{FF375516-C839-2540-B92C-172BE60F9073}"/>
              </a:ext>
            </a:extLst>
          </p:cNvPr>
          <p:cNvGrpSpPr/>
          <p:nvPr/>
        </p:nvGrpSpPr>
        <p:grpSpPr>
          <a:xfrm>
            <a:off x="940980" y="3411468"/>
            <a:ext cx="1977949" cy="669389"/>
            <a:chOff x="940979" y="2676457"/>
            <a:chExt cx="1977949" cy="669389"/>
          </a:xfrm>
        </p:grpSpPr>
        <p:sp>
          <p:nvSpPr>
            <p:cNvPr id="224" name="Rectangle: Rounded Corners 223">
              <a:extLst>
                <a:ext uri="{FF2B5EF4-FFF2-40B4-BE49-F238E27FC236}">
                  <a16:creationId xmlns:a16="http://schemas.microsoft.com/office/drawing/2014/main" id="{8D6D3EC0-F02F-4F08-800C-2921D495EF7A}"/>
                </a:ext>
              </a:extLst>
            </p:cNvPr>
            <p:cNvSpPr/>
            <p:nvPr/>
          </p:nvSpPr>
          <p:spPr>
            <a:xfrm>
              <a:off x="1587546" y="3045910"/>
              <a:ext cx="603887" cy="299936"/>
            </a:xfrm>
            <a:prstGeom prst="roundRect">
              <a:avLst>
                <a:gd name="adj" fmla="val 50000"/>
              </a:avLst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48000" bIns="0" rtlCol="0" anchor="ctr" anchorCtr="0"/>
            <a:lstStyle/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>
                  <a:ln>
                    <a:noFill/>
                  </a:ln>
                  <a:solidFill>
                    <a:srgbClr val="00BCEB"/>
                  </a:solidFill>
                  <a:effectLst/>
                  <a:uLnTx/>
                  <a:uFillTx/>
                  <a:latin typeface="CiscoSansTT ExtraLight" panose="020B0303020201020303" pitchFamily="34" charset="0"/>
                  <a:ea typeface="+mn-ea"/>
                  <a:cs typeface="CiscoSansTT ExtraLight" panose="020B0303020201020303" pitchFamily="34" charset="0"/>
                </a:rPr>
                <a:t>x1</a:t>
              </a:r>
            </a:p>
          </p:txBody>
        </p:sp>
        <p:sp>
          <p:nvSpPr>
            <p:cNvPr id="225" name="Rectangle: Rounded Corners 224">
              <a:extLst>
                <a:ext uri="{FF2B5EF4-FFF2-40B4-BE49-F238E27FC236}">
                  <a16:creationId xmlns:a16="http://schemas.microsoft.com/office/drawing/2014/main" id="{C03B0DC6-E06B-4147-880F-4EBF1C6E90B1}"/>
                </a:ext>
              </a:extLst>
            </p:cNvPr>
            <p:cNvSpPr/>
            <p:nvPr/>
          </p:nvSpPr>
          <p:spPr>
            <a:xfrm>
              <a:off x="2315041" y="3045910"/>
              <a:ext cx="603887" cy="299936"/>
            </a:xfrm>
            <a:prstGeom prst="roundRect">
              <a:avLst>
                <a:gd name="adj" fmla="val 50000"/>
              </a:avLst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48000" bIns="0" rtlCol="0" anchor="ctr" anchorCtr="0"/>
            <a:lstStyle/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>
                  <a:ln>
                    <a:noFill/>
                  </a:ln>
                  <a:solidFill>
                    <a:srgbClr val="00BCEB"/>
                  </a:solidFill>
                  <a:effectLst/>
                  <a:uLnTx/>
                  <a:uFillTx/>
                  <a:latin typeface="CiscoSansTT ExtraLight" panose="020B0303020201020303" pitchFamily="34" charset="0"/>
                  <a:ea typeface="+mn-ea"/>
                  <a:cs typeface="CiscoSansTT ExtraLight" panose="020B0303020201020303" pitchFamily="34" charset="0"/>
                </a:rPr>
                <a:t>x12</a:t>
              </a:r>
            </a:p>
          </p:txBody>
        </p:sp>
        <p:sp>
          <p:nvSpPr>
            <p:cNvPr id="221" name="Rectangle: Rounded Corners 220">
              <a:extLst>
                <a:ext uri="{FF2B5EF4-FFF2-40B4-BE49-F238E27FC236}">
                  <a16:creationId xmlns:a16="http://schemas.microsoft.com/office/drawing/2014/main" id="{615A8680-7C51-4654-8362-BD660056986D}"/>
                </a:ext>
              </a:extLst>
            </p:cNvPr>
            <p:cNvSpPr/>
            <p:nvPr/>
          </p:nvSpPr>
          <p:spPr>
            <a:xfrm>
              <a:off x="996399" y="2676457"/>
              <a:ext cx="603887" cy="299936"/>
            </a:xfrm>
            <a:prstGeom prst="roundRect">
              <a:avLst>
                <a:gd name="adj" fmla="val 50000"/>
              </a:avLst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48000" bIns="0" rtlCol="0" anchor="ctr" anchorCtr="0"/>
            <a:lstStyle/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>
                  <a:ln>
                    <a:noFill/>
                  </a:ln>
                  <a:solidFill>
                    <a:srgbClr val="00BCEB"/>
                  </a:solidFill>
                  <a:effectLst/>
                  <a:uLnTx/>
                  <a:uFillTx/>
                  <a:latin typeface="CiscoSansTT ExtraLight" panose="020B0303020201020303" pitchFamily="34" charset="0"/>
                  <a:ea typeface="+mn-ea"/>
                  <a:cs typeface="CiscoSansTT ExtraLight" panose="020B0303020201020303" pitchFamily="34" charset="0"/>
                </a:rPr>
                <a:t>x36</a:t>
              </a:r>
            </a:p>
          </p:txBody>
        </p:sp>
        <p:sp>
          <p:nvSpPr>
            <p:cNvPr id="222" name="Rectangle: Rounded Corners 221">
              <a:extLst>
                <a:ext uri="{FF2B5EF4-FFF2-40B4-BE49-F238E27FC236}">
                  <a16:creationId xmlns:a16="http://schemas.microsoft.com/office/drawing/2014/main" id="{BCA31D35-27F5-4D4C-ADB6-CA419B834F48}"/>
                </a:ext>
              </a:extLst>
            </p:cNvPr>
            <p:cNvSpPr/>
            <p:nvPr/>
          </p:nvSpPr>
          <p:spPr>
            <a:xfrm>
              <a:off x="1643469" y="2676457"/>
              <a:ext cx="603887" cy="299936"/>
            </a:xfrm>
            <a:prstGeom prst="roundRect">
              <a:avLst>
                <a:gd name="adj" fmla="val 50000"/>
              </a:avLst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48000" bIns="0" rtlCol="0" anchor="ctr" anchorCtr="0"/>
            <a:lstStyle/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>
                  <a:ln>
                    <a:noFill/>
                  </a:ln>
                  <a:solidFill>
                    <a:srgbClr val="00BCEB"/>
                  </a:solidFill>
                  <a:effectLst/>
                  <a:uLnTx/>
                  <a:uFillTx/>
                  <a:latin typeface="CiscoSansTT ExtraLight" panose="020B0303020201020303" pitchFamily="34" charset="0"/>
                  <a:ea typeface="+mn-ea"/>
                  <a:cs typeface="CiscoSansTT ExtraLight" panose="020B0303020201020303" pitchFamily="34" charset="0"/>
                </a:rPr>
                <a:t>x12</a:t>
              </a:r>
            </a:p>
          </p:txBody>
        </p:sp>
        <p:sp>
          <p:nvSpPr>
            <p:cNvPr id="223" name="Rectangle: Rounded Corners 222">
              <a:extLst>
                <a:ext uri="{FF2B5EF4-FFF2-40B4-BE49-F238E27FC236}">
                  <a16:creationId xmlns:a16="http://schemas.microsoft.com/office/drawing/2014/main" id="{1B18CEEA-29E6-49D5-A6D8-0D6491D4BD81}"/>
                </a:ext>
              </a:extLst>
            </p:cNvPr>
            <p:cNvSpPr/>
            <p:nvPr/>
          </p:nvSpPr>
          <p:spPr>
            <a:xfrm>
              <a:off x="2315041" y="2676457"/>
              <a:ext cx="603887" cy="299936"/>
            </a:xfrm>
            <a:prstGeom prst="roundRect">
              <a:avLst>
                <a:gd name="adj" fmla="val 50000"/>
              </a:avLst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48000" bIns="0" rtlCol="0" anchor="ctr" anchorCtr="0"/>
            <a:lstStyle/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>
                  <a:ln>
                    <a:noFill/>
                  </a:ln>
                  <a:solidFill>
                    <a:srgbClr val="00BCEB"/>
                  </a:solidFill>
                  <a:effectLst/>
                  <a:uLnTx/>
                  <a:uFillTx/>
                  <a:latin typeface="CiscoSansTT ExtraLight" panose="020B0303020201020303" pitchFamily="34" charset="0"/>
                  <a:ea typeface="+mn-ea"/>
                  <a:cs typeface="CiscoSansTT ExtraLight" panose="020B0303020201020303" pitchFamily="34" charset="0"/>
                </a:rPr>
                <a:t>x12</a:t>
              </a:r>
            </a:p>
          </p:txBody>
        </p:sp>
        <p:sp>
          <p:nvSpPr>
            <p:cNvPr id="220" name="Rectangle: Rounded Corners 219">
              <a:extLst>
                <a:ext uri="{FF2B5EF4-FFF2-40B4-BE49-F238E27FC236}">
                  <a16:creationId xmlns:a16="http://schemas.microsoft.com/office/drawing/2014/main" id="{24E69B50-E032-45C7-AB01-7F7967A165F9}"/>
                </a:ext>
              </a:extLst>
            </p:cNvPr>
            <p:cNvSpPr/>
            <p:nvPr/>
          </p:nvSpPr>
          <p:spPr>
            <a:xfrm>
              <a:off x="995394" y="3038328"/>
              <a:ext cx="603887" cy="299936"/>
            </a:xfrm>
            <a:prstGeom prst="roundRect">
              <a:avLst>
                <a:gd name="adj" fmla="val 50000"/>
              </a:avLst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48000" bIns="0" rtlCol="0" anchor="ctr" anchorCtr="0"/>
            <a:lstStyle/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>
                  <a:ln>
                    <a:noFill/>
                  </a:ln>
                  <a:solidFill>
                    <a:srgbClr val="00BCEB"/>
                  </a:solidFill>
                  <a:effectLst/>
                  <a:uLnTx/>
                  <a:uFillTx/>
                  <a:latin typeface="CiscoSansTT ExtraLight" panose="020B0303020201020303" pitchFamily="34" charset="0"/>
                  <a:ea typeface="+mn-ea"/>
                  <a:cs typeface="CiscoSansTT ExtraLight" panose="020B0303020201020303" pitchFamily="34" charset="0"/>
                </a:rPr>
                <a:t>x35</a:t>
              </a:r>
            </a:p>
          </p:txBody>
        </p:sp>
        <p:pic>
          <p:nvPicPr>
            <p:cNvPr id="61" name="Graphic 60">
              <a:extLst>
                <a:ext uri="{FF2B5EF4-FFF2-40B4-BE49-F238E27FC236}">
                  <a16:creationId xmlns:a16="http://schemas.microsoft.com/office/drawing/2014/main" id="{3CB1A87A-EB98-456E-90EF-BA1C6C21A649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940979" y="2676457"/>
              <a:ext cx="290463" cy="289608"/>
            </a:xfrm>
            <a:prstGeom prst="rect">
              <a:avLst/>
            </a:prstGeom>
          </p:spPr>
        </p:pic>
        <p:pic>
          <p:nvPicPr>
            <p:cNvPr id="62" name="Graphic 61">
              <a:extLst>
                <a:ext uri="{FF2B5EF4-FFF2-40B4-BE49-F238E27FC236}">
                  <a16:creationId xmlns:a16="http://schemas.microsoft.com/office/drawing/2014/main" id="{44537BA5-C24C-497E-80CD-73C7487D6974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1588474" y="2676672"/>
              <a:ext cx="289612" cy="289608"/>
            </a:xfrm>
            <a:prstGeom prst="rect">
              <a:avLst/>
            </a:prstGeom>
          </p:spPr>
        </p:pic>
        <p:pic>
          <p:nvPicPr>
            <p:cNvPr id="63" name="Graphic 62">
              <a:extLst>
                <a:ext uri="{FF2B5EF4-FFF2-40B4-BE49-F238E27FC236}">
                  <a16:creationId xmlns:a16="http://schemas.microsoft.com/office/drawing/2014/main" id="{87CE361C-BD7B-42F6-9B1C-A47C6691EEBC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2259620" y="2676457"/>
              <a:ext cx="289896" cy="289608"/>
            </a:xfrm>
            <a:prstGeom prst="rect">
              <a:avLst/>
            </a:prstGeom>
          </p:spPr>
        </p:pic>
        <p:pic>
          <p:nvPicPr>
            <p:cNvPr id="64" name="Graphic 63">
              <a:extLst>
                <a:ext uri="{FF2B5EF4-FFF2-40B4-BE49-F238E27FC236}">
                  <a16:creationId xmlns:a16="http://schemas.microsoft.com/office/drawing/2014/main" id="{832C479A-45FF-4FE6-8359-FC42BDDDADB6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943641" y="3043740"/>
              <a:ext cx="289612" cy="289608"/>
            </a:xfrm>
            <a:prstGeom prst="rect">
              <a:avLst/>
            </a:prstGeom>
          </p:spPr>
        </p:pic>
        <p:pic>
          <p:nvPicPr>
            <p:cNvPr id="65" name="Graphic 64">
              <a:extLst>
                <a:ext uri="{FF2B5EF4-FFF2-40B4-BE49-F238E27FC236}">
                  <a16:creationId xmlns:a16="http://schemas.microsoft.com/office/drawing/2014/main" id="{A5DD8843-224C-4B4D-8A60-5C033BA6A566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>
              <a:extLs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p:blipFill>
          <p:spPr>
            <a:xfrm>
              <a:off x="1589522" y="3045910"/>
              <a:ext cx="289612" cy="289608"/>
            </a:xfrm>
            <a:prstGeom prst="rect">
              <a:avLst/>
            </a:prstGeom>
          </p:spPr>
        </p:pic>
        <p:pic>
          <p:nvPicPr>
            <p:cNvPr id="66" name="Graphic 65">
              <a:extLst>
                <a:ext uri="{FF2B5EF4-FFF2-40B4-BE49-F238E27FC236}">
                  <a16:creationId xmlns:a16="http://schemas.microsoft.com/office/drawing/2014/main" id="{869DD001-F575-4B4E-A54B-2E98E4A4CC68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>
              <a:extLst>
                <a:ext uri="{96DAC541-7B7A-43D3-8B79-37D633B846F1}">
                  <asvg:svgBlip xmlns:asvg="http://schemas.microsoft.com/office/drawing/2016/SVG/main" r:embed="rId14"/>
                </a:ext>
              </a:extLst>
            </a:blip>
            <a:stretch>
              <a:fillRect/>
            </a:stretch>
          </p:blipFill>
          <p:spPr>
            <a:xfrm>
              <a:off x="2259903" y="3045910"/>
              <a:ext cx="289612" cy="289608"/>
            </a:xfrm>
            <a:prstGeom prst="rect">
              <a:avLst/>
            </a:prstGeom>
          </p:spPr>
        </p:pic>
      </p:grpSp>
      <p:grpSp>
        <p:nvGrpSpPr>
          <p:cNvPr id="13" name="Group 12">
            <a:extLst>
              <a:ext uri="{FF2B5EF4-FFF2-40B4-BE49-F238E27FC236}">
                <a16:creationId xmlns:a16="http://schemas.microsoft.com/office/drawing/2014/main" id="{6F0C2AFA-0DB9-A743-9EAF-26E5190F2C0D}"/>
              </a:ext>
            </a:extLst>
          </p:cNvPr>
          <p:cNvGrpSpPr/>
          <p:nvPr/>
        </p:nvGrpSpPr>
        <p:grpSpPr>
          <a:xfrm>
            <a:off x="3774223" y="3383332"/>
            <a:ext cx="1903057" cy="669389"/>
            <a:chOff x="3960011" y="2894240"/>
            <a:chExt cx="1903057" cy="669389"/>
          </a:xfrm>
        </p:grpSpPr>
        <p:sp>
          <p:nvSpPr>
            <p:cNvPr id="262" name="Rectangle: Rounded Corners 261">
              <a:extLst>
                <a:ext uri="{FF2B5EF4-FFF2-40B4-BE49-F238E27FC236}">
                  <a16:creationId xmlns:a16="http://schemas.microsoft.com/office/drawing/2014/main" id="{F196BA9A-7204-4075-94A1-7F21698AA477}"/>
                </a:ext>
              </a:extLst>
            </p:cNvPr>
            <p:cNvSpPr/>
            <p:nvPr/>
          </p:nvSpPr>
          <p:spPr>
            <a:xfrm>
              <a:off x="4579692" y="3263693"/>
              <a:ext cx="603887" cy="299936"/>
            </a:xfrm>
            <a:prstGeom prst="roundRect">
              <a:avLst>
                <a:gd name="adj" fmla="val 50000"/>
              </a:avLst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48000" bIns="0" rtlCol="0" anchor="ctr" anchorCtr="0"/>
            <a:lstStyle/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>
                  <a:ln>
                    <a:noFill/>
                  </a:ln>
                  <a:solidFill>
                    <a:srgbClr val="14284A"/>
                  </a:solidFill>
                  <a:effectLst/>
                  <a:uLnTx/>
                  <a:uFillTx/>
                  <a:latin typeface="CiscoSansTT ExtraLight" panose="020B0303020201020303" pitchFamily="34" charset="0"/>
                  <a:ea typeface="+mn-ea"/>
                  <a:cs typeface="CiscoSansTT ExtraLight" panose="020B0303020201020303" pitchFamily="34" charset="0"/>
                </a:rPr>
                <a:t>x1</a:t>
              </a:r>
            </a:p>
          </p:txBody>
        </p:sp>
        <p:sp>
          <p:nvSpPr>
            <p:cNvPr id="263" name="Rectangle: Rounded Corners 262">
              <a:extLst>
                <a:ext uri="{FF2B5EF4-FFF2-40B4-BE49-F238E27FC236}">
                  <a16:creationId xmlns:a16="http://schemas.microsoft.com/office/drawing/2014/main" id="{CFD11C52-ABA6-432E-9BD9-B87704F8805A}"/>
                </a:ext>
              </a:extLst>
            </p:cNvPr>
            <p:cNvSpPr/>
            <p:nvPr/>
          </p:nvSpPr>
          <p:spPr>
            <a:xfrm>
              <a:off x="5259181" y="3263693"/>
              <a:ext cx="603887" cy="299936"/>
            </a:xfrm>
            <a:prstGeom prst="roundRect">
              <a:avLst>
                <a:gd name="adj" fmla="val 50000"/>
              </a:avLst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48000" bIns="0" rtlCol="0" anchor="ctr" anchorCtr="0"/>
            <a:lstStyle/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>
                  <a:ln>
                    <a:noFill/>
                  </a:ln>
                  <a:solidFill>
                    <a:srgbClr val="14284A"/>
                  </a:solidFill>
                  <a:effectLst/>
                  <a:uLnTx/>
                  <a:uFillTx/>
                  <a:latin typeface="CiscoSansTT ExtraLight" panose="020B0303020201020303" pitchFamily="34" charset="0"/>
                  <a:ea typeface="+mn-ea"/>
                  <a:cs typeface="CiscoSansTT ExtraLight" panose="020B0303020201020303" pitchFamily="34" charset="0"/>
                </a:rPr>
                <a:t>x12</a:t>
              </a:r>
            </a:p>
          </p:txBody>
        </p:sp>
        <p:sp>
          <p:nvSpPr>
            <p:cNvPr id="264" name="Rectangle: Rounded Corners 263">
              <a:extLst>
                <a:ext uri="{FF2B5EF4-FFF2-40B4-BE49-F238E27FC236}">
                  <a16:creationId xmlns:a16="http://schemas.microsoft.com/office/drawing/2014/main" id="{69AA52F5-598F-4357-9FEF-AE77FF786347}"/>
                </a:ext>
              </a:extLst>
            </p:cNvPr>
            <p:cNvSpPr/>
            <p:nvPr/>
          </p:nvSpPr>
          <p:spPr>
            <a:xfrm>
              <a:off x="4015431" y="2894240"/>
              <a:ext cx="603887" cy="299936"/>
            </a:xfrm>
            <a:prstGeom prst="roundRect">
              <a:avLst>
                <a:gd name="adj" fmla="val 50000"/>
              </a:avLst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48000" bIns="0" rtlCol="0" anchor="ctr" anchorCtr="0"/>
            <a:lstStyle/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>
                  <a:ln>
                    <a:noFill/>
                  </a:ln>
                  <a:solidFill>
                    <a:srgbClr val="14284A"/>
                  </a:solidFill>
                  <a:effectLst/>
                  <a:uLnTx/>
                  <a:uFillTx/>
                  <a:latin typeface="CiscoSansTT ExtraLight" panose="020B0303020201020303" pitchFamily="34" charset="0"/>
                  <a:ea typeface="+mn-ea"/>
                  <a:cs typeface="CiscoSansTT ExtraLight" panose="020B0303020201020303" pitchFamily="34" charset="0"/>
                </a:rPr>
                <a:t>x36</a:t>
              </a:r>
            </a:p>
          </p:txBody>
        </p:sp>
        <p:sp>
          <p:nvSpPr>
            <p:cNvPr id="265" name="Rectangle: Rounded Corners 264">
              <a:extLst>
                <a:ext uri="{FF2B5EF4-FFF2-40B4-BE49-F238E27FC236}">
                  <a16:creationId xmlns:a16="http://schemas.microsoft.com/office/drawing/2014/main" id="{9709CDB7-C178-4867-BA5E-2408D2A86070}"/>
                </a:ext>
              </a:extLst>
            </p:cNvPr>
            <p:cNvSpPr/>
            <p:nvPr/>
          </p:nvSpPr>
          <p:spPr>
            <a:xfrm>
              <a:off x="4635615" y="2894240"/>
              <a:ext cx="603887" cy="299936"/>
            </a:xfrm>
            <a:prstGeom prst="roundRect">
              <a:avLst>
                <a:gd name="adj" fmla="val 50000"/>
              </a:avLst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48000" bIns="0" rtlCol="0" anchor="ctr" anchorCtr="0"/>
            <a:lstStyle/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>
                  <a:ln>
                    <a:noFill/>
                  </a:ln>
                  <a:solidFill>
                    <a:srgbClr val="14284A"/>
                  </a:solidFill>
                  <a:effectLst/>
                  <a:uLnTx/>
                  <a:uFillTx/>
                  <a:latin typeface="CiscoSansTT ExtraLight" panose="020B0303020201020303" pitchFamily="34" charset="0"/>
                  <a:ea typeface="+mn-ea"/>
                  <a:cs typeface="CiscoSansTT ExtraLight" panose="020B0303020201020303" pitchFamily="34" charset="0"/>
                </a:rPr>
                <a:t>x12</a:t>
              </a:r>
            </a:p>
          </p:txBody>
        </p:sp>
        <p:sp>
          <p:nvSpPr>
            <p:cNvPr id="266" name="Rectangle: Rounded Corners 265">
              <a:extLst>
                <a:ext uri="{FF2B5EF4-FFF2-40B4-BE49-F238E27FC236}">
                  <a16:creationId xmlns:a16="http://schemas.microsoft.com/office/drawing/2014/main" id="{3A300B61-047B-4A97-BFA4-DF407CA2521E}"/>
                </a:ext>
              </a:extLst>
            </p:cNvPr>
            <p:cNvSpPr/>
            <p:nvPr/>
          </p:nvSpPr>
          <p:spPr>
            <a:xfrm>
              <a:off x="5259181" y="2894240"/>
              <a:ext cx="603887" cy="299936"/>
            </a:xfrm>
            <a:prstGeom prst="roundRect">
              <a:avLst>
                <a:gd name="adj" fmla="val 50000"/>
              </a:avLst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48000" bIns="0" rtlCol="0" anchor="ctr" anchorCtr="0"/>
            <a:lstStyle/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>
                  <a:ln>
                    <a:noFill/>
                  </a:ln>
                  <a:solidFill>
                    <a:srgbClr val="14284A"/>
                  </a:solidFill>
                  <a:effectLst/>
                  <a:uLnTx/>
                  <a:uFillTx/>
                  <a:latin typeface="CiscoSansTT ExtraLight" panose="020B0303020201020303" pitchFamily="34" charset="0"/>
                  <a:ea typeface="+mn-ea"/>
                  <a:cs typeface="CiscoSansTT ExtraLight" panose="020B0303020201020303" pitchFamily="34" charset="0"/>
                </a:rPr>
                <a:t>x12</a:t>
              </a:r>
            </a:p>
          </p:txBody>
        </p:sp>
        <p:sp>
          <p:nvSpPr>
            <p:cNvPr id="267" name="Rectangle: Rounded Corners 266">
              <a:extLst>
                <a:ext uri="{FF2B5EF4-FFF2-40B4-BE49-F238E27FC236}">
                  <a16:creationId xmlns:a16="http://schemas.microsoft.com/office/drawing/2014/main" id="{318DFE50-9A5B-48CB-8180-167DC9EFC8B2}"/>
                </a:ext>
              </a:extLst>
            </p:cNvPr>
            <p:cNvSpPr/>
            <p:nvPr/>
          </p:nvSpPr>
          <p:spPr>
            <a:xfrm>
              <a:off x="4014425" y="3256110"/>
              <a:ext cx="603887" cy="299936"/>
            </a:xfrm>
            <a:prstGeom prst="roundRect">
              <a:avLst>
                <a:gd name="adj" fmla="val 50000"/>
              </a:avLst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48000" bIns="0" rtlCol="0" anchor="ctr" anchorCtr="0"/>
            <a:lstStyle/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>
                  <a:ln>
                    <a:noFill/>
                  </a:ln>
                  <a:solidFill>
                    <a:srgbClr val="14284A"/>
                  </a:solidFill>
                  <a:effectLst/>
                  <a:uLnTx/>
                  <a:uFillTx/>
                  <a:latin typeface="CiscoSansTT ExtraLight" panose="020B0303020201020303" pitchFamily="34" charset="0"/>
                  <a:ea typeface="+mn-ea"/>
                  <a:cs typeface="CiscoSansTT ExtraLight" panose="020B0303020201020303" pitchFamily="34" charset="0"/>
                </a:rPr>
                <a:t>x41</a:t>
              </a:r>
            </a:p>
          </p:txBody>
        </p:sp>
        <p:pic>
          <p:nvPicPr>
            <p:cNvPr id="268" name="Graphic 267">
              <a:extLst>
                <a:ext uri="{FF2B5EF4-FFF2-40B4-BE49-F238E27FC236}">
                  <a16:creationId xmlns:a16="http://schemas.microsoft.com/office/drawing/2014/main" id="{C9545903-F55F-45CE-A797-24832036483A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3960011" y="2894240"/>
              <a:ext cx="290463" cy="289608"/>
            </a:xfrm>
            <a:prstGeom prst="rect">
              <a:avLst/>
            </a:prstGeom>
          </p:spPr>
        </p:pic>
        <p:pic>
          <p:nvPicPr>
            <p:cNvPr id="269" name="Graphic 268">
              <a:extLst>
                <a:ext uri="{FF2B5EF4-FFF2-40B4-BE49-F238E27FC236}">
                  <a16:creationId xmlns:a16="http://schemas.microsoft.com/office/drawing/2014/main" id="{AC35B555-AF38-4F5D-85A4-99BB4D0E3ECF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4580620" y="2894454"/>
              <a:ext cx="289612" cy="289608"/>
            </a:xfrm>
            <a:prstGeom prst="rect">
              <a:avLst/>
            </a:prstGeom>
          </p:spPr>
        </p:pic>
        <p:pic>
          <p:nvPicPr>
            <p:cNvPr id="270" name="Graphic 269">
              <a:extLst>
                <a:ext uri="{FF2B5EF4-FFF2-40B4-BE49-F238E27FC236}">
                  <a16:creationId xmlns:a16="http://schemas.microsoft.com/office/drawing/2014/main" id="{D6F2F1C9-7D93-44F5-A400-00356662F9C1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5203761" y="2894240"/>
              <a:ext cx="289896" cy="289608"/>
            </a:xfrm>
            <a:prstGeom prst="rect">
              <a:avLst/>
            </a:prstGeom>
          </p:spPr>
        </p:pic>
        <p:pic>
          <p:nvPicPr>
            <p:cNvPr id="271" name="Graphic 270">
              <a:extLst>
                <a:ext uri="{FF2B5EF4-FFF2-40B4-BE49-F238E27FC236}">
                  <a16:creationId xmlns:a16="http://schemas.microsoft.com/office/drawing/2014/main" id="{428E182F-7F35-4401-9897-ED501625468D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3962672" y="3261522"/>
              <a:ext cx="289612" cy="289608"/>
            </a:xfrm>
            <a:prstGeom prst="rect">
              <a:avLst/>
            </a:prstGeom>
          </p:spPr>
        </p:pic>
        <p:pic>
          <p:nvPicPr>
            <p:cNvPr id="272" name="Graphic 271">
              <a:extLst>
                <a:ext uri="{FF2B5EF4-FFF2-40B4-BE49-F238E27FC236}">
                  <a16:creationId xmlns:a16="http://schemas.microsoft.com/office/drawing/2014/main" id="{2746B7D3-3056-44AD-AF15-069A9D14C096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>
              <a:extLs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p:blipFill>
          <p:spPr>
            <a:xfrm>
              <a:off x="4581668" y="3263693"/>
              <a:ext cx="289612" cy="289608"/>
            </a:xfrm>
            <a:prstGeom prst="rect">
              <a:avLst/>
            </a:prstGeom>
          </p:spPr>
        </p:pic>
        <p:pic>
          <p:nvPicPr>
            <p:cNvPr id="273" name="Graphic 272">
              <a:extLst>
                <a:ext uri="{FF2B5EF4-FFF2-40B4-BE49-F238E27FC236}">
                  <a16:creationId xmlns:a16="http://schemas.microsoft.com/office/drawing/2014/main" id="{A772025B-92B7-402B-99E4-807F17CFBFA7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>
              <a:extLst>
                <a:ext uri="{96DAC541-7B7A-43D3-8B79-37D633B846F1}">
                  <asvg:svgBlip xmlns:asvg="http://schemas.microsoft.com/office/drawing/2016/SVG/main" r:embed="rId14"/>
                </a:ext>
              </a:extLst>
            </a:blip>
            <a:stretch>
              <a:fillRect/>
            </a:stretch>
          </p:blipFill>
          <p:spPr>
            <a:xfrm>
              <a:off x="5204044" y="3263693"/>
              <a:ext cx="289612" cy="289608"/>
            </a:xfrm>
            <a:prstGeom prst="rect">
              <a:avLst/>
            </a:prstGeom>
          </p:spPr>
        </p:pic>
      </p:grpSp>
      <p:grpSp>
        <p:nvGrpSpPr>
          <p:cNvPr id="14" name="Group 13">
            <a:extLst>
              <a:ext uri="{FF2B5EF4-FFF2-40B4-BE49-F238E27FC236}">
                <a16:creationId xmlns:a16="http://schemas.microsoft.com/office/drawing/2014/main" id="{7DDB4C67-A3DC-374F-8135-481E322BC42E}"/>
              </a:ext>
            </a:extLst>
          </p:cNvPr>
          <p:cNvGrpSpPr/>
          <p:nvPr/>
        </p:nvGrpSpPr>
        <p:grpSpPr>
          <a:xfrm>
            <a:off x="6538332" y="3383332"/>
            <a:ext cx="1966430" cy="669389"/>
            <a:chOff x="6674467" y="3055097"/>
            <a:chExt cx="1966430" cy="669389"/>
          </a:xfrm>
        </p:grpSpPr>
        <p:sp>
          <p:nvSpPr>
            <p:cNvPr id="226" name="Rectangle: Rounded Corners 225">
              <a:extLst>
                <a:ext uri="{FF2B5EF4-FFF2-40B4-BE49-F238E27FC236}">
                  <a16:creationId xmlns:a16="http://schemas.microsoft.com/office/drawing/2014/main" id="{BCFDA868-B30C-4A0B-9F09-907B173A5D2D}"/>
                </a:ext>
              </a:extLst>
            </p:cNvPr>
            <p:cNvSpPr/>
            <p:nvPr/>
          </p:nvSpPr>
          <p:spPr>
            <a:xfrm>
              <a:off x="7309515" y="3424550"/>
              <a:ext cx="603887" cy="299936"/>
            </a:xfrm>
            <a:prstGeom prst="roundRect">
              <a:avLst>
                <a:gd name="adj" fmla="val 50000"/>
              </a:avLst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48000" bIns="0" rtlCol="0" anchor="ctr" anchorCtr="0"/>
            <a:lstStyle/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>
                  <a:ln>
                    <a:noFill/>
                  </a:ln>
                  <a:solidFill>
                    <a:srgbClr val="6EBE4A"/>
                  </a:solidFill>
                  <a:effectLst/>
                  <a:uLnTx/>
                  <a:uFillTx/>
                  <a:latin typeface="CiscoSansTT ExtraLight" panose="020B0303020201020303" pitchFamily="34" charset="0"/>
                  <a:ea typeface="+mn-ea"/>
                  <a:cs typeface="CiscoSansTT ExtraLight" panose="020B0303020201020303" pitchFamily="34" charset="0"/>
                </a:rPr>
                <a:t>x1</a:t>
              </a:r>
            </a:p>
          </p:txBody>
        </p:sp>
        <p:sp>
          <p:nvSpPr>
            <p:cNvPr id="227" name="Rectangle: Rounded Corners 226">
              <a:extLst>
                <a:ext uri="{FF2B5EF4-FFF2-40B4-BE49-F238E27FC236}">
                  <a16:creationId xmlns:a16="http://schemas.microsoft.com/office/drawing/2014/main" id="{4FD9BCC9-9ED2-4F73-B34F-5F9464573453}"/>
                </a:ext>
              </a:extLst>
            </p:cNvPr>
            <p:cNvSpPr/>
            <p:nvPr/>
          </p:nvSpPr>
          <p:spPr>
            <a:xfrm>
              <a:off x="8037010" y="3424550"/>
              <a:ext cx="603887" cy="299936"/>
            </a:xfrm>
            <a:prstGeom prst="roundRect">
              <a:avLst>
                <a:gd name="adj" fmla="val 50000"/>
              </a:avLst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48000" bIns="0" rtlCol="0" anchor="ctr" anchorCtr="0"/>
            <a:lstStyle/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>
                  <a:ln>
                    <a:noFill/>
                  </a:ln>
                  <a:solidFill>
                    <a:srgbClr val="6EBE4A"/>
                  </a:solidFill>
                  <a:effectLst/>
                  <a:uLnTx/>
                  <a:uFillTx/>
                  <a:latin typeface="CiscoSansTT ExtraLight" panose="020B0303020201020303" pitchFamily="34" charset="0"/>
                  <a:ea typeface="+mn-ea"/>
                  <a:cs typeface="CiscoSansTT ExtraLight" panose="020B0303020201020303" pitchFamily="34" charset="0"/>
                </a:rPr>
                <a:t>x12</a:t>
              </a:r>
            </a:p>
          </p:txBody>
        </p:sp>
        <p:sp>
          <p:nvSpPr>
            <p:cNvPr id="228" name="Rectangle: Rounded Corners 227">
              <a:extLst>
                <a:ext uri="{FF2B5EF4-FFF2-40B4-BE49-F238E27FC236}">
                  <a16:creationId xmlns:a16="http://schemas.microsoft.com/office/drawing/2014/main" id="{A49171EB-B1ED-4238-B46C-4FC7231032D4}"/>
                </a:ext>
              </a:extLst>
            </p:cNvPr>
            <p:cNvSpPr/>
            <p:nvPr/>
          </p:nvSpPr>
          <p:spPr>
            <a:xfrm>
              <a:off x="6729887" y="3055097"/>
              <a:ext cx="603887" cy="299936"/>
            </a:xfrm>
            <a:prstGeom prst="roundRect">
              <a:avLst>
                <a:gd name="adj" fmla="val 50000"/>
              </a:avLst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48000" bIns="0" rtlCol="0" anchor="ctr" anchorCtr="0"/>
            <a:lstStyle/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>
                  <a:ln>
                    <a:noFill/>
                  </a:ln>
                  <a:solidFill>
                    <a:srgbClr val="6EBE4A"/>
                  </a:solidFill>
                  <a:effectLst/>
                  <a:uLnTx/>
                  <a:uFillTx/>
                  <a:latin typeface="CiscoSansTT ExtraLight" panose="020B0303020201020303" pitchFamily="34" charset="0"/>
                  <a:ea typeface="+mn-ea"/>
                  <a:cs typeface="CiscoSansTT ExtraLight" panose="020B0303020201020303" pitchFamily="34" charset="0"/>
                </a:rPr>
                <a:t>x36</a:t>
              </a:r>
            </a:p>
          </p:txBody>
        </p:sp>
        <p:sp>
          <p:nvSpPr>
            <p:cNvPr id="229" name="Rectangle: Rounded Corners 228">
              <a:extLst>
                <a:ext uri="{FF2B5EF4-FFF2-40B4-BE49-F238E27FC236}">
                  <a16:creationId xmlns:a16="http://schemas.microsoft.com/office/drawing/2014/main" id="{DA416E19-A279-4A75-88FF-88AD17C4E00B}"/>
                </a:ext>
              </a:extLst>
            </p:cNvPr>
            <p:cNvSpPr/>
            <p:nvPr/>
          </p:nvSpPr>
          <p:spPr>
            <a:xfrm>
              <a:off x="7365438" y="3055097"/>
              <a:ext cx="603887" cy="299936"/>
            </a:xfrm>
            <a:prstGeom prst="roundRect">
              <a:avLst>
                <a:gd name="adj" fmla="val 50000"/>
              </a:avLst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48000" bIns="0" rtlCol="0" anchor="ctr" anchorCtr="0"/>
            <a:lstStyle/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>
                  <a:ln>
                    <a:noFill/>
                  </a:ln>
                  <a:solidFill>
                    <a:srgbClr val="6EBE4A"/>
                  </a:solidFill>
                  <a:effectLst/>
                  <a:uLnTx/>
                  <a:uFillTx/>
                  <a:latin typeface="CiscoSansTT ExtraLight" panose="020B0303020201020303" pitchFamily="34" charset="0"/>
                  <a:ea typeface="+mn-ea"/>
                  <a:cs typeface="CiscoSansTT ExtraLight" panose="020B0303020201020303" pitchFamily="34" charset="0"/>
                </a:rPr>
                <a:t>x12</a:t>
              </a:r>
            </a:p>
          </p:txBody>
        </p:sp>
        <p:sp>
          <p:nvSpPr>
            <p:cNvPr id="230" name="Rectangle: Rounded Corners 229">
              <a:extLst>
                <a:ext uri="{FF2B5EF4-FFF2-40B4-BE49-F238E27FC236}">
                  <a16:creationId xmlns:a16="http://schemas.microsoft.com/office/drawing/2014/main" id="{DAD421F7-4B02-4749-8F6F-677166E690E9}"/>
                </a:ext>
              </a:extLst>
            </p:cNvPr>
            <p:cNvSpPr/>
            <p:nvPr/>
          </p:nvSpPr>
          <p:spPr>
            <a:xfrm>
              <a:off x="8037010" y="3055097"/>
              <a:ext cx="603887" cy="299936"/>
            </a:xfrm>
            <a:prstGeom prst="roundRect">
              <a:avLst>
                <a:gd name="adj" fmla="val 50000"/>
              </a:avLst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48000" bIns="0" rtlCol="0" anchor="ctr" anchorCtr="0"/>
            <a:lstStyle/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>
                  <a:ln>
                    <a:noFill/>
                  </a:ln>
                  <a:solidFill>
                    <a:srgbClr val="6EBE4A"/>
                  </a:solidFill>
                  <a:effectLst/>
                  <a:uLnTx/>
                  <a:uFillTx/>
                  <a:latin typeface="CiscoSansTT ExtraLight" panose="020B0303020201020303" pitchFamily="34" charset="0"/>
                  <a:ea typeface="+mn-ea"/>
                  <a:cs typeface="CiscoSansTT ExtraLight" panose="020B0303020201020303" pitchFamily="34" charset="0"/>
                </a:rPr>
                <a:t>x12</a:t>
              </a:r>
            </a:p>
          </p:txBody>
        </p:sp>
        <p:sp>
          <p:nvSpPr>
            <p:cNvPr id="231" name="Rectangle: Rounded Corners 230">
              <a:extLst>
                <a:ext uri="{FF2B5EF4-FFF2-40B4-BE49-F238E27FC236}">
                  <a16:creationId xmlns:a16="http://schemas.microsoft.com/office/drawing/2014/main" id="{852515AD-CDD2-4012-8185-0B3F4D9751A1}"/>
                </a:ext>
              </a:extLst>
            </p:cNvPr>
            <p:cNvSpPr/>
            <p:nvPr/>
          </p:nvSpPr>
          <p:spPr>
            <a:xfrm>
              <a:off x="6728882" y="3416968"/>
              <a:ext cx="603887" cy="299936"/>
            </a:xfrm>
            <a:prstGeom prst="roundRect">
              <a:avLst>
                <a:gd name="adj" fmla="val 50000"/>
              </a:avLst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48000" bIns="0" rtlCol="0" anchor="ctr" anchorCtr="0"/>
            <a:lstStyle/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>
                  <a:ln>
                    <a:noFill/>
                  </a:ln>
                  <a:solidFill>
                    <a:srgbClr val="6EBE4A"/>
                  </a:solidFill>
                  <a:effectLst/>
                  <a:uLnTx/>
                  <a:uFillTx/>
                  <a:latin typeface="CiscoSansTT ExtraLight" panose="020B0303020201020303" pitchFamily="34" charset="0"/>
                  <a:ea typeface="+mn-ea"/>
                  <a:cs typeface="CiscoSansTT ExtraLight" panose="020B0303020201020303" pitchFamily="34" charset="0"/>
                </a:rPr>
                <a:t>x41</a:t>
              </a:r>
            </a:p>
          </p:txBody>
        </p:sp>
        <p:pic>
          <p:nvPicPr>
            <p:cNvPr id="232" name="Graphic 231">
              <a:extLst>
                <a:ext uri="{FF2B5EF4-FFF2-40B4-BE49-F238E27FC236}">
                  <a16:creationId xmlns:a16="http://schemas.microsoft.com/office/drawing/2014/main" id="{DFACCAF8-B48B-4AA6-983E-8898DA1EC35C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6674467" y="3055097"/>
              <a:ext cx="290463" cy="289608"/>
            </a:xfrm>
            <a:prstGeom prst="rect">
              <a:avLst/>
            </a:prstGeom>
          </p:spPr>
        </p:pic>
        <p:pic>
          <p:nvPicPr>
            <p:cNvPr id="233" name="Graphic 232">
              <a:extLst>
                <a:ext uri="{FF2B5EF4-FFF2-40B4-BE49-F238E27FC236}">
                  <a16:creationId xmlns:a16="http://schemas.microsoft.com/office/drawing/2014/main" id="{B37AE05B-B070-4C5C-ADE8-A00469926F10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7310443" y="3055312"/>
              <a:ext cx="289612" cy="289608"/>
            </a:xfrm>
            <a:prstGeom prst="rect">
              <a:avLst/>
            </a:prstGeom>
          </p:spPr>
        </p:pic>
        <p:pic>
          <p:nvPicPr>
            <p:cNvPr id="234" name="Graphic 233">
              <a:extLst>
                <a:ext uri="{FF2B5EF4-FFF2-40B4-BE49-F238E27FC236}">
                  <a16:creationId xmlns:a16="http://schemas.microsoft.com/office/drawing/2014/main" id="{D82D6E68-5B57-4944-ACDC-98B265EBFD9D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7981589" y="3055097"/>
              <a:ext cx="289896" cy="289608"/>
            </a:xfrm>
            <a:prstGeom prst="rect">
              <a:avLst/>
            </a:prstGeom>
          </p:spPr>
        </p:pic>
        <p:pic>
          <p:nvPicPr>
            <p:cNvPr id="235" name="Graphic 234">
              <a:extLst>
                <a:ext uri="{FF2B5EF4-FFF2-40B4-BE49-F238E27FC236}">
                  <a16:creationId xmlns:a16="http://schemas.microsoft.com/office/drawing/2014/main" id="{18F01AFB-C1FC-4802-B752-E1FDA1FDCAB8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6677129" y="3422380"/>
              <a:ext cx="289612" cy="289608"/>
            </a:xfrm>
            <a:prstGeom prst="rect">
              <a:avLst/>
            </a:prstGeom>
          </p:spPr>
        </p:pic>
        <p:pic>
          <p:nvPicPr>
            <p:cNvPr id="236" name="Graphic 235">
              <a:extLst>
                <a:ext uri="{FF2B5EF4-FFF2-40B4-BE49-F238E27FC236}">
                  <a16:creationId xmlns:a16="http://schemas.microsoft.com/office/drawing/2014/main" id="{19E0432C-8712-477B-A27C-6FA1826ED99E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>
              <a:extLs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p:blipFill>
          <p:spPr>
            <a:xfrm>
              <a:off x="7311491" y="3424550"/>
              <a:ext cx="289612" cy="289608"/>
            </a:xfrm>
            <a:prstGeom prst="rect">
              <a:avLst/>
            </a:prstGeom>
          </p:spPr>
        </p:pic>
        <p:pic>
          <p:nvPicPr>
            <p:cNvPr id="237" name="Graphic 236">
              <a:extLst>
                <a:ext uri="{FF2B5EF4-FFF2-40B4-BE49-F238E27FC236}">
                  <a16:creationId xmlns:a16="http://schemas.microsoft.com/office/drawing/2014/main" id="{82452A53-0767-4B34-9092-2BC9370A7FB7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>
              <a:extLst>
                <a:ext uri="{96DAC541-7B7A-43D3-8B79-37D633B846F1}">
                  <asvg:svgBlip xmlns:asvg="http://schemas.microsoft.com/office/drawing/2016/SVG/main" r:embed="rId14"/>
                </a:ext>
              </a:extLst>
            </a:blip>
            <a:stretch>
              <a:fillRect/>
            </a:stretch>
          </p:blipFill>
          <p:spPr>
            <a:xfrm>
              <a:off x="7981873" y="3424550"/>
              <a:ext cx="289612" cy="289608"/>
            </a:xfrm>
            <a:prstGeom prst="rect">
              <a:avLst/>
            </a:prstGeom>
          </p:spPr>
        </p:pic>
      </p:grpSp>
      <p:grpSp>
        <p:nvGrpSpPr>
          <p:cNvPr id="15" name="Group 14">
            <a:extLst>
              <a:ext uri="{FF2B5EF4-FFF2-40B4-BE49-F238E27FC236}">
                <a16:creationId xmlns:a16="http://schemas.microsoft.com/office/drawing/2014/main" id="{2F930F55-A16D-7244-BE53-26A76021AD86}"/>
              </a:ext>
            </a:extLst>
          </p:cNvPr>
          <p:cNvGrpSpPr/>
          <p:nvPr/>
        </p:nvGrpSpPr>
        <p:grpSpPr>
          <a:xfrm>
            <a:off x="9333441" y="3383332"/>
            <a:ext cx="1967803" cy="669389"/>
            <a:chOff x="9697976" y="2896618"/>
            <a:chExt cx="1967803" cy="669389"/>
          </a:xfrm>
        </p:grpSpPr>
        <p:sp>
          <p:nvSpPr>
            <p:cNvPr id="238" name="Rectangle: Rounded Corners 237">
              <a:extLst>
                <a:ext uri="{FF2B5EF4-FFF2-40B4-BE49-F238E27FC236}">
                  <a16:creationId xmlns:a16="http://schemas.microsoft.com/office/drawing/2014/main" id="{5DABD283-99D8-4DDE-83F1-FFF0D1616E7A}"/>
                </a:ext>
              </a:extLst>
            </p:cNvPr>
            <p:cNvSpPr/>
            <p:nvPr/>
          </p:nvSpPr>
          <p:spPr>
            <a:xfrm>
              <a:off x="10334398" y="3266071"/>
              <a:ext cx="603887" cy="299936"/>
            </a:xfrm>
            <a:prstGeom prst="roundRect">
              <a:avLst>
                <a:gd name="adj" fmla="val 50000"/>
              </a:avLst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48000" bIns="0" rtlCol="0" anchor="ctr" anchorCtr="0"/>
            <a:lstStyle/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>
                  <a:ln>
                    <a:noFill/>
                  </a:ln>
                  <a:solidFill>
                    <a:srgbClr val="FBAB18"/>
                  </a:solidFill>
                  <a:effectLst/>
                  <a:uLnTx/>
                  <a:uFillTx/>
                  <a:latin typeface="CiscoSansTT ExtraLight" panose="020B0303020201020303" pitchFamily="34" charset="0"/>
                  <a:ea typeface="+mn-ea"/>
                  <a:cs typeface="CiscoSansTT ExtraLight" panose="020B0303020201020303" pitchFamily="34" charset="0"/>
                </a:rPr>
                <a:t>x1</a:t>
              </a:r>
            </a:p>
          </p:txBody>
        </p:sp>
        <p:sp>
          <p:nvSpPr>
            <p:cNvPr id="239" name="Rectangle: Rounded Corners 238">
              <a:extLst>
                <a:ext uri="{FF2B5EF4-FFF2-40B4-BE49-F238E27FC236}">
                  <a16:creationId xmlns:a16="http://schemas.microsoft.com/office/drawing/2014/main" id="{8DB6D240-B91E-43C3-BD08-17DF097A0428}"/>
                </a:ext>
              </a:extLst>
            </p:cNvPr>
            <p:cNvSpPr/>
            <p:nvPr/>
          </p:nvSpPr>
          <p:spPr>
            <a:xfrm>
              <a:off x="11061892" y="3266071"/>
              <a:ext cx="603887" cy="299936"/>
            </a:xfrm>
            <a:prstGeom prst="roundRect">
              <a:avLst>
                <a:gd name="adj" fmla="val 50000"/>
              </a:avLst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48000" bIns="0" rtlCol="0" anchor="ctr" anchorCtr="0"/>
            <a:lstStyle/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>
                  <a:ln>
                    <a:noFill/>
                  </a:ln>
                  <a:solidFill>
                    <a:srgbClr val="FBAB18"/>
                  </a:solidFill>
                  <a:effectLst/>
                  <a:uLnTx/>
                  <a:uFillTx/>
                  <a:latin typeface="CiscoSansTT ExtraLight" panose="020B0303020201020303" pitchFamily="34" charset="0"/>
                  <a:ea typeface="+mn-ea"/>
                  <a:cs typeface="CiscoSansTT ExtraLight" panose="020B0303020201020303" pitchFamily="34" charset="0"/>
                </a:rPr>
                <a:t>x12</a:t>
              </a:r>
            </a:p>
          </p:txBody>
        </p:sp>
        <p:sp>
          <p:nvSpPr>
            <p:cNvPr id="240" name="Rectangle: Rounded Corners 239">
              <a:extLst>
                <a:ext uri="{FF2B5EF4-FFF2-40B4-BE49-F238E27FC236}">
                  <a16:creationId xmlns:a16="http://schemas.microsoft.com/office/drawing/2014/main" id="{D28E6113-9AE4-4502-8558-6FADED584439}"/>
                </a:ext>
              </a:extLst>
            </p:cNvPr>
            <p:cNvSpPr/>
            <p:nvPr/>
          </p:nvSpPr>
          <p:spPr>
            <a:xfrm>
              <a:off x="9753396" y="2896618"/>
              <a:ext cx="603887" cy="299936"/>
            </a:xfrm>
            <a:prstGeom prst="roundRect">
              <a:avLst>
                <a:gd name="adj" fmla="val 50000"/>
              </a:avLst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48000" bIns="0" rtlCol="0" anchor="ctr" anchorCtr="0"/>
            <a:lstStyle/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>
                  <a:ln>
                    <a:noFill/>
                  </a:ln>
                  <a:solidFill>
                    <a:srgbClr val="FBAB18"/>
                  </a:solidFill>
                  <a:effectLst/>
                  <a:uLnTx/>
                  <a:uFillTx/>
                  <a:latin typeface="CiscoSansTT ExtraLight" panose="020B0303020201020303" pitchFamily="34" charset="0"/>
                  <a:ea typeface="+mn-ea"/>
                  <a:cs typeface="CiscoSansTT ExtraLight" panose="020B0303020201020303" pitchFamily="34" charset="0"/>
                </a:rPr>
                <a:t>x36</a:t>
              </a:r>
            </a:p>
          </p:txBody>
        </p:sp>
        <p:sp>
          <p:nvSpPr>
            <p:cNvPr id="241" name="Rectangle: Rounded Corners 240">
              <a:extLst>
                <a:ext uri="{FF2B5EF4-FFF2-40B4-BE49-F238E27FC236}">
                  <a16:creationId xmlns:a16="http://schemas.microsoft.com/office/drawing/2014/main" id="{01F14961-8609-4506-8588-97CC557D008E}"/>
                </a:ext>
              </a:extLst>
            </p:cNvPr>
            <p:cNvSpPr/>
            <p:nvPr/>
          </p:nvSpPr>
          <p:spPr>
            <a:xfrm>
              <a:off x="10390320" y="2896618"/>
              <a:ext cx="603887" cy="299936"/>
            </a:xfrm>
            <a:prstGeom prst="roundRect">
              <a:avLst>
                <a:gd name="adj" fmla="val 50000"/>
              </a:avLst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48000" bIns="0" rtlCol="0" anchor="ctr" anchorCtr="0"/>
            <a:lstStyle/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>
                  <a:ln>
                    <a:noFill/>
                  </a:ln>
                  <a:solidFill>
                    <a:srgbClr val="FBAB18"/>
                  </a:solidFill>
                  <a:effectLst/>
                  <a:uLnTx/>
                  <a:uFillTx/>
                  <a:latin typeface="CiscoSansTT ExtraLight" panose="020B0303020201020303" pitchFamily="34" charset="0"/>
                  <a:ea typeface="+mn-ea"/>
                  <a:cs typeface="CiscoSansTT ExtraLight" panose="020B0303020201020303" pitchFamily="34" charset="0"/>
                </a:rPr>
                <a:t>x12</a:t>
              </a:r>
            </a:p>
          </p:txBody>
        </p:sp>
        <p:sp>
          <p:nvSpPr>
            <p:cNvPr id="242" name="Rectangle: Rounded Corners 241">
              <a:extLst>
                <a:ext uri="{FF2B5EF4-FFF2-40B4-BE49-F238E27FC236}">
                  <a16:creationId xmlns:a16="http://schemas.microsoft.com/office/drawing/2014/main" id="{98CCEAF8-04DF-435A-959F-AFAAAE7E4C1B}"/>
                </a:ext>
              </a:extLst>
            </p:cNvPr>
            <p:cNvSpPr/>
            <p:nvPr/>
          </p:nvSpPr>
          <p:spPr>
            <a:xfrm>
              <a:off x="11061892" y="2896618"/>
              <a:ext cx="603887" cy="299936"/>
            </a:xfrm>
            <a:prstGeom prst="roundRect">
              <a:avLst>
                <a:gd name="adj" fmla="val 50000"/>
              </a:avLst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48000" bIns="0" rtlCol="0" anchor="ctr" anchorCtr="0"/>
            <a:lstStyle/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>
                  <a:ln>
                    <a:noFill/>
                  </a:ln>
                  <a:solidFill>
                    <a:srgbClr val="FBAB18"/>
                  </a:solidFill>
                  <a:effectLst/>
                  <a:uLnTx/>
                  <a:uFillTx/>
                  <a:latin typeface="CiscoSansTT ExtraLight" panose="020B0303020201020303" pitchFamily="34" charset="0"/>
                  <a:ea typeface="+mn-ea"/>
                  <a:cs typeface="CiscoSansTT ExtraLight" panose="020B0303020201020303" pitchFamily="34" charset="0"/>
                </a:rPr>
                <a:t>x12</a:t>
              </a:r>
            </a:p>
          </p:txBody>
        </p:sp>
        <p:sp>
          <p:nvSpPr>
            <p:cNvPr id="243" name="Rectangle: Rounded Corners 242">
              <a:extLst>
                <a:ext uri="{FF2B5EF4-FFF2-40B4-BE49-F238E27FC236}">
                  <a16:creationId xmlns:a16="http://schemas.microsoft.com/office/drawing/2014/main" id="{3263103C-6773-4EA5-AFC3-9D99067A77F7}"/>
                </a:ext>
              </a:extLst>
            </p:cNvPr>
            <p:cNvSpPr/>
            <p:nvPr/>
          </p:nvSpPr>
          <p:spPr>
            <a:xfrm>
              <a:off x="9752391" y="3258488"/>
              <a:ext cx="603887" cy="299936"/>
            </a:xfrm>
            <a:prstGeom prst="roundRect">
              <a:avLst>
                <a:gd name="adj" fmla="val 50000"/>
              </a:avLst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48000" bIns="0" rtlCol="0" anchor="ctr" anchorCtr="0"/>
            <a:lstStyle/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>
                  <a:ln>
                    <a:noFill/>
                  </a:ln>
                  <a:solidFill>
                    <a:srgbClr val="FBAB18"/>
                  </a:solidFill>
                  <a:effectLst/>
                  <a:uLnTx/>
                  <a:uFillTx/>
                  <a:latin typeface="CiscoSansTT ExtraLight" panose="020B0303020201020303" pitchFamily="34" charset="0"/>
                  <a:ea typeface="+mn-ea"/>
                  <a:cs typeface="CiscoSansTT ExtraLight" panose="020B0303020201020303" pitchFamily="34" charset="0"/>
                </a:rPr>
                <a:t>x49</a:t>
              </a:r>
            </a:p>
          </p:txBody>
        </p:sp>
        <p:pic>
          <p:nvPicPr>
            <p:cNvPr id="244" name="Graphic 243">
              <a:extLst>
                <a:ext uri="{FF2B5EF4-FFF2-40B4-BE49-F238E27FC236}">
                  <a16:creationId xmlns:a16="http://schemas.microsoft.com/office/drawing/2014/main" id="{BDF3D4D8-9615-4C5F-8439-21409CC379F1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9697976" y="2896618"/>
              <a:ext cx="290463" cy="289608"/>
            </a:xfrm>
            <a:prstGeom prst="rect">
              <a:avLst/>
            </a:prstGeom>
          </p:spPr>
        </p:pic>
        <p:pic>
          <p:nvPicPr>
            <p:cNvPr id="245" name="Graphic 244">
              <a:extLst>
                <a:ext uri="{FF2B5EF4-FFF2-40B4-BE49-F238E27FC236}">
                  <a16:creationId xmlns:a16="http://schemas.microsoft.com/office/drawing/2014/main" id="{4E5FCB12-6E52-4137-9FBE-8DFD5223393D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10335326" y="2896832"/>
              <a:ext cx="289612" cy="289608"/>
            </a:xfrm>
            <a:prstGeom prst="rect">
              <a:avLst/>
            </a:prstGeom>
          </p:spPr>
        </p:pic>
        <p:pic>
          <p:nvPicPr>
            <p:cNvPr id="246" name="Graphic 245">
              <a:extLst>
                <a:ext uri="{FF2B5EF4-FFF2-40B4-BE49-F238E27FC236}">
                  <a16:creationId xmlns:a16="http://schemas.microsoft.com/office/drawing/2014/main" id="{D17384AA-7399-44C4-9B96-23EF4F61C31A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11006472" y="2896618"/>
              <a:ext cx="289896" cy="289608"/>
            </a:xfrm>
            <a:prstGeom prst="rect">
              <a:avLst/>
            </a:prstGeom>
          </p:spPr>
        </p:pic>
        <p:pic>
          <p:nvPicPr>
            <p:cNvPr id="247" name="Graphic 246">
              <a:extLst>
                <a:ext uri="{FF2B5EF4-FFF2-40B4-BE49-F238E27FC236}">
                  <a16:creationId xmlns:a16="http://schemas.microsoft.com/office/drawing/2014/main" id="{A00C18B7-7F67-4FB2-92B7-22DCD9BAA292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9700638" y="3263900"/>
              <a:ext cx="289612" cy="289608"/>
            </a:xfrm>
            <a:prstGeom prst="rect">
              <a:avLst/>
            </a:prstGeom>
          </p:spPr>
        </p:pic>
        <p:pic>
          <p:nvPicPr>
            <p:cNvPr id="248" name="Graphic 247">
              <a:extLst>
                <a:ext uri="{FF2B5EF4-FFF2-40B4-BE49-F238E27FC236}">
                  <a16:creationId xmlns:a16="http://schemas.microsoft.com/office/drawing/2014/main" id="{C89F3CA0-AC23-45AC-958F-4DB54CF724F4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>
              <a:extLs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p:blipFill>
          <p:spPr>
            <a:xfrm>
              <a:off x="10336374" y="3266071"/>
              <a:ext cx="289612" cy="289608"/>
            </a:xfrm>
            <a:prstGeom prst="rect">
              <a:avLst/>
            </a:prstGeom>
          </p:spPr>
        </p:pic>
        <p:pic>
          <p:nvPicPr>
            <p:cNvPr id="249" name="Graphic 248">
              <a:extLst>
                <a:ext uri="{FF2B5EF4-FFF2-40B4-BE49-F238E27FC236}">
                  <a16:creationId xmlns:a16="http://schemas.microsoft.com/office/drawing/2014/main" id="{99CB932D-6D7D-4A15-8B8B-BACC1C0CAD37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>
              <a:extLst>
                <a:ext uri="{96DAC541-7B7A-43D3-8B79-37D633B846F1}">
                  <asvg:svgBlip xmlns:asvg="http://schemas.microsoft.com/office/drawing/2016/SVG/main" r:embed="rId14"/>
                </a:ext>
              </a:extLst>
            </a:blip>
            <a:stretch>
              <a:fillRect/>
            </a:stretch>
          </p:blipFill>
          <p:spPr>
            <a:xfrm>
              <a:off x="11006755" y="3266071"/>
              <a:ext cx="289612" cy="289608"/>
            </a:xfrm>
            <a:prstGeom prst="rect">
              <a:avLst/>
            </a:prstGeom>
          </p:spPr>
        </p:pic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36B1E09F-FEE5-4534-8262-D5385841C68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000">
                <a:solidFill>
                  <a:schemeClr val="accent5"/>
                </a:solidFill>
              </a:rPr>
              <a:t>Premier use case</a:t>
            </a:r>
            <a:br>
              <a:rPr lang="en-US"/>
            </a:br>
            <a:r>
              <a:rPr lang="en-US"/>
              <a:t>Business Critical Services</a:t>
            </a:r>
            <a:br>
              <a:rPr lang="en-US"/>
            </a:br>
            <a:r>
              <a:rPr lang="en-GB" sz="2400">
                <a:solidFill>
                  <a:srgbClr val="FFC000"/>
                </a:solidFill>
              </a:rPr>
              <a:t>Transform to Cisco DNA, SD-WAN, SD-A</a:t>
            </a:r>
            <a:br>
              <a:rPr lang="en-GB" sz="2400">
                <a:solidFill>
                  <a:schemeClr val="accent2"/>
                </a:solidFill>
              </a:rPr>
            </a:br>
            <a:br>
              <a:rPr lang="en-US" sz="2400">
                <a:solidFill>
                  <a:schemeClr val="accent2"/>
                </a:solidFill>
              </a:rPr>
            </a:br>
            <a:endParaRPr lang="en-US" sz="2400">
              <a:solidFill>
                <a:schemeClr val="accent2"/>
              </a:solidFill>
            </a:endParaRPr>
          </a:p>
        </p:txBody>
      </p:sp>
      <p:sp>
        <p:nvSpPr>
          <p:cNvPr id="111" name="Triangle 79">
            <a:extLst>
              <a:ext uri="{FF2B5EF4-FFF2-40B4-BE49-F238E27FC236}">
                <a16:creationId xmlns:a16="http://schemas.microsoft.com/office/drawing/2014/main" id="{99275724-1D3C-475D-BEA4-C5DF07B6CCFB}"/>
              </a:ext>
            </a:extLst>
          </p:cNvPr>
          <p:cNvSpPr/>
          <p:nvPr/>
        </p:nvSpPr>
        <p:spPr>
          <a:xfrm rot="10800000">
            <a:off x="1740414" y="4347949"/>
            <a:ext cx="322656" cy="163514"/>
          </a:xfrm>
          <a:prstGeom prst="triangl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endParaRPr kumimoji="0" lang="en-US" sz="1467" b="0" i="0" u="none" strike="noStrike" kern="1200" cap="none" spc="0" normalizeH="0" baseline="0" noProof="0">
              <a:ln>
                <a:noFill/>
              </a:ln>
              <a:solidFill>
                <a:srgbClr val="005073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13" name="TextBox 112">
            <a:extLst>
              <a:ext uri="{FF2B5EF4-FFF2-40B4-BE49-F238E27FC236}">
                <a16:creationId xmlns:a16="http://schemas.microsoft.com/office/drawing/2014/main" id="{6BB24F6A-F563-490B-9EC3-F609FC14AF1C}"/>
              </a:ext>
            </a:extLst>
          </p:cNvPr>
          <p:cNvSpPr txBox="1"/>
          <p:nvPr/>
        </p:nvSpPr>
        <p:spPr>
          <a:xfrm>
            <a:off x="821742" y="4577033"/>
            <a:ext cx="2160000" cy="155781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Pts val="1400"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14284A"/>
                </a:solidFill>
                <a:effectLst/>
                <a:uLnTx/>
                <a:uFillTx/>
                <a:latin typeface="CiscoSansTT ExtraLight" panose="020B0303020201020303" pitchFamily="34" charset="0"/>
                <a:ea typeface="Helvetica Neue Light"/>
                <a:cs typeface="CiscoSansTT ExtraLight" panose="020B0303020201020303" pitchFamily="34" charset="0"/>
                <a:sym typeface="Helvetica Neue Light"/>
              </a:rPr>
              <a:t>Identified stakeholder priorities and readiness to transform </a:t>
            </a:r>
          </a:p>
          <a:p>
            <a:pPr marL="179388" marR="0" lvl="0" indent="-179388" algn="l" defTabSz="609570" rtl="0" eaLnBrk="1" fontAlgn="base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rgbClr val="00BCEB"/>
              </a:buClr>
              <a:buSzPts val="1400"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14284A"/>
                </a:solidFill>
                <a:effectLst/>
                <a:uLnTx/>
                <a:uFillTx/>
                <a:latin typeface="CiscoSansTT ExtraLight" panose="020B0303020201020303" pitchFamily="34" charset="0"/>
                <a:ea typeface="ＭＳ Ｐゴシック" charset="0"/>
                <a:cs typeface="CiscoSansTT ExtraLight" panose="020B0303020201020303" pitchFamily="34" charset="0"/>
                <a:sym typeface="Helvetica Neue Light"/>
              </a:rPr>
              <a:t>Documented 16 use cases and resiliency requirements across the business </a:t>
            </a:r>
          </a:p>
          <a:p>
            <a:pPr marL="228589" marR="0" lvl="0" indent="-228589" algn="l" defTabSz="609570" rtl="0" eaLnBrk="1" fontAlgn="base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rgbClr val="00BCEB"/>
              </a:buClr>
              <a:buSzPts val="1400"/>
              <a:buFont typeface="Arial" panose="020B0604020202020204" pitchFamily="34" charset="0"/>
              <a:buChar char="•"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14284A"/>
              </a:solidFill>
              <a:effectLst/>
              <a:uLnTx/>
              <a:uFillTx/>
              <a:latin typeface="CiscoSansTT ExtraLight" panose="020B0303020201020303" pitchFamily="34" charset="0"/>
              <a:ea typeface="ＭＳ Ｐゴシック" charset="0"/>
              <a:cs typeface="CiscoSansTT ExtraLight" panose="020B0303020201020303" pitchFamily="34" charset="0"/>
              <a:sym typeface="Helvetica Neue Light"/>
            </a:endParaRPr>
          </a:p>
        </p:txBody>
      </p:sp>
      <p:sp>
        <p:nvSpPr>
          <p:cNvPr id="114" name="Rectangle 113">
            <a:extLst>
              <a:ext uri="{FF2B5EF4-FFF2-40B4-BE49-F238E27FC236}">
                <a16:creationId xmlns:a16="http://schemas.microsoft.com/office/drawing/2014/main" id="{0DAA5E65-2D78-489B-B21F-F8946AEDB530}"/>
              </a:ext>
            </a:extLst>
          </p:cNvPr>
          <p:cNvSpPr/>
          <p:nvPr/>
        </p:nvSpPr>
        <p:spPr>
          <a:xfrm>
            <a:off x="1333317" y="2426279"/>
            <a:ext cx="1136850" cy="37965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0" cap="none" spc="0" normalizeH="0" baseline="0" noProof="0">
                <a:ln>
                  <a:noFill/>
                </a:ln>
                <a:solidFill>
                  <a:srgbClr val="00BCEB"/>
                </a:solidFill>
                <a:effectLst/>
                <a:uLnTx/>
                <a:uFillTx/>
                <a:latin typeface="CiscoSansTT ExtraLight" panose="020B0303020201020303" pitchFamily="34" charset="0"/>
                <a:ea typeface="ＭＳ Ｐゴシック" charset="0"/>
                <a:cs typeface="CiscoSansTT ExtraLight" panose="020B0303020201020303" pitchFamily="34" charset="0"/>
              </a:rPr>
              <a:t>Phase 1 </a:t>
            </a:r>
          </a:p>
        </p:txBody>
      </p:sp>
      <p:sp>
        <p:nvSpPr>
          <p:cNvPr id="115" name="TextBox 114">
            <a:extLst>
              <a:ext uri="{FF2B5EF4-FFF2-40B4-BE49-F238E27FC236}">
                <a16:creationId xmlns:a16="http://schemas.microsoft.com/office/drawing/2014/main" id="{3580029F-1014-48DC-B158-E824C548767C}"/>
              </a:ext>
            </a:extLst>
          </p:cNvPr>
          <p:cNvSpPr txBox="1"/>
          <p:nvPr/>
        </p:nvSpPr>
        <p:spPr>
          <a:xfrm>
            <a:off x="3617538" y="4591101"/>
            <a:ext cx="2160000" cy="155781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Pts val="1400"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14284A"/>
                </a:solidFill>
                <a:effectLst/>
                <a:uLnTx/>
                <a:uFillTx/>
                <a:latin typeface="CiscoSansTT ExtraLight" panose="020B0303020201020303" pitchFamily="34" charset="0"/>
                <a:ea typeface="Helvetica Neue Light"/>
                <a:cs typeface="CiscoSansTT ExtraLight" panose="020B0303020201020303" pitchFamily="34" charset="0"/>
                <a:sym typeface="Helvetica Neue Light"/>
              </a:rPr>
              <a:t>Audit passed for baseline readiness to begin transformation, defined </a:t>
            </a:r>
            <a:b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14284A"/>
                </a:solidFill>
                <a:effectLst/>
                <a:uLnTx/>
                <a:uFillTx/>
                <a:latin typeface="CiscoSansTT ExtraLight" panose="020B0303020201020303" pitchFamily="34" charset="0"/>
                <a:ea typeface="Helvetica Neue Light"/>
                <a:cs typeface="CiscoSansTT ExtraLight" panose="020B0303020201020303" pitchFamily="34" charset="0"/>
                <a:sym typeface="Helvetica Neue Light"/>
              </a:rPr>
            </a:b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14284A"/>
                </a:solidFill>
                <a:effectLst/>
                <a:uLnTx/>
                <a:uFillTx/>
                <a:latin typeface="CiscoSansTT ExtraLight" panose="020B0303020201020303" pitchFamily="34" charset="0"/>
                <a:ea typeface="Helvetica Neue Light"/>
                <a:cs typeface="CiscoSansTT ExtraLight" panose="020B0303020201020303" pitchFamily="34" charset="0"/>
                <a:sym typeface="Helvetica Neue Light"/>
              </a:rPr>
              <a:t>1st round features set</a:t>
            </a:r>
          </a:p>
          <a:p>
            <a:pPr marL="179388" marR="0" lvl="0" indent="-179388" algn="l" defTabSz="609570" rtl="0" eaLnBrk="1" fontAlgn="base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rgbClr val="005073"/>
              </a:buClr>
              <a:buSzPts val="1400"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14284A"/>
                </a:solidFill>
                <a:effectLst/>
                <a:uLnTx/>
                <a:uFillTx/>
                <a:latin typeface="CiscoSansTT ExtraLight" panose="020B0303020201020303" pitchFamily="34" charset="0"/>
                <a:ea typeface="ＭＳ Ｐゴシック" charset="0"/>
                <a:cs typeface="CiscoSansTT ExtraLight" panose="020B0303020201020303" pitchFamily="34" charset="0"/>
                <a:sym typeface="Helvetica Neue Light"/>
              </a:rPr>
              <a:t>100% sign-off </a:t>
            </a:r>
            <a:b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14284A"/>
                </a:solidFill>
                <a:effectLst/>
                <a:uLnTx/>
                <a:uFillTx/>
                <a:latin typeface="CiscoSansTT ExtraLight" panose="020B0303020201020303" pitchFamily="34" charset="0"/>
                <a:ea typeface="ＭＳ Ｐゴシック" charset="0"/>
                <a:cs typeface="CiscoSansTT ExtraLight" panose="020B0303020201020303" pitchFamily="34" charset="0"/>
                <a:sym typeface="Helvetica Neue Light"/>
              </a:rPr>
            </a:b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14284A"/>
                </a:solidFill>
                <a:effectLst/>
                <a:uLnTx/>
                <a:uFillTx/>
                <a:latin typeface="CiscoSansTT ExtraLight" panose="020B0303020201020303" pitchFamily="34" charset="0"/>
                <a:ea typeface="ＭＳ Ｐゴシック" charset="0"/>
                <a:cs typeface="CiscoSansTT ExtraLight" panose="020B0303020201020303" pitchFamily="34" charset="0"/>
                <a:sym typeface="Helvetica Neue Light"/>
              </a:rPr>
              <a:t>on transition plan 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14284A"/>
              </a:solidFill>
              <a:effectLst/>
              <a:uLnTx/>
              <a:uFillTx/>
              <a:latin typeface="CiscoSansTT ExtraLight" panose="020B0303020201020303" pitchFamily="34" charset="0"/>
              <a:ea typeface="ＭＳ Ｐゴシック" charset="0"/>
              <a:cs typeface="CiscoSansTT ExtraLight" panose="020B0303020201020303" pitchFamily="34" charset="0"/>
              <a:sym typeface="Helvetica Neue Light"/>
            </a:endParaRPr>
          </a:p>
        </p:txBody>
      </p:sp>
      <p:sp>
        <p:nvSpPr>
          <p:cNvPr id="116" name="Rectangle 115">
            <a:extLst>
              <a:ext uri="{FF2B5EF4-FFF2-40B4-BE49-F238E27FC236}">
                <a16:creationId xmlns:a16="http://schemas.microsoft.com/office/drawing/2014/main" id="{FE8AFB1E-E886-4846-B32E-5DFA07E0D2F8}"/>
              </a:ext>
            </a:extLst>
          </p:cNvPr>
          <p:cNvSpPr/>
          <p:nvPr/>
        </p:nvSpPr>
        <p:spPr>
          <a:xfrm>
            <a:off x="4129113" y="2426279"/>
            <a:ext cx="1136850" cy="37965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0" cap="none" spc="0" normalizeH="0" baseline="0" noProof="0">
                <a:ln>
                  <a:noFill/>
                </a:ln>
                <a:solidFill>
                  <a:srgbClr val="14284A"/>
                </a:solidFill>
                <a:effectLst/>
                <a:uLnTx/>
                <a:uFillTx/>
                <a:latin typeface="CiscoSansTT ExtraLight" panose="020B0303020201020303" pitchFamily="34" charset="0"/>
                <a:ea typeface="ＭＳ Ｐゴシック" charset="0"/>
                <a:cs typeface="CiscoSansTT ExtraLight" panose="020B0303020201020303" pitchFamily="34" charset="0"/>
              </a:rPr>
              <a:t>Phase 2 </a:t>
            </a:r>
          </a:p>
        </p:txBody>
      </p:sp>
      <p:sp>
        <p:nvSpPr>
          <p:cNvPr id="117" name="Triangle 86">
            <a:extLst>
              <a:ext uri="{FF2B5EF4-FFF2-40B4-BE49-F238E27FC236}">
                <a16:creationId xmlns:a16="http://schemas.microsoft.com/office/drawing/2014/main" id="{3AE8DFA9-E427-4B11-9D70-58EE8299D86D}"/>
              </a:ext>
            </a:extLst>
          </p:cNvPr>
          <p:cNvSpPr/>
          <p:nvPr/>
        </p:nvSpPr>
        <p:spPr>
          <a:xfrm rot="10800000">
            <a:off x="4536211" y="4347949"/>
            <a:ext cx="322656" cy="163514"/>
          </a:xfrm>
          <a:prstGeom prst="triangl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endParaRPr kumimoji="0" lang="en-US" sz="1467" b="0" i="0" u="none" strike="noStrike" kern="1200" cap="none" spc="0" normalizeH="0" baseline="0" noProof="0">
              <a:ln>
                <a:noFill/>
              </a:ln>
              <a:solidFill>
                <a:srgbClr val="005073"/>
              </a:solidFill>
              <a:effectLst/>
              <a:uLnTx/>
              <a:uFillTx/>
              <a:latin typeface="CiscoSansTT ExtraLight" panose="020B0303020201020303" pitchFamily="34" charset="0"/>
              <a:ea typeface="+mn-ea"/>
              <a:cs typeface="CiscoSansTT ExtraLight" panose="020B0303020201020303" pitchFamily="34" charset="0"/>
            </a:endParaRPr>
          </a:p>
        </p:txBody>
      </p:sp>
      <p:sp>
        <p:nvSpPr>
          <p:cNvPr id="118" name="TextBox 117">
            <a:extLst>
              <a:ext uri="{FF2B5EF4-FFF2-40B4-BE49-F238E27FC236}">
                <a16:creationId xmlns:a16="http://schemas.microsoft.com/office/drawing/2014/main" id="{C24B6726-3A13-49FA-871A-ED692E157B26}"/>
              </a:ext>
            </a:extLst>
          </p:cNvPr>
          <p:cNvSpPr txBox="1"/>
          <p:nvPr/>
        </p:nvSpPr>
        <p:spPr>
          <a:xfrm>
            <a:off x="6413334" y="4591101"/>
            <a:ext cx="2160000" cy="155781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Pts val="1400"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14284A"/>
                </a:solidFill>
                <a:effectLst/>
                <a:uLnTx/>
                <a:uFillTx/>
                <a:latin typeface="CiscoSansTT ExtraLight" panose="020B0303020201020303" pitchFamily="34" charset="0"/>
                <a:ea typeface="Helvetica Neue Light"/>
                <a:cs typeface="CiscoSansTT ExtraLight" panose="020B0303020201020303" pitchFamily="34" charset="0"/>
                <a:sym typeface="Helvetica Neue Light"/>
              </a:rPr>
              <a:t>Kicked-off deployment and on-boarding </a:t>
            </a:r>
          </a:p>
          <a:p>
            <a:pPr marL="179388" marR="0" lvl="0" indent="-179388" algn="l" defTabSz="609570" rtl="0" eaLnBrk="1" fontAlgn="base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rgbClr val="6EBE4A"/>
              </a:buClr>
              <a:buSzPts val="1400"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14284A"/>
                </a:solidFill>
                <a:effectLst/>
                <a:uLnTx/>
                <a:uFillTx/>
                <a:latin typeface="CiscoSansTT ExtraLight" panose="020B0303020201020303" pitchFamily="34" charset="0"/>
                <a:ea typeface="ＭＳ Ｐゴシック" charset="0"/>
                <a:cs typeface="CiscoSansTT ExtraLight" panose="020B0303020201020303" pitchFamily="34" charset="0"/>
                <a:sym typeface="Helvetica Neue Light"/>
              </a:rPr>
              <a:t>Training 100% complete</a:t>
            </a:r>
          </a:p>
          <a:p>
            <a:pPr marL="179388" marR="0" lvl="0" indent="-179388" algn="l" defTabSz="609570" rtl="0" eaLnBrk="1" fontAlgn="base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rgbClr val="6EBE4A"/>
              </a:buClr>
              <a:buSzPts val="1400"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14284A"/>
                </a:solidFill>
                <a:effectLst/>
                <a:uLnTx/>
                <a:uFillTx/>
                <a:latin typeface="CiscoSansTT ExtraLight" panose="020B0303020201020303" pitchFamily="34" charset="0"/>
                <a:ea typeface="ＭＳ Ｐゴシック" charset="0"/>
                <a:cs typeface="CiscoSansTT ExtraLight" panose="020B0303020201020303" pitchFamily="34" charset="0"/>
                <a:sym typeface="Helvetica Neue Light"/>
              </a:rPr>
              <a:t>Resolved 85% of trouble tickets</a:t>
            </a:r>
          </a:p>
          <a:p>
            <a:pPr marL="179388" marR="0" lvl="0" indent="-179388" algn="l" defTabSz="609570" rtl="0" eaLnBrk="1" fontAlgn="base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rgbClr val="6EBE4A"/>
              </a:buClr>
              <a:buSzPts val="1400"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14284A"/>
                </a:solidFill>
                <a:effectLst/>
                <a:uLnTx/>
                <a:uFillTx/>
                <a:latin typeface="CiscoSansTT ExtraLight" panose="020B0303020201020303" pitchFamily="34" charset="0"/>
                <a:ea typeface="ＭＳ Ｐゴシック" charset="0"/>
                <a:cs typeface="CiscoSansTT ExtraLight" panose="020B0303020201020303" pitchFamily="34" charset="0"/>
                <a:sym typeface="Helvetica Neue Light"/>
              </a:rPr>
              <a:t>Approval to begin Cisco DNA testing</a:t>
            </a:r>
          </a:p>
        </p:txBody>
      </p:sp>
      <p:sp>
        <p:nvSpPr>
          <p:cNvPr id="119" name="Rectangle 118">
            <a:extLst>
              <a:ext uri="{FF2B5EF4-FFF2-40B4-BE49-F238E27FC236}">
                <a16:creationId xmlns:a16="http://schemas.microsoft.com/office/drawing/2014/main" id="{1E3AA998-70F5-4847-9AFD-4D6E7F713AC4}"/>
              </a:ext>
            </a:extLst>
          </p:cNvPr>
          <p:cNvSpPr/>
          <p:nvPr/>
        </p:nvSpPr>
        <p:spPr>
          <a:xfrm>
            <a:off x="6924909" y="2440347"/>
            <a:ext cx="1136850" cy="37965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0" cap="none" spc="0" normalizeH="0" baseline="0" noProof="0">
                <a:ln>
                  <a:noFill/>
                </a:ln>
                <a:solidFill>
                  <a:srgbClr val="6EBE4A"/>
                </a:solidFill>
                <a:effectLst/>
                <a:uLnTx/>
                <a:uFillTx/>
                <a:latin typeface="CiscoSansTT ExtraLight" panose="020B0303020201020303" pitchFamily="34" charset="0"/>
                <a:ea typeface="ＭＳ Ｐゴシック" charset="0"/>
                <a:cs typeface="CiscoSansTT ExtraLight" panose="020B0303020201020303" pitchFamily="34" charset="0"/>
              </a:rPr>
              <a:t>Phase 3 </a:t>
            </a:r>
          </a:p>
        </p:txBody>
      </p:sp>
      <p:sp>
        <p:nvSpPr>
          <p:cNvPr id="120" name="Triangle 91">
            <a:extLst>
              <a:ext uri="{FF2B5EF4-FFF2-40B4-BE49-F238E27FC236}">
                <a16:creationId xmlns:a16="http://schemas.microsoft.com/office/drawing/2014/main" id="{E3DC36D6-419C-43C7-9101-77F293D3EE78}"/>
              </a:ext>
            </a:extLst>
          </p:cNvPr>
          <p:cNvSpPr/>
          <p:nvPr/>
        </p:nvSpPr>
        <p:spPr>
          <a:xfrm rot="10800000">
            <a:off x="7332007" y="4347949"/>
            <a:ext cx="322656" cy="163514"/>
          </a:xfrm>
          <a:prstGeom prst="triangl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endParaRPr kumimoji="0" lang="en-US" sz="1467" b="0" i="0" u="none" strike="noStrike" kern="1200" cap="none" spc="0" normalizeH="0" baseline="0" noProof="0">
              <a:ln>
                <a:noFill/>
              </a:ln>
              <a:solidFill>
                <a:srgbClr val="005073"/>
              </a:solidFill>
              <a:effectLst/>
              <a:uLnTx/>
              <a:uFillTx/>
              <a:latin typeface="CiscoSansTT ExtraLight" panose="020B0303020201020303" pitchFamily="34" charset="0"/>
              <a:ea typeface="+mn-ea"/>
              <a:cs typeface="CiscoSansTT ExtraLight" panose="020B0303020201020303" pitchFamily="34" charset="0"/>
            </a:endParaRPr>
          </a:p>
        </p:txBody>
      </p:sp>
      <p:sp>
        <p:nvSpPr>
          <p:cNvPr id="121" name="Rectangle: Rounded Corners 58">
            <a:extLst>
              <a:ext uri="{FF2B5EF4-FFF2-40B4-BE49-F238E27FC236}">
                <a16:creationId xmlns:a16="http://schemas.microsoft.com/office/drawing/2014/main" id="{0CC04F20-B45F-4998-B2F9-6866E46865EE}"/>
              </a:ext>
            </a:extLst>
          </p:cNvPr>
          <p:cNvSpPr/>
          <p:nvPr/>
        </p:nvSpPr>
        <p:spPr>
          <a:xfrm>
            <a:off x="543702" y="2789077"/>
            <a:ext cx="2716080" cy="394452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iscoSansTT ExtraLight"/>
                <a:ea typeface="+mn-ea"/>
                <a:cs typeface="+mn-cs"/>
              </a:rPr>
              <a:t>Needs assessment</a:t>
            </a:r>
          </a:p>
        </p:txBody>
      </p:sp>
      <p:sp>
        <p:nvSpPr>
          <p:cNvPr id="122" name="Rectangle: Rounded Corners 77">
            <a:extLst>
              <a:ext uri="{FF2B5EF4-FFF2-40B4-BE49-F238E27FC236}">
                <a16:creationId xmlns:a16="http://schemas.microsoft.com/office/drawing/2014/main" id="{ABD3B904-F23C-4954-871B-EA4947D5C905}"/>
              </a:ext>
            </a:extLst>
          </p:cNvPr>
          <p:cNvSpPr/>
          <p:nvPr/>
        </p:nvSpPr>
        <p:spPr>
          <a:xfrm>
            <a:off x="3339498" y="2789077"/>
            <a:ext cx="2716080" cy="394452"/>
          </a:xfrm>
          <a:prstGeom prst="roundRect">
            <a:avLst>
              <a:gd name="adj" fmla="val 50000"/>
            </a:avLst>
          </a:prstGeom>
          <a:solidFill>
            <a:schemeClr val="bg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iscoSansTT ExtraLight" panose="020B0303020201020303" pitchFamily="34" charset="0"/>
                <a:ea typeface="+mn-ea"/>
                <a:cs typeface="CiscoSansTT ExtraLight" panose="020B0303020201020303" pitchFamily="34" charset="0"/>
              </a:rPr>
              <a:t>Initial architectural design </a:t>
            </a:r>
          </a:p>
        </p:txBody>
      </p:sp>
      <p:sp>
        <p:nvSpPr>
          <p:cNvPr id="123" name="Rectangle: Rounded Corners 92">
            <a:extLst>
              <a:ext uri="{FF2B5EF4-FFF2-40B4-BE49-F238E27FC236}">
                <a16:creationId xmlns:a16="http://schemas.microsoft.com/office/drawing/2014/main" id="{C897005D-E95B-4959-91DF-07F4C5F9FC72}"/>
              </a:ext>
            </a:extLst>
          </p:cNvPr>
          <p:cNvSpPr/>
          <p:nvPr/>
        </p:nvSpPr>
        <p:spPr>
          <a:xfrm>
            <a:off x="6135294" y="2789077"/>
            <a:ext cx="2716080" cy="394452"/>
          </a:xfrm>
          <a:prstGeom prst="roundRect">
            <a:avLst>
              <a:gd name="adj" fmla="val 50000"/>
            </a:avLst>
          </a:prstGeom>
          <a:solidFill>
            <a:schemeClr val="accent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iscoSansTT ExtraLight" panose="020B0303020201020303" pitchFamily="34" charset="0"/>
                <a:ea typeface="+mn-ea"/>
                <a:cs typeface="CiscoSansTT ExtraLight" panose="020B0303020201020303" pitchFamily="34" charset="0"/>
              </a:rPr>
              <a:t>Trial Implementation</a:t>
            </a:r>
          </a:p>
        </p:txBody>
      </p:sp>
      <p:sp>
        <p:nvSpPr>
          <p:cNvPr id="126" name="Rectangle: Rounded Corners 107">
            <a:extLst>
              <a:ext uri="{FF2B5EF4-FFF2-40B4-BE49-F238E27FC236}">
                <a16:creationId xmlns:a16="http://schemas.microsoft.com/office/drawing/2014/main" id="{755BC9DA-4264-4476-B619-1AE473BC788E}"/>
              </a:ext>
            </a:extLst>
          </p:cNvPr>
          <p:cNvSpPr/>
          <p:nvPr/>
        </p:nvSpPr>
        <p:spPr>
          <a:xfrm>
            <a:off x="8931090" y="2789077"/>
            <a:ext cx="2716080" cy="394452"/>
          </a:xfrm>
          <a:prstGeom prst="roundRect">
            <a:avLst>
              <a:gd name="adj" fmla="val 50000"/>
            </a:avLst>
          </a:prstGeom>
          <a:solidFill>
            <a:schemeClr val="accent5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iscoSansTT ExtraLight"/>
                <a:ea typeface="+mn-ea"/>
                <a:cs typeface="+mn-cs"/>
              </a:rPr>
              <a:t>Testing</a:t>
            </a:r>
          </a:p>
        </p:txBody>
      </p:sp>
      <p:sp>
        <p:nvSpPr>
          <p:cNvPr id="127" name="TextBox 126">
            <a:extLst>
              <a:ext uri="{FF2B5EF4-FFF2-40B4-BE49-F238E27FC236}">
                <a16:creationId xmlns:a16="http://schemas.microsoft.com/office/drawing/2014/main" id="{98C3BA05-C641-48FD-9B3E-8DE1CE6045AE}"/>
              </a:ext>
            </a:extLst>
          </p:cNvPr>
          <p:cNvSpPr txBox="1"/>
          <p:nvPr/>
        </p:nvSpPr>
        <p:spPr>
          <a:xfrm>
            <a:off x="9209130" y="4591101"/>
            <a:ext cx="2160000" cy="155781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Pts val="1400"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14284A"/>
                </a:solidFill>
                <a:effectLst/>
                <a:uLnTx/>
                <a:uFillTx/>
                <a:latin typeface="CiscoSansTT ExtraLight" panose="020B0303020201020303" pitchFamily="34" charset="0"/>
                <a:ea typeface="Helvetica Neue Light"/>
                <a:cs typeface="CiscoSansTT ExtraLight" panose="020B0303020201020303" pitchFamily="34" charset="0"/>
                <a:sym typeface="Helvetica Neue Light"/>
              </a:rPr>
              <a:t>Cisco DNA use case testing complete, feature implementation complete</a:t>
            </a:r>
          </a:p>
          <a:p>
            <a:pPr marL="179388" marR="0" lvl="0" indent="-179388" algn="l" defTabSz="609570" rtl="0" eaLnBrk="1" fontAlgn="base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rgbClr val="FBAB18"/>
              </a:buClr>
              <a:buSzPts val="1400"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14284A"/>
                </a:solidFill>
                <a:effectLst/>
                <a:uLnTx/>
                <a:uFillTx/>
                <a:latin typeface="CiscoSansTT ExtraLight" panose="020B0303020201020303" pitchFamily="34" charset="0"/>
                <a:ea typeface="ＭＳ Ｐゴシック" charset="0"/>
                <a:cs typeface="CiscoSansTT ExtraLight" panose="020B0303020201020303" pitchFamily="34" charset="0"/>
                <a:sym typeface="Helvetica Neue Light"/>
              </a:rPr>
              <a:t>100% readiness for DNAC and SD-A implementation</a:t>
            </a:r>
          </a:p>
        </p:txBody>
      </p:sp>
      <p:sp>
        <p:nvSpPr>
          <p:cNvPr id="128" name="Rectangle 127">
            <a:extLst>
              <a:ext uri="{FF2B5EF4-FFF2-40B4-BE49-F238E27FC236}">
                <a16:creationId xmlns:a16="http://schemas.microsoft.com/office/drawing/2014/main" id="{FF84A172-171F-4E58-8C2D-31DCDB8E2849}"/>
              </a:ext>
            </a:extLst>
          </p:cNvPr>
          <p:cNvSpPr/>
          <p:nvPr/>
        </p:nvSpPr>
        <p:spPr>
          <a:xfrm>
            <a:off x="9720705" y="2440347"/>
            <a:ext cx="1136850" cy="37965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ctr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en-US" sz="1800" b="1" i="0" u="none" strike="noStrike" kern="0" cap="none" spc="0" normalizeH="0" baseline="0" noProof="0">
                <a:ln>
                  <a:noFill/>
                </a:ln>
                <a:solidFill>
                  <a:srgbClr val="FBAB18"/>
                </a:solidFill>
                <a:effectLst/>
                <a:uLnTx/>
                <a:uFillTx/>
                <a:latin typeface="CiscoSansTT ExtraLight" panose="020B0303020201020303" pitchFamily="34" charset="0"/>
                <a:ea typeface="ＭＳ Ｐゴシック" charset="0"/>
                <a:cs typeface="CiscoSansTT ExtraLight" panose="020B0303020201020303" pitchFamily="34" charset="0"/>
              </a:rPr>
              <a:t>Phase 4 </a:t>
            </a:r>
          </a:p>
        </p:txBody>
      </p:sp>
      <p:sp>
        <p:nvSpPr>
          <p:cNvPr id="129" name="Triangle 97">
            <a:extLst>
              <a:ext uri="{FF2B5EF4-FFF2-40B4-BE49-F238E27FC236}">
                <a16:creationId xmlns:a16="http://schemas.microsoft.com/office/drawing/2014/main" id="{09D0B8E7-295F-4D47-9355-1447E0AC1EAE}"/>
              </a:ext>
            </a:extLst>
          </p:cNvPr>
          <p:cNvSpPr/>
          <p:nvPr/>
        </p:nvSpPr>
        <p:spPr>
          <a:xfrm rot="10800000">
            <a:off x="10127802" y="4347949"/>
            <a:ext cx="322656" cy="163514"/>
          </a:xfrm>
          <a:prstGeom prst="triangl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endParaRPr kumimoji="0" lang="en-US" sz="1467" b="0" i="0" u="none" strike="noStrike" kern="1200" cap="none" spc="0" normalizeH="0" baseline="0" noProof="0">
              <a:ln>
                <a:noFill/>
              </a:ln>
              <a:solidFill>
                <a:srgbClr val="005073"/>
              </a:solidFill>
              <a:effectLst/>
              <a:uLnTx/>
              <a:uFillTx/>
              <a:latin typeface="CiscoSansTT ExtraLight" panose="020B0303020201020303" pitchFamily="34" charset="0"/>
              <a:ea typeface="+mn-ea"/>
              <a:cs typeface="CiscoSansTT ExtraLight" panose="020B0303020201020303" pitchFamily="34" charset="0"/>
            </a:endParaRPr>
          </a:p>
        </p:txBody>
      </p:sp>
      <p:cxnSp>
        <p:nvCxnSpPr>
          <p:cNvPr id="189" name="Straight Connector 188">
            <a:extLst>
              <a:ext uri="{FF2B5EF4-FFF2-40B4-BE49-F238E27FC236}">
                <a16:creationId xmlns:a16="http://schemas.microsoft.com/office/drawing/2014/main" id="{56AB4F42-DD63-4A15-9042-3BD34DCA0751}"/>
              </a:ext>
            </a:extLst>
          </p:cNvPr>
          <p:cNvCxnSpPr>
            <a:cxnSpLocks/>
          </p:cNvCxnSpPr>
          <p:nvPr/>
        </p:nvCxnSpPr>
        <p:spPr>
          <a:xfrm>
            <a:off x="558942" y="4347949"/>
            <a:ext cx="2685600" cy="0"/>
          </a:xfrm>
          <a:prstGeom prst="line">
            <a:avLst/>
          </a:prstGeom>
          <a:ln w="19050" cap="rnd">
            <a:solidFill>
              <a:schemeClr val="accent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0" name="Straight Connector 189">
            <a:extLst>
              <a:ext uri="{FF2B5EF4-FFF2-40B4-BE49-F238E27FC236}">
                <a16:creationId xmlns:a16="http://schemas.microsoft.com/office/drawing/2014/main" id="{1BD7EE8A-88D7-4499-8E2C-E3CC934E7694}"/>
              </a:ext>
            </a:extLst>
          </p:cNvPr>
          <p:cNvCxnSpPr>
            <a:cxnSpLocks/>
          </p:cNvCxnSpPr>
          <p:nvPr/>
        </p:nvCxnSpPr>
        <p:spPr>
          <a:xfrm>
            <a:off x="3354738" y="4347949"/>
            <a:ext cx="2685600" cy="0"/>
          </a:xfrm>
          <a:prstGeom prst="line">
            <a:avLst/>
          </a:prstGeom>
          <a:ln w="19050" cap="rnd">
            <a:solidFill>
              <a:schemeClr val="bg2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1" name="Straight Connector 190">
            <a:extLst>
              <a:ext uri="{FF2B5EF4-FFF2-40B4-BE49-F238E27FC236}">
                <a16:creationId xmlns:a16="http://schemas.microsoft.com/office/drawing/2014/main" id="{CC5CA1B1-D108-4D44-BD9E-8224C4F9BCEF}"/>
              </a:ext>
            </a:extLst>
          </p:cNvPr>
          <p:cNvCxnSpPr>
            <a:cxnSpLocks/>
          </p:cNvCxnSpPr>
          <p:nvPr/>
        </p:nvCxnSpPr>
        <p:spPr>
          <a:xfrm>
            <a:off x="6150534" y="4347949"/>
            <a:ext cx="2685600" cy="0"/>
          </a:xfrm>
          <a:prstGeom prst="line">
            <a:avLst/>
          </a:prstGeom>
          <a:ln w="19050" cap="rnd">
            <a:solidFill>
              <a:schemeClr val="accent2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2" name="Straight Connector 191">
            <a:extLst>
              <a:ext uri="{FF2B5EF4-FFF2-40B4-BE49-F238E27FC236}">
                <a16:creationId xmlns:a16="http://schemas.microsoft.com/office/drawing/2014/main" id="{4EC50139-5D8B-4AC9-A4C8-BC6E641AB209}"/>
              </a:ext>
            </a:extLst>
          </p:cNvPr>
          <p:cNvCxnSpPr>
            <a:cxnSpLocks/>
          </p:cNvCxnSpPr>
          <p:nvPr/>
        </p:nvCxnSpPr>
        <p:spPr>
          <a:xfrm>
            <a:off x="8946330" y="4347949"/>
            <a:ext cx="2685600" cy="0"/>
          </a:xfrm>
          <a:prstGeom prst="line">
            <a:avLst/>
          </a:prstGeom>
          <a:ln w="19050" cap="rnd">
            <a:solidFill>
              <a:schemeClr val="accent5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" name="Group 4">
            <a:extLst>
              <a:ext uri="{FF2B5EF4-FFF2-40B4-BE49-F238E27FC236}">
                <a16:creationId xmlns:a16="http://schemas.microsoft.com/office/drawing/2014/main" id="{54390FD6-0F4C-4455-BE59-BD4AF051C887}"/>
              </a:ext>
            </a:extLst>
          </p:cNvPr>
          <p:cNvGrpSpPr/>
          <p:nvPr/>
        </p:nvGrpSpPr>
        <p:grpSpPr>
          <a:xfrm>
            <a:off x="7566660" y="709085"/>
            <a:ext cx="4625340" cy="1361016"/>
            <a:chOff x="7566660" y="709085"/>
            <a:chExt cx="4625340" cy="1361016"/>
          </a:xfrm>
        </p:grpSpPr>
        <p:sp>
          <p:nvSpPr>
            <p:cNvPr id="100" name="Rectangle 99">
              <a:extLst>
                <a:ext uri="{FF2B5EF4-FFF2-40B4-BE49-F238E27FC236}">
                  <a16:creationId xmlns:a16="http://schemas.microsoft.com/office/drawing/2014/main" id="{D5E0ACD5-CD00-4C2E-9F59-7646E8411473}"/>
                </a:ext>
              </a:extLst>
            </p:cNvPr>
            <p:cNvSpPr/>
            <p:nvPr/>
          </p:nvSpPr>
          <p:spPr>
            <a:xfrm>
              <a:off x="7566660" y="709085"/>
              <a:ext cx="4625340" cy="1361016"/>
            </a:xfrm>
            <a:prstGeom prst="rect">
              <a:avLst/>
            </a:prstGeom>
            <a:solidFill>
              <a:srgbClr val="F4F7FA"/>
            </a:solidFill>
            <a:ln>
              <a:noFill/>
            </a:ln>
            <a:effectLst>
              <a:outerShdw dist="38100" dir="10800000" algn="l" rotWithShape="0">
                <a:schemeClr val="accent2"/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6000" tIns="48000" rIns="96000" bIns="48000"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67" b="0" i="0" u="none" strike="noStrike" kern="1200" cap="none" spc="0" normalizeH="0" baseline="0" noProof="0">
                <a:ln>
                  <a:noFill/>
                </a:ln>
                <a:solidFill>
                  <a:srgbClr val="14284A"/>
                </a:solidFill>
                <a:effectLst/>
                <a:uLnTx/>
                <a:uFillTx/>
                <a:latin typeface="CiscoSansTT ExtraLight"/>
                <a:ea typeface="+mn-ea"/>
                <a:cs typeface="+mn-cs"/>
              </a:endParaRPr>
            </a:p>
          </p:txBody>
        </p:sp>
        <p:sp>
          <p:nvSpPr>
            <p:cNvPr id="101" name="TextBox 100">
              <a:extLst>
                <a:ext uri="{FF2B5EF4-FFF2-40B4-BE49-F238E27FC236}">
                  <a16:creationId xmlns:a16="http://schemas.microsoft.com/office/drawing/2014/main" id="{8A2B532E-31EF-4C92-8B24-18162142BA72}"/>
                </a:ext>
              </a:extLst>
            </p:cNvPr>
            <p:cNvSpPr txBox="1"/>
            <p:nvPr/>
          </p:nvSpPr>
          <p:spPr>
            <a:xfrm>
              <a:off x="7918219" y="824015"/>
              <a:ext cx="582443" cy="209879"/>
            </a:xfrm>
            <a:prstGeom prst="rect">
              <a:avLst/>
            </a:prstGeom>
            <a:noFill/>
          </p:spPr>
          <p:txBody>
            <a:bodyPr wrap="none" lIns="0" tIns="0" rIns="0" bIns="0" rtlCol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1200" cap="none" spc="0" normalizeH="0" baseline="0" noProof="0">
                  <a:ln>
                    <a:noFill/>
                  </a:ln>
                  <a:solidFill>
                    <a:srgbClr val="6EBE4A"/>
                  </a:solidFill>
                  <a:effectLst/>
                  <a:uLnTx/>
                  <a:uFillTx/>
                  <a:latin typeface="CiscoSansTT ExtraLight"/>
                  <a:ea typeface="+mn-ea"/>
                  <a:cs typeface="+mn-cs"/>
                </a:rPr>
                <a:t>Legend</a:t>
              </a:r>
            </a:p>
          </p:txBody>
        </p:sp>
        <p:pic>
          <p:nvPicPr>
            <p:cNvPr id="102" name="Graphic 101">
              <a:extLst>
                <a:ext uri="{FF2B5EF4-FFF2-40B4-BE49-F238E27FC236}">
                  <a16:creationId xmlns:a16="http://schemas.microsoft.com/office/drawing/2014/main" id="{026C1E99-EDB1-4805-B59A-0A873BEA7338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7871932" y="1165624"/>
              <a:ext cx="243883" cy="243171"/>
            </a:xfrm>
            <a:prstGeom prst="rect">
              <a:avLst/>
            </a:prstGeom>
          </p:spPr>
        </p:pic>
        <p:pic>
          <p:nvPicPr>
            <p:cNvPr id="103" name="Graphic 102">
              <a:extLst>
                <a:ext uri="{FF2B5EF4-FFF2-40B4-BE49-F238E27FC236}">
                  <a16:creationId xmlns:a16="http://schemas.microsoft.com/office/drawing/2014/main" id="{C0748A62-6725-470E-A8E4-7668CEF02A92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9240603" y="1176724"/>
              <a:ext cx="220976" cy="220971"/>
            </a:xfrm>
            <a:prstGeom prst="rect">
              <a:avLst/>
            </a:prstGeom>
          </p:spPr>
        </p:pic>
        <p:pic>
          <p:nvPicPr>
            <p:cNvPr id="104" name="Graphic 103">
              <a:extLst>
                <a:ext uri="{FF2B5EF4-FFF2-40B4-BE49-F238E27FC236}">
                  <a16:creationId xmlns:a16="http://schemas.microsoft.com/office/drawing/2014/main" id="{7A762C3E-5D13-4D21-8D00-6D3BD202CC7A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7871932" y="1642420"/>
              <a:ext cx="220976" cy="220971"/>
            </a:xfrm>
            <a:prstGeom prst="rect">
              <a:avLst/>
            </a:prstGeom>
          </p:spPr>
        </p:pic>
        <p:pic>
          <p:nvPicPr>
            <p:cNvPr id="105" name="Graphic 104">
              <a:extLst>
                <a:ext uri="{FF2B5EF4-FFF2-40B4-BE49-F238E27FC236}">
                  <a16:creationId xmlns:a16="http://schemas.microsoft.com/office/drawing/2014/main" id="{37C70F7F-6DE9-4321-AF6C-603C1E7246C5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>
              <a:extLs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p:blipFill>
          <p:spPr>
            <a:xfrm>
              <a:off x="9240603" y="1642420"/>
              <a:ext cx="220976" cy="220971"/>
            </a:xfrm>
            <a:prstGeom prst="rect">
              <a:avLst/>
            </a:prstGeom>
          </p:spPr>
        </p:pic>
        <p:sp>
          <p:nvSpPr>
            <p:cNvPr id="106" name="TextBox 105">
              <a:extLst>
                <a:ext uri="{FF2B5EF4-FFF2-40B4-BE49-F238E27FC236}">
                  <a16:creationId xmlns:a16="http://schemas.microsoft.com/office/drawing/2014/main" id="{29D387F1-CE42-4DA0-8D06-0CE94236C8C7}"/>
                </a:ext>
              </a:extLst>
            </p:cNvPr>
            <p:cNvSpPr txBox="1"/>
            <p:nvPr/>
          </p:nvSpPr>
          <p:spPr>
            <a:xfrm>
              <a:off x="8187701" y="1135075"/>
              <a:ext cx="1017149" cy="304268"/>
            </a:xfrm>
            <a:prstGeom prst="rect">
              <a:avLst/>
            </a:prstGeom>
            <a:noFill/>
          </p:spPr>
          <p:txBody>
            <a:bodyPr wrap="square" lIns="0" tIns="0" rIns="0" bIns="0" rtlCol="0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-13" normalizeH="0" baseline="0" noProof="0">
                  <a:ln>
                    <a:noFill/>
                  </a:ln>
                  <a:solidFill>
                    <a:srgbClr val="2F446B"/>
                  </a:solidFill>
                  <a:effectLst/>
                  <a:uLnTx/>
                  <a:uFillTx/>
                  <a:latin typeface="CiscoSansTT ExtraLight"/>
                  <a:ea typeface="+mn-ea"/>
                  <a:cs typeface="CiscoSansTT Light" panose="020B0503020201020303" pitchFamily="34" charset="0"/>
                </a:rPr>
                <a:t>Operational Insights Review</a:t>
              </a:r>
            </a:p>
          </p:txBody>
        </p:sp>
        <p:sp>
          <p:nvSpPr>
            <p:cNvPr id="107" name="TextBox 106">
              <a:extLst>
                <a:ext uri="{FF2B5EF4-FFF2-40B4-BE49-F238E27FC236}">
                  <a16:creationId xmlns:a16="http://schemas.microsoft.com/office/drawing/2014/main" id="{2FEC4557-9E56-41A3-A675-A478306DCAA7}"/>
                </a:ext>
              </a:extLst>
            </p:cNvPr>
            <p:cNvSpPr txBox="1"/>
            <p:nvPr/>
          </p:nvSpPr>
          <p:spPr>
            <a:xfrm>
              <a:off x="9532419" y="1135075"/>
              <a:ext cx="1017149" cy="304268"/>
            </a:xfrm>
            <a:prstGeom prst="rect">
              <a:avLst/>
            </a:prstGeom>
            <a:noFill/>
          </p:spPr>
          <p:txBody>
            <a:bodyPr wrap="square" lIns="0" tIns="0" rIns="0" bIns="0" rtlCol="0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-13" normalizeH="0" baseline="0" noProof="0">
                  <a:ln>
                    <a:noFill/>
                  </a:ln>
                  <a:solidFill>
                    <a:srgbClr val="2F446B"/>
                  </a:solidFill>
                  <a:effectLst/>
                  <a:uLnTx/>
                  <a:uFillTx/>
                  <a:latin typeface="CiscoSansTT ExtraLight"/>
                  <a:ea typeface="+mn-ea"/>
                  <a:cs typeface="CiscoSansTT Light" panose="020B0503020201020303" pitchFamily="34" charset="0"/>
                </a:rPr>
                <a:t>Change Window Support</a:t>
              </a:r>
            </a:p>
          </p:txBody>
        </p:sp>
        <p:sp>
          <p:nvSpPr>
            <p:cNvPr id="109" name="TextBox 108">
              <a:extLst>
                <a:ext uri="{FF2B5EF4-FFF2-40B4-BE49-F238E27FC236}">
                  <a16:creationId xmlns:a16="http://schemas.microsoft.com/office/drawing/2014/main" id="{9A28F06C-4372-4D08-88FB-B40717EC19CC}"/>
                </a:ext>
              </a:extLst>
            </p:cNvPr>
            <p:cNvSpPr txBox="1"/>
            <p:nvPr/>
          </p:nvSpPr>
          <p:spPr>
            <a:xfrm>
              <a:off x="8187701" y="1600771"/>
              <a:ext cx="1017149" cy="304268"/>
            </a:xfrm>
            <a:prstGeom prst="rect">
              <a:avLst/>
            </a:prstGeom>
            <a:noFill/>
          </p:spPr>
          <p:txBody>
            <a:bodyPr wrap="square" lIns="0" tIns="0" rIns="0" bIns="0" rtlCol="0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-13" normalizeH="0" baseline="0" noProof="0">
                  <a:ln>
                    <a:noFill/>
                  </a:ln>
                  <a:solidFill>
                    <a:srgbClr val="2F446B"/>
                  </a:solidFill>
                  <a:effectLst/>
                  <a:uLnTx/>
                  <a:uFillTx/>
                  <a:latin typeface="CiscoSansTT ExtraLight"/>
                  <a:ea typeface="+mn-ea"/>
                  <a:cs typeface="CiscoSansTT Light" panose="020B0503020201020303" pitchFamily="34" charset="0"/>
                </a:rPr>
                <a:t>Ask the </a:t>
              </a:r>
              <a:br>
                <a:rPr kumimoji="0" lang="en-US" sz="1000" b="0" i="0" u="none" strike="noStrike" kern="1200" cap="none" spc="-13" normalizeH="0" baseline="0" noProof="0">
                  <a:ln>
                    <a:noFill/>
                  </a:ln>
                  <a:solidFill>
                    <a:srgbClr val="2F446B"/>
                  </a:solidFill>
                  <a:effectLst/>
                  <a:uLnTx/>
                  <a:uFillTx/>
                  <a:latin typeface="CiscoSansTT ExtraLight"/>
                  <a:ea typeface="+mn-ea"/>
                  <a:cs typeface="CiscoSansTT Light" panose="020B0503020201020303" pitchFamily="34" charset="0"/>
                </a:rPr>
              </a:br>
              <a:r>
                <a:rPr kumimoji="0" lang="en-US" sz="1000" b="0" i="0" u="none" strike="noStrike" kern="1200" cap="none" spc="-13" normalizeH="0" baseline="0" noProof="0">
                  <a:ln>
                    <a:noFill/>
                  </a:ln>
                  <a:solidFill>
                    <a:srgbClr val="2F446B"/>
                  </a:solidFill>
                  <a:effectLst/>
                  <a:uLnTx/>
                  <a:uFillTx/>
                  <a:latin typeface="CiscoSansTT ExtraLight"/>
                  <a:ea typeface="+mn-ea"/>
                  <a:cs typeface="CiscoSansTT Light" panose="020B0503020201020303" pitchFamily="34" charset="0"/>
                </a:rPr>
                <a:t>Experts</a:t>
              </a:r>
            </a:p>
          </p:txBody>
        </p:sp>
        <p:sp>
          <p:nvSpPr>
            <p:cNvPr id="110" name="TextBox 109">
              <a:extLst>
                <a:ext uri="{FF2B5EF4-FFF2-40B4-BE49-F238E27FC236}">
                  <a16:creationId xmlns:a16="http://schemas.microsoft.com/office/drawing/2014/main" id="{558D62F8-9199-4482-A4B8-B3BCDBF03F36}"/>
                </a:ext>
              </a:extLst>
            </p:cNvPr>
            <p:cNvSpPr txBox="1"/>
            <p:nvPr/>
          </p:nvSpPr>
          <p:spPr>
            <a:xfrm>
              <a:off x="9532419" y="1600771"/>
              <a:ext cx="1017149" cy="304268"/>
            </a:xfrm>
            <a:prstGeom prst="rect">
              <a:avLst/>
            </a:prstGeom>
            <a:noFill/>
          </p:spPr>
          <p:txBody>
            <a:bodyPr wrap="square" lIns="0" tIns="0" rIns="0" bIns="0" rtlCol="0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-13" normalizeH="0" baseline="0" noProof="0">
                  <a:ln>
                    <a:noFill/>
                  </a:ln>
                  <a:solidFill>
                    <a:srgbClr val="2F446B"/>
                  </a:solidFill>
                  <a:effectLst/>
                  <a:uLnTx/>
                  <a:uFillTx/>
                  <a:latin typeface="CiscoSansTT ExtraLight"/>
                  <a:ea typeface="+mn-ea"/>
                  <a:cs typeface="CiscoSansTT Light" panose="020B0503020201020303" pitchFamily="34" charset="0"/>
                </a:rPr>
                <a:t>Expert </a:t>
              </a:r>
              <a:br>
                <a:rPr kumimoji="0" lang="en-US" sz="1000" b="0" i="0" u="none" strike="noStrike" kern="1200" cap="none" spc="-13" normalizeH="0" baseline="0" noProof="0">
                  <a:ln>
                    <a:noFill/>
                  </a:ln>
                  <a:solidFill>
                    <a:srgbClr val="2F446B"/>
                  </a:solidFill>
                  <a:effectLst/>
                  <a:uLnTx/>
                  <a:uFillTx/>
                  <a:latin typeface="CiscoSansTT ExtraLight"/>
                  <a:ea typeface="+mn-ea"/>
                  <a:cs typeface="CiscoSansTT Light" panose="020B0503020201020303" pitchFamily="34" charset="0"/>
                </a:rPr>
              </a:br>
              <a:r>
                <a:rPr kumimoji="0" lang="en-US" sz="1000" b="0" i="0" u="none" strike="noStrike" kern="1200" cap="none" spc="-13" normalizeH="0" baseline="0" noProof="0">
                  <a:ln>
                    <a:noFill/>
                  </a:ln>
                  <a:solidFill>
                    <a:srgbClr val="2F446B"/>
                  </a:solidFill>
                  <a:effectLst/>
                  <a:uLnTx/>
                  <a:uFillTx/>
                  <a:latin typeface="CiscoSansTT ExtraLight"/>
                  <a:ea typeface="+mn-ea"/>
                  <a:cs typeface="CiscoSansTT Light" panose="020B0503020201020303" pitchFamily="34" charset="0"/>
                </a:rPr>
                <a:t>Incident Review</a:t>
              </a:r>
            </a:p>
          </p:txBody>
        </p:sp>
        <p:pic>
          <p:nvPicPr>
            <p:cNvPr id="144" name="Graphic 143">
              <a:extLst>
                <a:ext uri="{FF2B5EF4-FFF2-40B4-BE49-F238E27FC236}">
                  <a16:creationId xmlns:a16="http://schemas.microsoft.com/office/drawing/2014/main" id="{FBE5620B-9105-8E43-937F-49F10637C38E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10636582" y="1176940"/>
              <a:ext cx="220973" cy="220755"/>
            </a:xfrm>
            <a:prstGeom prst="rect">
              <a:avLst/>
            </a:prstGeom>
          </p:spPr>
        </p:pic>
        <p:pic>
          <p:nvPicPr>
            <p:cNvPr id="147" name="Graphic 146">
              <a:extLst>
                <a:ext uri="{FF2B5EF4-FFF2-40B4-BE49-F238E27FC236}">
                  <a16:creationId xmlns:a16="http://schemas.microsoft.com/office/drawing/2014/main" id="{BE062000-9705-7945-A227-41C2D24A4740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>
              <a:extLst>
                <a:ext uri="{96DAC541-7B7A-43D3-8B79-37D633B846F1}">
                  <asvg:svgBlip xmlns:asvg="http://schemas.microsoft.com/office/drawing/2016/SVG/main" r:embed="rId14"/>
                </a:ext>
              </a:extLst>
            </a:blip>
            <a:stretch>
              <a:fillRect/>
            </a:stretch>
          </p:blipFill>
          <p:spPr>
            <a:xfrm>
              <a:off x="10636582" y="1642420"/>
              <a:ext cx="220976" cy="220971"/>
            </a:xfrm>
            <a:prstGeom prst="rect">
              <a:avLst/>
            </a:prstGeom>
          </p:spPr>
        </p:pic>
        <p:sp>
          <p:nvSpPr>
            <p:cNvPr id="150" name="TextBox 149">
              <a:extLst>
                <a:ext uri="{FF2B5EF4-FFF2-40B4-BE49-F238E27FC236}">
                  <a16:creationId xmlns:a16="http://schemas.microsoft.com/office/drawing/2014/main" id="{81CC16E8-9950-214F-BB2F-137948D9938A}"/>
                </a:ext>
              </a:extLst>
            </p:cNvPr>
            <p:cNvSpPr txBox="1"/>
            <p:nvPr/>
          </p:nvSpPr>
          <p:spPr>
            <a:xfrm>
              <a:off x="10940897" y="1135075"/>
              <a:ext cx="1017149" cy="304268"/>
            </a:xfrm>
            <a:prstGeom prst="rect">
              <a:avLst/>
            </a:prstGeom>
            <a:noFill/>
          </p:spPr>
          <p:txBody>
            <a:bodyPr wrap="square" lIns="0" tIns="0" rIns="0" bIns="0" rtlCol="0" anchor="ctr" anchorCtr="0">
              <a:noAutofit/>
            </a:bodyPr>
            <a:lstStyle>
              <a:defPPr>
                <a:defRPr lang="en-US"/>
              </a:defPPr>
              <a:lvl1pPr marR="0" lvl="0" indent="0" fontAlgn="auto">
                <a:lnSpc>
                  <a:spcPct val="100000"/>
                </a:lnSpc>
                <a:spcBef>
                  <a:spcPts val="0"/>
                </a:spcBef>
                <a:spcAft>
                  <a:spcPts val="1600"/>
                </a:spcAft>
                <a:buClrTx/>
                <a:buSzTx/>
                <a:buFontTx/>
                <a:buNone/>
                <a:tabLst/>
                <a:defRPr kumimoji="0" sz="1000" b="0" i="0" u="none" strike="noStrike" cap="none" spc="-13" normalizeH="0" baseline="0">
                  <a:ln>
                    <a:noFill/>
                  </a:ln>
                  <a:solidFill>
                    <a:srgbClr val="2F446B"/>
                  </a:solidFill>
                  <a:effectLst/>
                  <a:uLnTx/>
                  <a:uFillTx/>
                  <a:latin typeface="CiscoSansTT ExtraLight"/>
                  <a:cs typeface="CiscoSansTT Light" panose="020B0503020201020303" pitchFamily="34" charset="0"/>
                </a:defRPr>
              </a:lvl1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-13" normalizeH="0" baseline="0" noProof="0">
                  <a:ln>
                    <a:noFill/>
                  </a:ln>
                  <a:solidFill>
                    <a:srgbClr val="2F446B"/>
                  </a:solidFill>
                  <a:effectLst/>
                  <a:uLnTx/>
                  <a:uFillTx/>
                  <a:latin typeface="CiscoSansTT ExtraLight"/>
                  <a:ea typeface="+mn-ea"/>
                  <a:cs typeface="CiscoSansTT Light" panose="020B0503020201020303" pitchFamily="34" charset="0"/>
                </a:rPr>
                <a:t>Expert Review Workshops</a:t>
              </a:r>
            </a:p>
          </p:txBody>
        </p:sp>
        <p:sp>
          <p:nvSpPr>
            <p:cNvPr id="153" name="TextBox 152">
              <a:extLst>
                <a:ext uri="{FF2B5EF4-FFF2-40B4-BE49-F238E27FC236}">
                  <a16:creationId xmlns:a16="http://schemas.microsoft.com/office/drawing/2014/main" id="{07B9CFAC-9E1A-BA47-90C0-59C3B7274394}"/>
                </a:ext>
              </a:extLst>
            </p:cNvPr>
            <p:cNvSpPr txBox="1"/>
            <p:nvPr/>
          </p:nvSpPr>
          <p:spPr>
            <a:xfrm>
              <a:off x="10940897" y="1600771"/>
              <a:ext cx="1017149" cy="304268"/>
            </a:xfrm>
            <a:prstGeom prst="rect">
              <a:avLst/>
            </a:prstGeom>
            <a:noFill/>
          </p:spPr>
          <p:txBody>
            <a:bodyPr wrap="square" lIns="0" tIns="0" rIns="0" bIns="0" rtlCol="0" anchor="ctr" anchorCtr="0">
              <a:noAutofit/>
            </a:bodyPr>
            <a:lstStyle>
              <a:defPPr>
                <a:defRPr lang="en-US"/>
              </a:defPPr>
              <a:lvl1pPr marR="0" lvl="0" indent="0" fontAlgn="auto">
                <a:lnSpc>
                  <a:spcPct val="100000"/>
                </a:lnSpc>
                <a:spcBef>
                  <a:spcPts val="0"/>
                </a:spcBef>
                <a:spcAft>
                  <a:spcPts val="1600"/>
                </a:spcAft>
                <a:buClrTx/>
                <a:buSzTx/>
                <a:buFontTx/>
                <a:buNone/>
                <a:tabLst/>
                <a:defRPr kumimoji="0" sz="1000" b="0" i="0" u="none" strike="noStrike" cap="none" spc="-13" normalizeH="0" baseline="0">
                  <a:ln>
                    <a:noFill/>
                  </a:ln>
                  <a:solidFill>
                    <a:srgbClr val="2F446B"/>
                  </a:solidFill>
                  <a:effectLst/>
                  <a:uLnTx/>
                  <a:uFillTx/>
                  <a:latin typeface="CiscoSansTT ExtraLight"/>
                  <a:cs typeface="CiscoSansTT Light" panose="020B0503020201020303" pitchFamily="34" charset="0"/>
                </a:defRPr>
              </a:lvl1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-13" normalizeH="0" baseline="0" noProof="0">
                  <a:ln>
                    <a:noFill/>
                  </a:ln>
                  <a:solidFill>
                    <a:srgbClr val="2F446B"/>
                  </a:solidFill>
                  <a:effectLst/>
                  <a:uLnTx/>
                  <a:uFillTx/>
                  <a:latin typeface="CiscoSansTT ExtraLight"/>
                  <a:ea typeface="+mn-ea"/>
                  <a:cs typeface="CiscoSansTT Light" panose="020B0503020201020303" pitchFamily="34" charset="0"/>
                </a:rPr>
                <a:t>Accelerators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296220418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Google Shape;1434;p210">
            <a:extLst>
              <a:ext uri="{FF2B5EF4-FFF2-40B4-BE49-F238E27FC236}">
                <a16:creationId xmlns:a16="http://schemas.microsoft.com/office/drawing/2014/main" id="{09495A85-C849-49FA-9553-64C21AA2CF04}"/>
              </a:ext>
            </a:extLst>
          </p:cNvPr>
          <p:cNvSpPr/>
          <p:nvPr/>
        </p:nvSpPr>
        <p:spPr>
          <a:xfrm>
            <a:off x="1062503" y="2070100"/>
            <a:ext cx="3236447" cy="341200"/>
          </a:xfrm>
          <a:prstGeom prst="roundRect">
            <a:avLst>
              <a:gd name="adj" fmla="val 50000"/>
            </a:avLst>
          </a:prstGeom>
          <a:solidFill>
            <a:schemeClr val="bg2"/>
          </a:solidFill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005073"/>
              </a:buClr>
              <a:buSzPts val="1600"/>
              <a:buFontTx/>
              <a:buNone/>
              <a:tabLst/>
              <a:defRPr/>
            </a:pPr>
            <a:r>
              <a:rPr kumimoji="0" lang="en-US" sz="16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iscoSansTT ExtraLight" panose="020B0303020201020303" pitchFamily="34" charset="0"/>
                <a:ea typeface="Helvetica Neue Light"/>
                <a:cs typeface="CiscoSansTT ExtraLight" panose="020B0303020201020303" pitchFamily="34" charset="0"/>
                <a:sym typeface="Helvetica Neue Light"/>
              </a:rPr>
              <a:t>Acquisition and IT Merger</a:t>
            </a:r>
          </a:p>
        </p:txBody>
      </p:sp>
      <p:sp>
        <p:nvSpPr>
          <p:cNvPr id="8" name="Google Shape;791;p99">
            <a:extLst>
              <a:ext uri="{FF2B5EF4-FFF2-40B4-BE49-F238E27FC236}">
                <a16:creationId xmlns:a16="http://schemas.microsoft.com/office/drawing/2014/main" id="{59CCEB0D-D6A8-439C-AFFD-3960C03355D4}"/>
              </a:ext>
            </a:extLst>
          </p:cNvPr>
          <p:cNvSpPr/>
          <p:nvPr/>
        </p:nvSpPr>
        <p:spPr>
          <a:xfrm>
            <a:off x="1582184" y="2502264"/>
            <a:ext cx="2296651" cy="4814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ctr" defTabSz="914332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buClr>
                <a:srgbClr val="6EBE4A"/>
              </a:buClr>
              <a:buSzPct val="75000"/>
              <a:buFont typeface="Arial"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14284A"/>
                </a:solidFill>
                <a:effectLst/>
                <a:uLnTx/>
                <a:uFillTx/>
                <a:latin typeface="CiscoSansTT ExtraLight"/>
                <a:ea typeface="ＭＳ Ｐゴシック" charset="0"/>
                <a:cs typeface="CiscoSansTT" panose="020B0503020201020303" pitchFamily="34" charset="0"/>
                <a:sym typeface="Arial"/>
              </a:rPr>
              <a:t>Enable communications and application compatibility </a:t>
            </a:r>
          </a:p>
        </p:txBody>
      </p:sp>
      <p:sp>
        <p:nvSpPr>
          <p:cNvPr id="7" name="Google Shape;1434;p210">
            <a:extLst>
              <a:ext uri="{FF2B5EF4-FFF2-40B4-BE49-F238E27FC236}">
                <a16:creationId xmlns:a16="http://schemas.microsoft.com/office/drawing/2014/main" id="{9921CE5E-B3E5-44F3-B698-8EBE7D553FEE}"/>
              </a:ext>
            </a:extLst>
          </p:cNvPr>
          <p:cNvSpPr/>
          <p:nvPr/>
        </p:nvSpPr>
        <p:spPr>
          <a:xfrm>
            <a:off x="5666032" y="2070100"/>
            <a:ext cx="3116017" cy="341200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005073"/>
              </a:buClr>
              <a:buSzPts val="1600"/>
              <a:buFontTx/>
              <a:buNone/>
              <a:tabLst/>
              <a:defRPr/>
            </a:pPr>
            <a:r>
              <a:rPr kumimoji="0" lang="en-US" sz="16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iscoSansTT ExtraLight" panose="020B0303020201020303" pitchFamily="34" charset="0"/>
                <a:ea typeface="Helvetica Neue Light"/>
                <a:cs typeface="CiscoSansTT ExtraLight" panose="020B0303020201020303" pitchFamily="34" charset="0"/>
                <a:sym typeface="Helvetica Neue Light"/>
              </a:rPr>
              <a:t>Data Center Merger </a:t>
            </a:r>
          </a:p>
        </p:txBody>
      </p:sp>
      <p:sp>
        <p:nvSpPr>
          <p:cNvPr id="38" name="Google Shape;791;p99">
            <a:extLst>
              <a:ext uri="{FF2B5EF4-FFF2-40B4-BE49-F238E27FC236}">
                <a16:creationId xmlns:a16="http://schemas.microsoft.com/office/drawing/2014/main" id="{F4D3E569-C701-4607-9E02-1D7B85D3ABF4}"/>
              </a:ext>
            </a:extLst>
          </p:cNvPr>
          <p:cNvSpPr/>
          <p:nvPr/>
        </p:nvSpPr>
        <p:spPr>
          <a:xfrm>
            <a:off x="6070818" y="2464598"/>
            <a:ext cx="2087865" cy="4814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ctr" defTabSz="914332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buClr>
                <a:srgbClr val="6EBE4A"/>
              </a:buClr>
              <a:buSzPct val="75000"/>
              <a:buFont typeface="Arial"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14284A"/>
                </a:solidFill>
                <a:effectLst/>
                <a:uLnTx/>
                <a:uFillTx/>
                <a:latin typeface="CiscoSansTT ExtraLight"/>
                <a:ea typeface="ＭＳ Ｐゴシック" charset="0"/>
                <a:cs typeface="CiscoSansTT" panose="020B0503020201020303" pitchFamily="34" charset="0"/>
                <a:sym typeface="Arial"/>
              </a:rPr>
              <a:t>Combine and expand capacity of data centers</a:t>
            </a:r>
          </a:p>
        </p:txBody>
      </p:sp>
      <p:sp>
        <p:nvSpPr>
          <p:cNvPr id="57" name="Google Shape;1434;p210">
            <a:extLst>
              <a:ext uri="{FF2B5EF4-FFF2-40B4-BE49-F238E27FC236}">
                <a16:creationId xmlns:a16="http://schemas.microsoft.com/office/drawing/2014/main" id="{41855629-971F-4126-AE4C-09D085D1F2C0}"/>
              </a:ext>
            </a:extLst>
          </p:cNvPr>
          <p:cNvSpPr/>
          <p:nvPr/>
        </p:nvSpPr>
        <p:spPr>
          <a:xfrm>
            <a:off x="3657599" y="4770438"/>
            <a:ext cx="7753775" cy="341200"/>
          </a:xfrm>
          <a:prstGeom prst="roundRect">
            <a:avLst>
              <a:gd name="adj" fmla="val 50000"/>
            </a:avLst>
          </a:prstGeom>
          <a:solidFill>
            <a:schemeClr val="accent2"/>
          </a:solidFill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005073"/>
              </a:buClr>
              <a:buSzPts val="1600"/>
              <a:buFontTx/>
              <a:buNone/>
              <a:tabLst/>
              <a:defRPr/>
            </a:pPr>
            <a:r>
              <a:rPr kumimoji="0" lang="en-US" sz="16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iscoSansTT ExtraLight" panose="020B0303020201020303" pitchFamily="34" charset="0"/>
                <a:ea typeface="Helvetica Neue Light"/>
                <a:cs typeface="CiscoSansTT ExtraLight" panose="020B0303020201020303" pitchFamily="34" charset="0"/>
                <a:sym typeface="Helvetica Neue Light"/>
              </a:rPr>
              <a:t>Architectural Transformation</a:t>
            </a:r>
          </a:p>
        </p:txBody>
      </p:sp>
      <p:sp>
        <p:nvSpPr>
          <p:cNvPr id="58" name="Google Shape;791;p99">
            <a:extLst>
              <a:ext uri="{FF2B5EF4-FFF2-40B4-BE49-F238E27FC236}">
                <a16:creationId xmlns:a16="http://schemas.microsoft.com/office/drawing/2014/main" id="{31D00A1F-FC85-4916-A0B0-6CF8CACCC772}"/>
              </a:ext>
            </a:extLst>
          </p:cNvPr>
          <p:cNvSpPr/>
          <p:nvPr/>
        </p:nvSpPr>
        <p:spPr>
          <a:xfrm>
            <a:off x="4298950" y="5191262"/>
            <a:ext cx="6247840" cy="4814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ctr" defTabSz="914332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buClr>
                <a:srgbClr val="6EBE4A"/>
              </a:buClr>
              <a:buSzPct val="75000"/>
              <a:buFont typeface="Arial"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14284A"/>
                </a:solidFill>
                <a:effectLst/>
                <a:uLnTx/>
                <a:uFillTx/>
                <a:latin typeface="CiscoSansTT ExtraLight"/>
                <a:ea typeface="ＭＳ Ｐゴシック" charset="0"/>
                <a:cs typeface="CiscoSansTT" panose="020B0503020201020303" pitchFamily="34" charset="0"/>
                <a:sym typeface="Arial"/>
              </a:rPr>
              <a:t>Extend IBN across the WAN, from campus/branch to data center and cloud, integrating the newly acquired domains</a:t>
            </a:r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6B6414A8-1CA1-4F82-99C5-88D59F94AC7C}"/>
              </a:ext>
            </a:extLst>
          </p:cNvPr>
          <p:cNvSpPr/>
          <p:nvPr/>
        </p:nvSpPr>
        <p:spPr>
          <a:xfrm>
            <a:off x="665553" y="1894200"/>
            <a:ext cx="693000" cy="69300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AU" sz="11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iscoSansTT ExtraLight"/>
              <a:ea typeface="+mn-ea"/>
              <a:cs typeface="+mn-cs"/>
              <a:sym typeface="Arial"/>
            </a:endParaRPr>
          </a:p>
        </p:txBody>
      </p:sp>
      <p:pic>
        <p:nvPicPr>
          <p:cNvPr id="12" name="Google Shape;2821;p68">
            <a:extLst>
              <a:ext uri="{FF2B5EF4-FFF2-40B4-BE49-F238E27FC236}">
                <a16:creationId xmlns:a16="http://schemas.microsoft.com/office/drawing/2014/main" id="{537CB32A-0588-4424-9545-7B19665B87E7}"/>
              </a:ext>
            </a:extLst>
          </p:cNvPr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716853" y="1945500"/>
            <a:ext cx="590400" cy="590400"/>
          </a:xfrm>
          <a:prstGeom prst="rect">
            <a:avLst/>
          </a:prstGeom>
          <a:noFill/>
          <a:ln>
            <a:noFill/>
          </a:ln>
        </p:spPr>
      </p:pic>
      <p:sp>
        <p:nvSpPr>
          <p:cNvPr id="108" name="Oval 107">
            <a:extLst>
              <a:ext uri="{FF2B5EF4-FFF2-40B4-BE49-F238E27FC236}">
                <a16:creationId xmlns:a16="http://schemas.microsoft.com/office/drawing/2014/main" id="{3BC1A671-E573-41A5-9D20-A66A0AF86A74}"/>
              </a:ext>
            </a:extLst>
          </p:cNvPr>
          <p:cNvSpPr/>
          <p:nvPr/>
        </p:nvSpPr>
        <p:spPr>
          <a:xfrm>
            <a:off x="5182010" y="1894200"/>
            <a:ext cx="693000" cy="69300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AU" sz="11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iscoSansTT ExtraLight"/>
              <a:ea typeface="+mn-ea"/>
              <a:cs typeface="+mn-cs"/>
              <a:sym typeface="Arial"/>
            </a:endParaRPr>
          </a:p>
        </p:txBody>
      </p:sp>
      <p:pic>
        <p:nvPicPr>
          <p:cNvPr id="11" name="Google Shape;2887;p71">
            <a:extLst>
              <a:ext uri="{FF2B5EF4-FFF2-40B4-BE49-F238E27FC236}">
                <a16:creationId xmlns:a16="http://schemas.microsoft.com/office/drawing/2014/main" id="{6243E90A-509F-4208-B016-4D89293A2784}"/>
              </a:ext>
            </a:extLst>
          </p:cNvPr>
          <p:cNvPicPr preferRelativeResize="0"/>
          <p:nvPr/>
        </p:nvPicPr>
        <p:blipFill rotWithShape="1">
          <a:blip r:embed="rId4">
            <a:alphaModFix/>
          </a:blip>
          <a:srcRect/>
          <a:stretch/>
        </p:blipFill>
        <p:spPr>
          <a:xfrm>
            <a:off x="5233310" y="1945500"/>
            <a:ext cx="590400" cy="590400"/>
          </a:xfrm>
          <a:prstGeom prst="rect">
            <a:avLst/>
          </a:prstGeom>
          <a:noFill/>
          <a:ln>
            <a:noFill/>
          </a:ln>
        </p:spPr>
      </p:pic>
      <p:sp>
        <p:nvSpPr>
          <p:cNvPr id="110" name="Oval 109">
            <a:extLst>
              <a:ext uri="{FF2B5EF4-FFF2-40B4-BE49-F238E27FC236}">
                <a16:creationId xmlns:a16="http://schemas.microsoft.com/office/drawing/2014/main" id="{96599F84-B959-465B-A531-1395157BEEC4}"/>
              </a:ext>
            </a:extLst>
          </p:cNvPr>
          <p:cNvSpPr/>
          <p:nvPr/>
        </p:nvSpPr>
        <p:spPr>
          <a:xfrm>
            <a:off x="3272591" y="4594538"/>
            <a:ext cx="693000" cy="69300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AU" sz="11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iscoSansTT ExtraLight"/>
              <a:ea typeface="+mn-ea"/>
              <a:cs typeface="+mn-cs"/>
              <a:sym typeface="Arial"/>
            </a:endParaRPr>
          </a:p>
        </p:txBody>
      </p:sp>
      <p:pic>
        <p:nvPicPr>
          <p:cNvPr id="15" name="Google Shape;2869;p70">
            <a:extLst>
              <a:ext uri="{FF2B5EF4-FFF2-40B4-BE49-F238E27FC236}">
                <a16:creationId xmlns:a16="http://schemas.microsoft.com/office/drawing/2014/main" id="{88937CE4-EB8E-4DB3-A540-BFD0361526ED}"/>
              </a:ext>
            </a:extLst>
          </p:cNvPr>
          <p:cNvPicPr preferRelativeResize="0"/>
          <p:nvPr/>
        </p:nvPicPr>
        <p:blipFill rotWithShape="1">
          <a:blip r:embed="rId5">
            <a:alphaModFix/>
          </a:blip>
          <a:srcRect/>
          <a:stretch/>
        </p:blipFill>
        <p:spPr>
          <a:xfrm>
            <a:off x="3324542" y="4645838"/>
            <a:ext cx="590400" cy="590400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55" name="Group 54">
            <a:extLst>
              <a:ext uri="{FF2B5EF4-FFF2-40B4-BE49-F238E27FC236}">
                <a16:creationId xmlns:a16="http://schemas.microsoft.com/office/drawing/2014/main" id="{30308A4F-DF2A-4A74-B171-89FEA829DCCB}"/>
              </a:ext>
            </a:extLst>
          </p:cNvPr>
          <p:cNvGrpSpPr/>
          <p:nvPr/>
        </p:nvGrpSpPr>
        <p:grpSpPr>
          <a:xfrm>
            <a:off x="713317" y="3717131"/>
            <a:ext cx="10759546" cy="304800"/>
            <a:chOff x="713317" y="3761598"/>
            <a:chExt cx="10759546" cy="304800"/>
          </a:xfrm>
        </p:grpSpPr>
        <p:sp>
          <p:nvSpPr>
            <p:cNvPr id="56" name="Freeform 5">
              <a:extLst>
                <a:ext uri="{FF2B5EF4-FFF2-40B4-BE49-F238E27FC236}">
                  <a16:creationId xmlns:a16="http://schemas.microsoft.com/office/drawing/2014/main" id="{FD33A3B3-E0E7-4534-9C1E-F7C1216EAE99}"/>
                </a:ext>
              </a:extLst>
            </p:cNvPr>
            <p:cNvSpPr>
              <a:spLocks/>
            </p:cNvSpPr>
            <p:nvPr/>
          </p:nvSpPr>
          <p:spPr bwMode="auto">
            <a:xfrm>
              <a:off x="713317" y="3761598"/>
              <a:ext cx="10759546" cy="304800"/>
            </a:xfrm>
            <a:custGeom>
              <a:avLst/>
              <a:gdLst>
                <a:gd name="T0" fmla="*/ 3506 w 3556"/>
                <a:gd name="T1" fmla="*/ 0 h 100"/>
                <a:gd name="T2" fmla="*/ 50 w 3556"/>
                <a:gd name="T3" fmla="*/ 0 h 100"/>
                <a:gd name="T4" fmla="*/ 0 w 3556"/>
                <a:gd name="T5" fmla="*/ 50 h 100"/>
                <a:gd name="T6" fmla="*/ 50 w 3556"/>
                <a:gd name="T7" fmla="*/ 100 h 100"/>
                <a:gd name="T8" fmla="*/ 3506 w 3556"/>
                <a:gd name="T9" fmla="*/ 100 h 100"/>
                <a:gd name="T10" fmla="*/ 3556 w 3556"/>
                <a:gd name="T11" fmla="*/ 50 h 100"/>
                <a:gd name="T12" fmla="*/ 3506 w 3556"/>
                <a:gd name="T13" fmla="*/ 0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556" h="100">
                  <a:moveTo>
                    <a:pt x="3506" y="0"/>
                  </a:moveTo>
                  <a:cubicBezTo>
                    <a:pt x="50" y="0"/>
                    <a:pt x="50" y="0"/>
                    <a:pt x="50" y="0"/>
                  </a:cubicBezTo>
                  <a:cubicBezTo>
                    <a:pt x="23" y="0"/>
                    <a:pt x="0" y="22"/>
                    <a:pt x="0" y="50"/>
                  </a:cubicBezTo>
                  <a:cubicBezTo>
                    <a:pt x="0" y="78"/>
                    <a:pt x="23" y="100"/>
                    <a:pt x="50" y="100"/>
                  </a:cubicBezTo>
                  <a:cubicBezTo>
                    <a:pt x="3506" y="100"/>
                    <a:pt x="3506" y="100"/>
                    <a:pt x="3506" y="100"/>
                  </a:cubicBezTo>
                  <a:cubicBezTo>
                    <a:pt x="3534" y="100"/>
                    <a:pt x="3556" y="78"/>
                    <a:pt x="3556" y="50"/>
                  </a:cubicBezTo>
                  <a:cubicBezTo>
                    <a:pt x="3556" y="22"/>
                    <a:pt x="3534" y="0"/>
                    <a:pt x="3506" y="0"/>
                  </a:cubicBezTo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en-US" sz="12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iscoSansTT ExtraLight"/>
                <a:ea typeface="+mn-ea"/>
                <a:cs typeface="Arial"/>
                <a:sym typeface="Arial"/>
              </a:endParaRPr>
            </a:p>
          </p:txBody>
        </p:sp>
        <p:sp>
          <p:nvSpPr>
            <p:cNvPr id="59" name="Freeform 7">
              <a:extLst>
                <a:ext uri="{FF2B5EF4-FFF2-40B4-BE49-F238E27FC236}">
                  <a16:creationId xmlns:a16="http://schemas.microsoft.com/office/drawing/2014/main" id="{ACDA75CC-5730-46EE-A349-E5BDC406923A}"/>
                </a:ext>
              </a:extLst>
            </p:cNvPr>
            <p:cNvSpPr>
              <a:spLocks/>
            </p:cNvSpPr>
            <p:nvPr/>
          </p:nvSpPr>
          <p:spPr bwMode="auto">
            <a:xfrm>
              <a:off x="1665215" y="3762657"/>
              <a:ext cx="796274" cy="302683"/>
            </a:xfrm>
            <a:custGeom>
              <a:avLst/>
              <a:gdLst>
                <a:gd name="T0" fmla="*/ 651 w 701"/>
                <a:gd name="T1" fmla="*/ 0 h 100"/>
                <a:gd name="T2" fmla="*/ 50 w 701"/>
                <a:gd name="T3" fmla="*/ 0 h 100"/>
                <a:gd name="T4" fmla="*/ 0 w 701"/>
                <a:gd name="T5" fmla="*/ 50 h 100"/>
                <a:gd name="T6" fmla="*/ 50 w 701"/>
                <a:gd name="T7" fmla="*/ 100 h 100"/>
                <a:gd name="T8" fmla="*/ 651 w 701"/>
                <a:gd name="T9" fmla="*/ 100 h 100"/>
                <a:gd name="T10" fmla="*/ 701 w 701"/>
                <a:gd name="T11" fmla="*/ 50 h 100"/>
                <a:gd name="T12" fmla="*/ 651 w 701"/>
                <a:gd name="T13" fmla="*/ 0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01" h="100">
                  <a:moveTo>
                    <a:pt x="651" y="0"/>
                  </a:moveTo>
                  <a:cubicBezTo>
                    <a:pt x="50" y="0"/>
                    <a:pt x="50" y="0"/>
                    <a:pt x="50" y="0"/>
                  </a:cubicBezTo>
                  <a:cubicBezTo>
                    <a:pt x="22" y="0"/>
                    <a:pt x="0" y="22"/>
                    <a:pt x="0" y="50"/>
                  </a:cubicBezTo>
                  <a:cubicBezTo>
                    <a:pt x="0" y="77"/>
                    <a:pt x="22" y="100"/>
                    <a:pt x="50" y="100"/>
                  </a:cubicBezTo>
                  <a:cubicBezTo>
                    <a:pt x="651" y="100"/>
                    <a:pt x="651" y="100"/>
                    <a:pt x="651" y="100"/>
                  </a:cubicBezTo>
                  <a:cubicBezTo>
                    <a:pt x="679" y="100"/>
                    <a:pt x="701" y="77"/>
                    <a:pt x="701" y="50"/>
                  </a:cubicBezTo>
                  <a:cubicBezTo>
                    <a:pt x="701" y="22"/>
                    <a:pt x="679" y="0"/>
                    <a:pt x="651" y="0"/>
                  </a:cubicBezTo>
                </a:path>
              </a:pathLst>
            </a:custGeom>
            <a:noFill/>
            <a:ln>
              <a:noFill/>
            </a:ln>
          </p:spPr>
          <p:txBody>
            <a:bodyPr vert="horz" wrap="square" lIns="121920" tIns="60960" rIns="121920" bIns="60960" numCol="1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r>
                <a:rPr kumimoji="0" lang="en-US" sz="1200" b="0" i="0" u="none" strike="noStrike" kern="0" cap="none" spc="0" normalizeH="0" baseline="0" noProof="0">
                  <a:ln>
                    <a:noFill/>
                  </a:ln>
                  <a:solidFill>
                    <a:srgbClr val="14284A"/>
                  </a:solidFill>
                  <a:effectLst/>
                  <a:uLnTx/>
                  <a:uFillTx/>
                  <a:latin typeface="CiscoSansTT Light" panose="020B0503020201020303" pitchFamily="34" charset="0"/>
                  <a:ea typeface="+mn-ea"/>
                  <a:cs typeface="CiscoSansTT Light" panose="020B0503020201020303" pitchFamily="34" charset="0"/>
                  <a:sym typeface="Arial"/>
                </a:rPr>
                <a:t>Feb</a:t>
              </a:r>
            </a:p>
          </p:txBody>
        </p:sp>
        <p:sp>
          <p:nvSpPr>
            <p:cNvPr id="62" name="Freeform 8">
              <a:extLst>
                <a:ext uri="{FF2B5EF4-FFF2-40B4-BE49-F238E27FC236}">
                  <a16:creationId xmlns:a16="http://schemas.microsoft.com/office/drawing/2014/main" id="{1106F45F-4D86-43D4-A933-3E6E33C33916}"/>
                </a:ext>
              </a:extLst>
            </p:cNvPr>
            <p:cNvSpPr>
              <a:spLocks/>
            </p:cNvSpPr>
            <p:nvPr/>
          </p:nvSpPr>
          <p:spPr bwMode="auto">
            <a:xfrm>
              <a:off x="2561358" y="3762657"/>
              <a:ext cx="796274" cy="302683"/>
            </a:xfrm>
            <a:custGeom>
              <a:avLst/>
              <a:gdLst>
                <a:gd name="T0" fmla="*/ 651 w 701"/>
                <a:gd name="T1" fmla="*/ 0 h 100"/>
                <a:gd name="T2" fmla="*/ 50 w 701"/>
                <a:gd name="T3" fmla="*/ 0 h 100"/>
                <a:gd name="T4" fmla="*/ 0 w 701"/>
                <a:gd name="T5" fmla="*/ 50 h 100"/>
                <a:gd name="T6" fmla="*/ 50 w 701"/>
                <a:gd name="T7" fmla="*/ 100 h 100"/>
                <a:gd name="T8" fmla="*/ 651 w 701"/>
                <a:gd name="T9" fmla="*/ 100 h 100"/>
                <a:gd name="T10" fmla="*/ 701 w 701"/>
                <a:gd name="T11" fmla="*/ 50 h 100"/>
                <a:gd name="T12" fmla="*/ 651 w 701"/>
                <a:gd name="T13" fmla="*/ 0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01" h="100">
                  <a:moveTo>
                    <a:pt x="651" y="0"/>
                  </a:moveTo>
                  <a:cubicBezTo>
                    <a:pt x="50" y="0"/>
                    <a:pt x="50" y="0"/>
                    <a:pt x="50" y="0"/>
                  </a:cubicBezTo>
                  <a:cubicBezTo>
                    <a:pt x="22" y="0"/>
                    <a:pt x="0" y="22"/>
                    <a:pt x="0" y="50"/>
                  </a:cubicBezTo>
                  <a:cubicBezTo>
                    <a:pt x="0" y="77"/>
                    <a:pt x="22" y="100"/>
                    <a:pt x="50" y="100"/>
                  </a:cubicBezTo>
                  <a:cubicBezTo>
                    <a:pt x="651" y="100"/>
                    <a:pt x="651" y="100"/>
                    <a:pt x="651" y="100"/>
                  </a:cubicBezTo>
                  <a:cubicBezTo>
                    <a:pt x="679" y="100"/>
                    <a:pt x="701" y="77"/>
                    <a:pt x="701" y="50"/>
                  </a:cubicBezTo>
                  <a:cubicBezTo>
                    <a:pt x="701" y="22"/>
                    <a:pt x="679" y="0"/>
                    <a:pt x="651" y="0"/>
                  </a:cubicBezTo>
                </a:path>
              </a:pathLst>
            </a:custGeom>
            <a:noFill/>
            <a:ln>
              <a:noFill/>
            </a:ln>
          </p:spPr>
          <p:txBody>
            <a:bodyPr vert="horz" wrap="square" lIns="121920" tIns="60960" rIns="121920" bIns="60960" numCol="1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r>
                <a:rPr kumimoji="0" lang="en-US" sz="1200" b="0" i="0" u="none" strike="noStrike" kern="0" cap="none" spc="0" normalizeH="0" baseline="0" noProof="0">
                  <a:ln>
                    <a:noFill/>
                  </a:ln>
                  <a:solidFill>
                    <a:srgbClr val="14284A"/>
                  </a:solidFill>
                  <a:effectLst/>
                  <a:uLnTx/>
                  <a:uFillTx/>
                  <a:latin typeface="CiscoSansTT Light" panose="020B0503020201020303" pitchFamily="34" charset="0"/>
                  <a:ea typeface="+mn-ea"/>
                  <a:cs typeface="CiscoSansTT Light" panose="020B0503020201020303" pitchFamily="34" charset="0"/>
                  <a:sym typeface="Arial"/>
                </a:rPr>
                <a:t>Mar</a:t>
              </a:r>
            </a:p>
          </p:txBody>
        </p:sp>
        <p:sp>
          <p:nvSpPr>
            <p:cNvPr id="63" name="Freeform 9">
              <a:extLst>
                <a:ext uri="{FF2B5EF4-FFF2-40B4-BE49-F238E27FC236}">
                  <a16:creationId xmlns:a16="http://schemas.microsoft.com/office/drawing/2014/main" id="{21FA13DB-EEC2-4B8E-982C-FA110723A2AB}"/>
                </a:ext>
              </a:extLst>
            </p:cNvPr>
            <p:cNvSpPr>
              <a:spLocks/>
            </p:cNvSpPr>
            <p:nvPr/>
          </p:nvSpPr>
          <p:spPr bwMode="auto">
            <a:xfrm>
              <a:off x="3457501" y="3762657"/>
              <a:ext cx="796274" cy="302683"/>
            </a:xfrm>
            <a:custGeom>
              <a:avLst/>
              <a:gdLst>
                <a:gd name="T0" fmla="*/ 652 w 702"/>
                <a:gd name="T1" fmla="*/ 0 h 100"/>
                <a:gd name="T2" fmla="*/ 50 w 702"/>
                <a:gd name="T3" fmla="*/ 0 h 100"/>
                <a:gd name="T4" fmla="*/ 0 w 702"/>
                <a:gd name="T5" fmla="*/ 50 h 100"/>
                <a:gd name="T6" fmla="*/ 50 w 702"/>
                <a:gd name="T7" fmla="*/ 100 h 100"/>
                <a:gd name="T8" fmla="*/ 652 w 702"/>
                <a:gd name="T9" fmla="*/ 100 h 100"/>
                <a:gd name="T10" fmla="*/ 702 w 702"/>
                <a:gd name="T11" fmla="*/ 50 h 100"/>
                <a:gd name="T12" fmla="*/ 652 w 702"/>
                <a:gd name="T13" fmla="*/ 0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02" h="100">
                  <a:moveTo>
                    <a:pt x="652" y="0"/>
                  </a:moveTo>
                  <a:cubicBezTo>
                    <a:pt x="50" y="0"/>
                    <a:pt x="50" y="0"/>
                    <a:pt x="50" y="0"/>
                  </a:cubicBezTo>
                  <a:cubicBezTo>
                    <a:pt x="23" y="0"/>
                    <a:pt x="0" y="22"/>
                    <a:pt x="0" y="50"/>
                  </a:cubicBezTo>
                  <a:cubicBezTo>
                    <a:pt x="0" y="77"/>
                    <a:pt x="23" y="100"/>
                    <a:pt x="50" y="100"/>
                  </a:cubicBezTo>
                  <a:cubicBezTo>
                    <a:pt x="652" y="100"/>
                    <a:pt x="652" y="100"/>
                    <a:pt x="652" y="100"/>
                  </a:cubicBezTo>
                  <a:cubicBezTo>
                    <a:pt x="679" y="100"/>
                    <a:pt x="702" y="77"/>
                    <a:pt x="702" y="50"/>
                  </a:cubicBezTo>
                  <a:cubicBezTo>
                    <a:pt x="702" y="22"/>
                    <a:pt x="679" y="0"/>
                    <a:pt x="652" y="0"/>
                  </a:cubicBezTo>
                </a:path>
              </a:pathLst>
            </a:custGeom>
            <a:noFill/>
            <a:ln>
              <a:noFill/>
            </a:ln>
          </p:spPr>
          <p:txBody>
            <a:bodyPr vert="horz" wrap="square" lIns="121920" tIns="60960" rIns="121920" bIns="60960" numCol="1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r>
                <a:rPr kumimoji="0" lang="en-US" sz="1200" b="0" i="0" u="none" strike="noStrike" kern="0" cap="none" spc="0" normalizeH="0" baseline="0" noProof="0">
                  <a:ln>
                    <a:noFill/>
                  </a:ln>
                  <a:solidFill>
                    <a:srgbClr val="14284A"/>
                  </a:solidFill>
                  <a:effectLst/>
                  <a:uLnTx/>
                  <a:uFillTx/>
                  <a:latin typeface="CiscoSansTT Light" panose="020B0503020201020303" pitchFamily="34" charset="0"/>
                  <a:ea typeface="+mn-ea"/>
                  <a:cs typeface="CiscoSansTT Light" panose="020B0503020201020303" pitchFamily="34" charset="0"/>
                  <a:sym typeface="Arial"/>
                </a:rPr>
                <a:t>Apr</a:t>
              </a:r>
            </a:p>
          </p:txBody>
        </p:sp>
        <p:sp>
          <p:nvSpPr>
            <p:cNvPr id="64" name="Freeform 10">
              <a:extLst>
                <a:ext uri="{FF2B5EF4-FFF2-40B4-BE49-F238E27FC236}">
                  <a16:creationId xmlns:a16="http://schemas.microsoft.com/office/drawing/2014/main" id="{F1179DC8-206C-45F1-AA65-084725EF8E66}"/>
                </a:ext>
              </a:extLst>
            </p:cNvPr>
            <p:cNvSpPr>
              <a:spLocks/>
            </p:cNvSpPr>
            <p:nvPr/>
          </p:nvSpPr>
          <p:spPr bwMode="auto">
            <a:xfrm>
              <a:off x="4353644" y="3762657"/>
              <a:ext cx="796274" cy="302683"/>
            </a:xfrm>
            <a:custGeom>
              <a:avLst/>
              <a:gdLst>
                <a:gd name="T0" fmla="*/ 651 w 701"/>
                <a:gd name="T1" fmla="*/ 0 h 100"/>
                <a:gd name="T2" fmla="*/ 50 w 701"/>
                <a:gd name="T3" fmla="*/ 0 h 100"/>
                <a:gd name="T4" fmla="*/ 0 w 701"/>
                <a:gd name="T5" fmla="*/ 50 h 100"/>
                <a:gd name="T6" fmla="*/ 50 w 701"/>
                <a:gd name="T7" fmla="*/ 100 h 100"/>
                <a:gd name="T8" fmla="*/ 651 w 701"/>
                <a:gd name="T9" fmla="*/ 100 h 100"/>
                <a:gd name="T10" fmla="*/ 701 w 701"/>
                <a:gd name="T11" fmla="*/ 50 h 100"/>
                <a:gd name="T12" fmla="*/ 651 w 701"/>
                <a:gd name="T13" fmla="*/ 0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01" h="100">
                  <a:moveTo>
                    <a:pt x="651" y="0"/>
                  </a:moveTo>
                  <a:cubicBezTo>
                    <a:pt x="50" y="0"/>
                    <a:pt x="50" y="0"/>
                    <a:pt x="50" y="0"/>
                  </a:cubicBezTo>
                  <a:cubicBezTo>
                    <a:pt x="22" y="0"/>
                    <a:pt x="0" y="22"/>
                    <a:pt x="0" y="50"/>
                  </a:cubicBezTo>
                  <a:cubicBezTo>
                    <a:pt x="0" y="77"/>
                    <a:pt x="22" y="100"/>
                    <a:pt x="50" y="100"/>
                  </a:cubicBezTo>
                  <a:cubicBezTo>
                    <a:pt x="651" y="100"/>
                    <a:pt x="651" y="100"/>
                    <a:pt x="651" y="100"/>
                  </a:cubicBezTo>
                  <a:cubicBezTo>
                    <a:pt x="679" y="100"/>
                    <a:pt x="701" y="77"/>
                    <a:pt x="701" y="50"/>
                  </a:cubicBezTo>
                  <a:cubicBezTo>
                    <a:pt x="701" y="22"/>
                    <a:pt x="679" y="0"/>
                    <a:pt x="651" y="0"/>
                  </a:cubicBezTo>
                </a:path>
              </a:pathLst>
            </a:custGeom>
            <a:noFill/>
            <a:ln>
              <a:noFill/>
            </a:ln>
          </p:spPr>
          <p:txBody>
            <a:bodyPr vert="horz" wrap="square" lIns="121920" tIns="60960" rIns="121920" bIns="60960" numCol="1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r>
                <a:rPr kumimoji="0" lang="en-US" sz="1200" b="0" i="0" u="none" strike="noStrike" kern="0" cap="none" spc="0" normalizeH="0" baseline="0" noProof="0">
                  <a:ln>
                    <a:noFill/>
                  </a:ln>
                  <a:solidFill>
                    <a:srgbClr val="14284A"/>
                  </a:solidFill>
                  <a:effectLst/>
                  <a:uLnTx/>
                  <a:uFillTx/>
                  <a:latin typeface="CiscoSansTT Light" panose="020B0503020201020303" pitchFamily="34" charset="0"/>
                  <a:ea typeface="+mn-ea"/>
                  <a:cs typeface="CiscoSansTT Light" panose="020B0503020201020303" pitchFamily="34" charset="0"/>
                  <a:sym typeface="Arial"/>
                </a:rPr>
                <a:t>May</a:t>
              </a:r>
            </a:p>
          </p:txBody>
        </p:sp>
        <p:sp>
          <p:nvSpPr>
            <p:cNvPr id="65" name="Freeform 9">
              <a:extLst>
                <a:ext uri="{FF2B5EF4-FFF2-40B4-BE49-F238E27FC236}">
                  <a16:creationId xmlns:a16="http://schemas.microsoft.com/office/drawing/2014/main" id="{09D2423B-9C63-423F-9EE0-956EC72622F0}"/>
                </a:ext>
              </a:extLst>
            </p:cNvPr>
            <p:cNvSpPr>
              <a:spLocks/>
            </p:cNvSpPr>
            <p:nvPr/>
          </p:nvSpPr>
          <p:spPr bwMode="auto">
            <a:xfrm>
              <a:off x="5249787" y="3762657"/>
              <a:ext cx="796274" cy="302683"/>
            </a:xfrm>
            <a:custGeom>
              <a:avLst/>
              <a:gdLst>
                <a:gd name="T0" fmla="*/ 652 w 702"/>
                <a:gd name="T1" fmla="*/ 0 h 100"/>
                <a:gd name="T2" fmla="*/ 50 w 702"/>
                <a:gd name="T3" fmla="*/ 0 h 100"/>
                <a:gd name="T4" fmla="*/ 0 w 702"/>
                <a:gd name="T5" fmla="*/ 50 h 100"/>
                <a:gd name="T6" fmla="*/ 50 w 702"/>
                <a:gd name="T7" fmla="*/ 100 h 100"/>
                <a:gd name="T8" fmla="*/ 652 w 702"/>
                <a:gd name="T9" fmla="*/ 100 h 100"/>
                <a:gd name="T10" fmla="*/ 702 w 702"/>
                <a:gd name="T11" fmla="*/ 50 h 100"/>
                <a:gd name="T12" fmla="*/ 652 w 702"/>
                <a:gd name="T13" fmla="*/ 0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02" h="100">
                  <a:moveTo>
                    <a:pt x="652" y="0"/>
                  </a:moveTo>
                  <a:cubicBezTo>
                    <a:pt x="50" y="0"/>
                    <a:pt x="50" y="0"/>
                    <a:pt x="50" y="0"/>
                  </a:cubicBezTo>
                  <a:cubicBezTo>
                    <a:pt x="23" y="0"/>
                    <a:pt x="0" y="22"/>
                    <a:pt x="0" y="50"/>
                  </a:cubicBezTo>
                  <a:cubicBezTo>
                    <a:pt x="0" y="77"/>
                    <a:pt x="23" y="100"/>
                    <a:pt x="50" y="100"/>
                  </a:cubicBezTo>
                  <a:cubicBezTo>
                    <a:pt x="652" y="100"/>
                    <a:pt x="652" y="100"/>
                    <a:pt x="652" y="100"/>
                  </a:cubicBezTo>
                  <a:cubicBezTo>
                    <a:pt x="679" y="100"/>
                    <a:pt x="702" y="77"/>
                    <a:pt x="702" y="50"/>
                  </a:cubicBezTo>
                  <a:cubicBezTo>
                    <a:pt x="702" y="22"/>
                    <a:pt x="679" y="0"/>
                    <a:pt x="652" y="0"/>
                  </a:cubicBezTo>
                </a:path>
              </a:pathLst>
            </a:custGeom>
            <a:noFill/>
            <a:ln>
              <a:noFill/>
            </a:ln>
          </p:spPr>
          <p:txBody>
            <a:bodyPr vert="horz" wrap="square" lIns="121920" tIns="60960" rIns="121920" bIns="60960" numCol="1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r>
                <a:rPr kumimoji="0" lang="en-US" sz="1200" b="0" i="0" u="none" strike="noStrike" kern="0" cap="none" spc="0" normalizeH="0" baseline="0" noProof="0">
                  <a:ln>
                    <a:noFill/>
                  </a:ln>
                  <a:solidFill>
                    <a:srgbClr val="14284A"/>
                  </a:solidFill>
                  <a:effectLst/>
                  <a:uLnTx/>
                  <a:uFillTx/>
                  <a:latin typeface="CiscoSansTT Light" panose="020B0503020201020303" pitchFamily="34" charset="0"/>
                  <a:ea typeface="+mn-ea"/>
                  <a:cs typeface="CiscoSansTT Light" panose="020B0503020201020303" pitchFamily="34" charset="0"/>
                  <a:sym typeface="Arial"/>
                </a:rPr>
                <a:t>Jun</a:t>
              </a:r>
            </a:p>
          </p:txBody>
        </p:sp>
        <p:sp>
          <p:nvSpPr>
            <p:cNvPr id="66" name="Freeform 10">
              <a:extLst>
                <a:ext uri="{FF2B5EF4-FFF2-40B4-BE49-F238E27FC236}">
                  <a16:creationId xmlns:a16="http://schemas.microsoft.com/office/drawing/2014/main" id="{42E994B2-83AA-47C5-ABD4-5101025430EE}"/>
                </a:ext>
              </a:extLst>
            </p:cNvPr>
            <p:cNvSpPr>
              <a:spLocks/>
            </p:cNvSpPr>
            <p:nvPr/>
          </p:nvSpPr>
          <p:spPr bwMode="auto">
            <a:xfrm>
              <a:off x="6145930" y="3762657"/>
              <a:ext cx="796274" cy="302683"/>
            </a:xfrm>
            <a:custGeom>
              <a:avLst/>
              <a:gdLst>
                <a:gd name="T0" fmla="*/ 651 w 701"/>
                <a:gd name="T1" fmla="*/ 0 h 100"/>
                <a:gd name="T2" fmla="*/ 50 w 701"/>
                <a:gd name="T3" fmla="*/ 0 h 100"/>
                <a:gd name="T4" fmla="*/ 0 w 701"/>
                <a:gd name="T5" fmla="*/ 50 h 100"/>
                <a:gd name="T6" fmla="*/ 50 w 701"/>
                <a:gd name="T7" fmla="*/ 100 h 100"/>
                <a:gd name="T8" fmla="*/ 651 w 701"/>
                <a:gd name="T9" fmla="*/ 100 h 100"/>
                <a:gd name="T10" fmla="*/ 701 w 701"/>
                <a:gd name="T11" fmla="*/ 50 h 100"/>
                <a:gd name="T12" fmla="*/ 651 w 701"/>
                <a:gd name="T13" fmla="*/ 0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01" h="100">
                  <a:moveTo>
                    <a:pt x="651" y="0"/>
                  </a:moveTo>
                  <a:cubicBezTo>
                    <a:pt x="50" y="0"/>
                    <a:pt x="50" y="0"/>
                    <a:pt x="50" y="0"/>
                  </a:cubicBezTo>
                  <a:cubicBezTo>
                    <a:pt x="22" y="0"/>
                    <a:pt x="0" y="22"/>
                    <a:pt x="0" y="50"/>
                  </a:cubicBezTo>
                  <a:cubicBezTo>
                    <a:pt x="0" y="77"/>
                    <a:pt x="22" y="100"/>
                    <a:pt x="50" y="100"/>
                  </a:cubicBezTo>
                  <a:cubicBezTo>
                    <a:pt x="651" y="100"/>
                    <a:pt x="651" y="100"/>
                    <a:pt x="651" y="100"/>
                  </a:cubicBezTo>
                  <a:cubicBezTo>
                    <a:pt x="679" y="100"/>
                    <a:pt x="701" y="77"/>
                    <a:pt x="701" y="50"/>
                  </a:cubicBezTo>
                  <a:cubicBezTo>
                    <a:pt x="701" y="22"/>
                    <a:pt x="679" y="0"/>
                    <a:pt x="651" y="0"/>
                  </a:cubicBezTo>
                </a:path>
              </a:pathLst>
            </a:custGeom>
            <a:noFill/>
            <a:ln>
              <a:noFill/>
            </a:ln>
          </p:spPr>
          <p:txBody>
            <a:bodyPr vert="horz" wrap="square" lIns="121920" tIns="60960" rIns="121920" bIns="60960" numCol="1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r>
                <a:rPr kumimoji="0" lang="en-US" sz="1200" b="0" i="0" u="none" strike="noStrike" kern="0" cap="none" spc="0" normalizeH="0" baseline="0" noProof="0">
                  <a:ln>
                    <a:noFill/>
                  </a:ln>
                  <a:solidFill>
                    <a:srgbClr val="14284A"/>
                  </a:solidFill>
                  <a:effectLst/>
                  <a:uLnTx/>
                  <a:uFillTx/>
                  <a:latin typeface="CiscoSansTT Light" panose="020B0503020201020303" pitchFamily="34" charset="0"/>
                  <a:ea typeface="+mn-ea"/>
                  <a:cs typeface="CiscoSansTT Light" panose="020B0503020201020303" pitchFamily="34" charset="0"/>
                  <a:sym typeface="Arial"/>
                </a:rPr>
                <a:t>Jul</a:t>
              </a:r>
            </a:p>
          </p:txBody>
        </p:sp>
        <p:sp>
          <p:nvSpPr>
            <p:cNvPr id="67" name="Freeform 6">
              <a:extLst>
                <a:ext uri="{FF2B5EF4-FFF2-40B4-BE49-F238E27FC236}">
                  <a16:creationId xmlns:a16="http://schemas.microsoft.com/office/drawing/2014/main" id="{74C2430E-DF80-4B57-A3D4-F229B30FCAC6}"/>
                </a:ext>
              </a:extLst>
            </p:cNvPr>
            <p:cNvSpPr>
              <a:spLocks/>
            </p:cNvSpPr>
            <p:nvPr/>
          </p:nvSpPr>
          <p:spPr bwMode="auto">
            <a:xfrm>
              <a:off x="769072" y="3762657"/>
              <a:ext cx="796274" cy="302683"/>
            </a:xfrm>
            <a:custGeom>
              <a:avLst/>
              <a:gdLst>
                <a:gd name="T0" fmla="*/ 652 w 702"/>
                <a:gd name="T1" fmla="*/ 0 h 100"/>
                <a:gd name="T2" fmla="*/ 50 w 702"/>
                <a:gd name="T3" fmla="*/ 0 h 100"/>
                <a:gd name="T4" fmla="*/ 0 w 702"/>
                <a:gd name="T5" fmla="*/ 50 h 100"/>
                <a:gd name="T6" fmla="*/ 50 w 702"/>
                <a:gd name="T7" fmla="*/ 100 h 100"/>
                <a:gd name="T8" fmla="*/ 652 w 702"/>
                <a:gd name="T9" fmla="*/ 100 h 100"/>
                <a:gd name="T10" fmla="*/ 702 w 702"/>
                <a:gd name="T11" fmla="*/ 50 h 100"/>
                <a:gd name="T12" fmla="*/ 652 w 702"/>
                <a:gd name="T13" fmla="*/ 0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02" h="100">
                  <a:moveTo>
                    <a:pt x="652" y="0"/>
                  </a:moveTo>
                  <a:cubicBezTo>
                    <a:pt x="50" y="0"/>
                    <a:pt x="50" y="0"/>
                    <a:pt x="50" y="0"/>
                  </a:cubicBezTo>
                  <a:cubicBezTo>
                    <a:pt x="23" y="0"/>
                    <a:pt x="0" y="22"/>
                    <a:pt x="0" y="50"/>
                  </a:cubicBezTo>
                  <a:cubicBezTo>
                    <a:pt x="0" y="77"/>
                    <a:pt x="23" y="100"/>
                    <a:pt x="50" y="100"/>
                  </a:cubicBezTo>
                  <a:cubicBezTo>
                    <a:pt x="652" y="100"/>
                    <a:pt x="652" y="100"/>
                    <a:pt x="652" y="100"/>
                  </a:cubicBezTo>
                  <a:cubicBezTo>
                    <a:pt x="679" y="100"/>
                    <a:pt x="702" y="77"/>
                    <a:pt x="702" y="50"/>
                  </a:cubicBezTo>
                  <a:cubicBezTo>
                    <a:pt x="702" y="22"/>
                    <a:pt x="679" y="0"/>
                    <a:pt x="652" y="0"/>
                  </a:cubicBezTo>
                </a:path>
              </a:pathLst>
            </a:custGeom>
            <a:noFill/>
            <a:ln>
              <a:noFill/>
            </a:ln>
          </p:spPr>
          <p:txBody>
            <a:bodyPr vert="horz" wrap="square" lIns="121920" tIns="60960" rIns="121920" bIns="60960" numCol="1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r>
                <a:rPr kumimoji="0" lang="en-US" sz="1200" b="0" i="0" u="none" strike="noStrike" kern="0" cap="none" spc="0" normalizeH="0" baseline="0" noProof="0">
                  <a:ln>
                    <a:noFill/>
                  </a:ln>
                  <a:solidFill>
                    <a:srgbClr val="14284A"/>
                  </a:solidFill>
                  <a:effectLst/>
                  <a:uLnTx/>
                  <a:uFillTx/>
                  <a:latin typeface="CiscoSansTT Light" panose="020B0503020201020303" pitchFamily="34" charset="0"/>
                  <a:ea typeface="+mn-ea"/>
                  <a:cs typeface="CiscoSansTT Light" panose="020B0503020201020303" pitchFamily="34" charset="0"/>
                  <a:sym typeface="Arial"/>
                </a:rPr>
                <a:t>Jan</a:t>
              </a:r>
            </a:p>
          </p:txBody>
        </p:sp>
        <p:sp>
          <p:nvSpPr>
            <p:cNvPr id="68" name="Freeform 8">
              <a:extLst>
                <a:ext uri="{FF2B5EF4-FFF2-40B4-BE49-F238E27FC236}">
                  <a16:creationId xmlns:a16="http://schemas.microsoft.com/office/drawing/2014/main" id="{F5B8F04F-A300-415C-A0AC-0B37C545E901}"/>
                </a:ext>
              </a:extLst>
            </p:cNvPr>
            <p:cNvSpPr>
              <a:spLocks/>
            </p:cNvSpPr>
            <p:nvPr/>
          </p:nvSpPr>
          <p:spPr bwMode="auto">
            <a:xfrm>
              <a:off x="7042073" y="3762657"/>
              <a:ext cx="796274" cy="302683"/>
            </a:xfrm>
            <a:custGeom>
              <a:avLst/>
              <a:gdLst>
                <a:gd name="T0" fmla="*/ 651 w 701"/>
                <a:gd name="T1" fmla="*/ 0 h 100"/>
                <a:gd name="T2" fmla="*/ 50 w 701"/>
                <a:gd name="T3" fmla="*/ 0 h 100"/>
                <a:gd name="T4" fmla="*/ 0 w 701"/>
                <a:gd name="T5" fmla="*/ 50 h 100"/>
                <a:gd name="T6" fmla="*/ 50 w 701"/>
                <a:gd name="T7" fmla="*/ 100 h 100"/>
                <a:gd name="T8" fmla="*/ 651 w 701"/>
                <a:gd name="T9" fmla="*/ 100 h 100"/>
                <a:gd name="T10" fmla="*/ 701 w 701"/>
                <a:gd name="T11" fmla="*/ 50 h 100"/>
                <a:gd name="T12" fmla="*/ 651 w 701"/>
                <a:gd name="T13" fmla="*/ 0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01" h="100">
                  <a:moveTo>
                    <a:pt x="651" y="0"/>
                  </a:moveTo>
                  <a:cubicBezTo>
                    <a:pt x="50" y="0"/>
                    <a:pt x="50" y="0"/>
                    <a:pt x="50" y="0"/>
                  </a:cubicBezTo>
                  <a:cubicBezTo>
                    <a:pt x="22" y="0"/>
                    <a:pt x="0" y="22"/>
                    <a:pt x="0" y="50"/>
                  </a:cubicBezTo>
                  <a:cubicBezTo>
                    <a:pt x="0" y="77"/>
                    <a:pt x="22" y="100"/>
                    <a:pt x="50" y="100"/>
                  </a:cubicBezTo>
                  <a:cubicBezTo>
                    <a:pt x="651" y="100"/>
                    <a:pt x="651" y="100"/>
                    <a:pt x="651" y="100"/>
                  </a:cubicBezTo>
                  <a:cubicBezTo>
                    <a:pt x="679" y="100"/>
                    <a:pt x="701" y="77"/>
                    <a:pt x="701" y="50"/>
                  </a:cubicBezTo>
                  <a:cubicBezTo>
                    <a:pt x="701" y="22"/>
                    <a:pt x="679" y="0"/>
                    <a:pt x="651" y="0"/>
                  </a:cubicBezTo>
                </a:path>
              </a:pathLst>
            </a:custGeom>
            <a:noFill/>
            <a:ln>
              <a:noFill/>
            </a:ln>
          </p:spPr>
          <p:txBody>
            <a:bodyPr vert="horz" wrap="square" lIns="121920" tIns="60960" rIns="121920" bIns="60960" numCol="1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r>
                <a:rPr kumimoji="0" lang="en-US" sz="1200" b="0" i="0" u="none" strike="noStrike" kern="0" cap="none" spc="0" normalizeH="0" baseline="0" noProof="0">
                  <a:ln>
                    <a:noFill/>
                  </a:ln>
                  <a:solidFill>
                    <a:srgbClr val="14284A"/>
                  </a:solidFill>
                  <a:effectLst/>
                  <a:uLnTx/>
                  <a:uFillTx/>
                  <a:latin typeface="CiscoSansTT Light" panose="020B0503020201020303" pitchFamily="34" charset="0"/>
                  <a:ea typeface="+mn-ea"/>
                  <a:cs typeface="CiscoSansTT Light" panose="020B0503020201020303" pitchFamily="34" charset="0"/>
                  <a:sym typeface="Arial"/>
                </a:rPr>
                <a:t>Aug</a:t>
              </a:r>
            </a:p>
          </p:txBody>
        </p:sp>
        <p:sp>
          <p:nvSpPr>
            <p:cNvPr id="69" name="Freeform 9">
              <a:extLst>
                <a:ext uri="{FF2B5EF4-FFF2-40B4-BE49-F238E27FC236}">
                  <a16:creationId xmlns:a16="http://schemas.microsoft.com/office/drawing/2014/main" id="{63158A99-2AA8-49E6-8F58-4ABC96D07E69}"/>
                </a:ext>
              </a:extLst>
            </p:cNvPr>
            <p:cNvSpPr>
              <a:spLocks/>
            </p:cNvSpPr>
            <p:nvPr/>
          </p:nvSpPr>
          <p:spPr bwMode="auto">
            <a:xfrm>
              <a:off x="7938216" y="3762657"/>
              <a:ext cx="796274" cy="302683"/>
            </a:xfrm>
            <a:custGeom>
              <a:avLst/>
              <a:gdLst>
                <a:gd name="T0" fmla="*/ 652 w 702"/>
                <a:gd name="T1" fmla="*/ 0 h 100"/>
                <a:gd name="T2" fmla="*/ 50 w 702"/>
                <a:gd name="T3" fmla="*/ 0 h 100"/>
                <a:gd name="T4" fmla="*/ 0 w 702"/>
                <a:gd name="T5" fmla="*/ 50 h 100"/>
                <a:gd name="T6" fmla="*/ 50 w 702"/>
                <a:gd name="T7" fmla="*/ 100 h 100"/>
                <a:gd name="T8" fmla="*/ 652 w 702"/>
                <a:gd name="T9" fmla="*/ 100 h 100"/>
                <a:gd name="T10" fmla="*/ 702 w 702"/>
                <a:gd name="T11" fmla="*/ 50 h 100"/>
                <a:gd name="T12" fmla="*/ 652 w 702"/>
                <a:gd name="T13" fmla="*/ 0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02" h="100">
                  <a:moveTo>
                    <a:pt x="652" y="0"/>
                  </a:moveTo>
                  <a:cubicBezTo>
                    <a:pt x="50" y="0"/>
                    <a:pt x="50" y="0"/>
                    <a:pt x="50" y="0"/>
                  </a:cubicBezTo>
                  <a:cubicBezTo>
                    <a:pt x="23" y="0"/>
                    <a:pt x="0" y="22"/>
                    <a:pt x="0" y="50"/>
                  </a:cubicBezTo>
                  <a:cubicBezTo>
                    <a:pt x="0" y="77"/>
                    <a:pt x="23" y="100"/>
                    <a:pt x="50" y="100"/>
                  </a:cubicBezTo>
                  <a:cubicBezTo>
                    <a:pt x="652" y="100"/>
                    <a:pt x="652" y="100"/>
                    <a:pt x="652" y="100"/>
                  </a:cubicBezTo>
                  <a:cubicBezTo>
                    <a:pt x="679" y="100"/>
                    <a:pt x="702" y="77"/>
                    <a:pt x="702" y="50"/>
                  </a:cubicBezTo>
                  <a:cubicBezTo>
                    <a:pt x="702" y="22"/>
                    <a:pt x="679" y="0"/>
                    <a:pt x="652" y="0"/>
                  </a:cubicBezTo>
                </a:path>
              </a:pathLst>
            </a:custGeom>
            <a:noFill/>
            <a:ln>
              <a:noFill/>
            </a:ln>
          </p:spPr>
          <p:txBody>
            <a:bodyPr vert="horz" wrap="square" lIns="121920" tIns="60960" rIns="121920" bIns="60960" numCol="1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r>
                <a:rPr kumimoji="0" lang="en-US" sz="1200" b="0" i="0" u="none" strike="noStrike" kern="0" cap="none" spc="0" normalizeH="0" baseline="0" noProof="0">
                  <a:ln>
                    <a:noFill/>
                  </a:ln>
                  <a:solidFill>
                    <a:srgbClr val="14284A"/>
                  </a:solidFill>
                  <a:effectLst/>
                  <a:uLnTx/>
                  <a:uFillTx/>
                  <a:latin typeface="CiscoSansTT Light" panose="020B0503020201020303" pitchFamily="34" charset="0"/>
                  <a:ea typeface="+mn-ea"/>
                  <a:cs typeface="CiscoSansTT Light" panose="020B0503020201020303" pitchFamily="34" charset="0"/>
                  <a:sym typeface="Arial"/>
                </a:rPr>
                <a:t>Sep</a:t>
              </a:r>
            </a:p>
          </p:txBody>
        </p:sp>
        <p:sp>
          <p:nvSpPr>
            <p:cNvPr id="71" name="Freeform 10">
              <a:extLst>
                <a:ext uri="{FF2B5EF4-FFF2-40B4-BE49-F238E27FC236}">
                  <a16:creationId xmlns:a16="http://schemas.microsoft.com/office/drawing/2014/main" id="{C1BC0E00-4249-4979-9CA6-E3399C0A8143}"/>
                </a:ext>
              </a:extLst>
            </p:cNvPr>
            <p:cNvSpPr>
              <a:spLocks/>
            </p:cNvSpPr>
            <p:nvPr/>
          </p:nvSpPr>
          <p:spPr bwMode="auto">
            <a:xfrm>
              <a:off x="8834359" y="3762657"/>
              <a:ext cx="796274" cy="302683"/>
            </a:xfrm>
            <a:custGeom>
              <a:avLst/>
              <a:gdLst>
                <a:gd name="T0" fmla="*/ 651 w 701"/>
                <a:gd name="T1" fmla="*/ 0 h 100"/>
                <a:gd name="T2" fmla="*/ 50 w 701"/>
                <a:gd name="T3" fmla="*/ 0 h 100"/>
                <a:gd name="T4" fmla="*/ 0 w 701"/>
                <a:gd name="T5" fmla="*/ 50 h 100"/>
                <a:gd name="T6" fmla="*/ 50 w 701"/>
                <a:gd name="T7" fmla="*/ 100 h 100"/>
                <a:gd name="T8" fmla="*/ 651 w 701"/>
                <a:gd name="T9" fmla="*/ 100 h 100"/>
                <a:gd name="T10" fmla="*/ 701 w 701"/>
                <a:gd name="T11" fmla="*/ 50 h 100"/>
                <a:gd name="T12" fmla="*/ 651 w 701"/>
                <a:gd name="T13" fmla="*/ 0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01" h="100">
                  <a:moveTo>
                    <a:pt x="651" y="0"/>
                  </a:moveTo>
                  <a:cubicBezTo>
                    <a:pt x="50" y="0"/>
                    <a:pt x="50" y="0"/>
                    <a:pt x="50" y="0"/>
                  </a:cubicBezTo>
                  <a:cubicBezTo>
                    <a:pt x="22" y="0"/>
                    <a:pt x="0" y="22"/>
                    <a:pt x="0" y="50"/>
                  </a:cubicBezTo>
                  <a:cubicBezTo>
                    <a:pt x="0" y="77"/>
                    <a:pt x="22" y="100"/>
                    <a:pt x="50" y="100"/>
                  </a:cubicBezTo>
                  <a:cubicBezTo>
                    <a:pt x="651" y="100"/>
                    <a:pt x="651" y="100"/>
                    <a:pt x="651" y="100"/>
                  </a:cubicBezTo>
                  <a:cubicBezTo>
                    <a:pt x="679" y="100"/>
                    <a:pt x="701" y="77"/>
                    <a:pt x="701" y="50"/>
                  </a:cubicBezTo>
                  <a:cubicBezTo>
                    <a:pt x="701" y="22"/>
                    <a:pt x="679" y="0"/>
                    <a:pt x="651" y="0"/>
                  </a:cubicBezTo>
                </a:path>
              </a:pathLst>
            </a:custGeom>
            <a:noFill/>
            <a:ln>
              <a:noFill/>
            </a:ln>
          </p:spPr>
          <p:txBody>
            <a:bodyPr vert="horz" wrap="square" lIns="121920" tIns="60960" rIns="121920" bIns="60960" numCol="1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r>
                <a:rPr kumimoji="0" lang="en-US" sz="1200" b="0" i="0" u="none" strike="noStrike" kern="0" cap="none" spc="0" normalizeH="0" baseline="0" noProof="0">
                  <a:ln>
                    <a:noFill/>
                  </a:ln>
                  <a:solidFill>
                    <a:srgbClr val="14284A"/>
                  </a:solidFill>
                  <a:effectLst/>
                  <a:uLnTx/>
                  <a:uFillTx/>
                  <a:latin typeface="CiscoSansTT Light" panose="020B0503020201020303" pitchFamily="34" charset="0"/>
                  <a:ea typeface="+mn-ea"/>
                  <a:cs typeface="CiscoSansTT Light" panose="020B0503020201020303" pitchFamily="34" charset="0"/>
                  <a:sym typeface="Arial"/>
                </a:rPr>
                <a:t>Oct</a:t>
              </a:r>
            </a:p>
          </p:txBody>
        </p:sp>
        <p:sp>
          <p:nvSpPr>
            <p:cNvPr id="72" name="Freeform 9">
              <a:extLst>
                <a:ext uri="{FF2B5EF4-FFF2-40B4-BE49-F238E27FC236}">
                  <a16:creationId xmlns:a16="http://schemas.microsoft.com/office/drawing/2014/main" id="{279EA740-722F-4988-BF36-5F75091BC95B}"/>
                </a:ext>
              </a:extLst>
            </p:cNvPr>
            <p:cNvSpPr>
              <a:spLocks/>
            </p:cNvSpPr>
            <p:nvPr/>
          </p:nvSpPr>
          <p:spPr bwMode="auto">
            <a:xfrm>
              <a:off x="9730502" y="3762657"/>
              <a:ext cx="796274" cy="302683"/>
            </a:xfrm>
            <a:custGeom>
              <a:avLst/>
              <a:gdLst>
                <a:gd name="T0" fmla="*/ 652 w 702"/>
                <a:gd name="T1" fmla="*/ 0 h 100"/>
                <a:gd name="T2" fmla="*/ 50 w 702"/>
                <a:gd name="T3" fmla="*/ 0 h 100"/>
                <a:gd name="T4" fmla="*/ 0 w 702"/>
                <a:gd name="T5" fmla="*/ 50 h 100"/>
                <a:gd name="T6" fmla="*/ 50 w 702"/>
                <a:gd name="T7" fmla="*/ 100 h 100"/>
                <a:gd name="T8" fmla="*/ 652 w 702"/>
                <a:gd name="T9" fmla="*/ 100 h 100"/>
                <a:gd name="T10" fmla="*/ 702 w 702"/>
                <a:gd name="T11" fmla="*/ 50 h 100"/>
                <a:gd name="T12" fmla="*/ 652 w 702"/>
                <a:gd name="T13" fmla="*/ 0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02" h="100">
                  <a:moveTo>
                    <a:pt x="652" y="0"/>
                  </a:moveTo>
                  <a:cubicBezTo>
                    <a:pt x="50" y="0"/>
                    <a:pt x="50" y="0"/>
                    <a:pt x="50" y="0"/>
                  </a:cubicBezTo>
                  <a:cubicBezTo>
                    <a:pt x="23" y="0"/>
                    <a:pt x="0" y="22"/>
                    <a:pt x="0" y="50"/>
                  </a:cubicBezTo>
                  <a:cubicBezTo>
                    <a:pt x="0" y="77"/>
                    <a:pt x="23" y="100"/>
                    <a:pt x="50" y="100"/>
                  </a:cubicBezTo>
                  <a:cubicBezTo>
                    <a:pt x="652" y="100"/>
                    <a:pt x="652" y="100"/>
                    <a:pt x="652" y="100"/>
                  </a:cubicBezTo>
                  <a:cubicBezTo>
                    <a:pt x="679" y="100"/>
                    <a:pt x="702" y="77"/>
                    <a:pt x="702" y="50"/>
                  </a:cubicBezTo>
                  <a:cubicBezTo>
                    <a:pt x="702" y="22"/>
                    <a:pt x="679" y="0"/>
                    <a:pt x="652" y="0"/>
                  </a:cubicBezTo>
                </a:path>
              </a:pathLst>
            </a:custGeom>
            <a:noFill/>
            <a:ln>
              <a:noFill/>
            </a:ln>
          </p:spPr>
          <p:txBody>
            <a:bodyPr vert="horz" wrap="square" lIns="121920" tIns="60960" rIns="121920" bIns="60960" numCol="1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r>
                <a:rPr kumimoji="0" lang="en-US" sz="1200" b="0" i="0" u="none" strike="noStrike" kern="0" cap="none" spc="0" normalizeH="0" baseline="0" noProof="0">
                  <a:ln>
                    <a:noFill/>
                  </a:ln>
                  <a:solidFill>
                    <a:srgbClr val="14284A"/>
                  </a:solidFill>
                  <a:effectLst/>
                  <a:uLnTx/>
                  <a:uFillTx/>
                  <a:latin typeface="CiscoSansTT Light" panose="020B0503020201020303" pitchFamily="34" charset="0"/>
                  <a:ea typeface="+mn-ea"/>
                  <a:cs typeface="CiscoSansTT Light" panose="020B0503020201020303" pitchFamily="34" charset="0"/>
                  <a:sym typeface="Arial"/>
                </a:rPr>
                <a:t>Nov</a:t>
              </a:r>
            </a:p>
          </p:txBody>
        </p:sp>
        <p:sp>
          <p:nvSpPr>
            <p:cNvPr id="73" name="Freeform 9">
              <a:extLst>
                <a:ext uri="{FF2B5EF4-FFF2-40B4-BE49-F238E27FC236}">
                  <a16:creationId xmlns:a16="http://schemas.microsoft.com/office/drawing/2014/main" id="{1C21222A-FC80-48A7-B268-3A9AC4B68431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26645" y="3762657"/>
              <a:ext cx="796274" cy="302683"/>
            </a:xfrm>
            <a:custGeom>
              <a:avLst/>
              <a:gdLst>
                <a:gd name="T0" fmla="*/ 652 w 702"/>
                <a:gd name="T1" fmla="*/ 0 h 100"/>
                <a:gd name="T2" fmla="*/ 50 w 702"/>
                <a:gd name="T3" fmla="*/ 0 h 100"/>
                <a:gd name="T4" fmla="*/ 0 w 702"/>
                <a:gd name="T5" fmla="*/ 50 h 100"/>
                <a:gd name="T6" fmla="*/ 50 w 702"/>
                <a:gd name="T7" fmla="*/ 100 h 100"/>
                <a:gd name="T8" fmla="*/ 652 w 702"/>
                <a:gd name="T9" fmla="*/ 100 h 100"/>
                <a:gd name="T10" fmla="*/ 702 w 702"/>
                <a:gd name="T11" fmla="*/ 50 h 100"/>
                <a:gd name="T12" fmla="*/ 652 w 702"/>
                <a:gd name="T13" fmla="*/ 0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02" h="100">
                  <a:moveTo>
                    <a:pt x="652" y="0"/>
                  </a:moveTo>
                  <a:cubicBezTo>
                    <a:pt x="50" y="0"/>
                    <a:pt x="50" y="0"/>
                    <a:pt x="50" y="0"/>
                  </a:cubicBezTo>
                  <a:cubicBezTo>
                    <a:pt x="23" y="0"/>
                    <a:pt x="0" y="22"/>
                    <a:pt x="0" y="50"/>
                  </a:cubicBezTo>
                  <a:cubicBezTo>
                    <a:pt x="0" y="77"/>
                    <a:pt x="23" y="100"/>
                    <a:pt x="50" y="100"/>
                  </a:cubicBezTo>
                  <a:cubicBezTo>
                    <a:pt x="652" y="100"/>
                    <a:pt x="652" y="100"/>
                    <a:pt x="652" y="100"/>
                  </a:cubicBezTo>
                  <a:cubicBezTo>
                    <a:pt x="679" y="100"/>
                    <a:pt x="702" y="77"/>
                    <a:pt x="702" y="50"/>
                  </a:cubicBezTo>
                  <a:cubicBezTo>
                    <a:pt x="702" y="22"/>
                    <a:pt x="679" y="0"/>
                    <a:pt x="652" y="0"/>
                  </a:cubicBezTo>
                </a:path>
              </a:pathLst>
            </a:custGeom>
            <a:noFill/>
            <a:ln>
              <a:noFill/>
            </a:ln>
          </p:spPr>
          <p:txBody>
            <a:bodyPr vert="horz" wrap="square" lIns="121920" tIns="60960" rIns="121920" bIns="60960" numCol="1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r>
                <a:rPr kumimoji="0" lang="en-US" sz="1200" b="0" i="0" u="none" strike="noStrike" kern="0" cap="none" spc="0" normalizeH="0" baseline="0" noProof="0">
                  <a:ln>
                    <a:noFill/>
                  </a:ln>
                  <a:solidFill>
                    <a:srgbClr val="14284A"/>
                  </a:solidFill>
                  <a:effectLst/>
                  <a:uLnTx/>
                  <a:uFillTx/>
                  <a:latin typeface="CiscoSansTT Light" panose="020B0503020201020303" pitchFamily="34" charset="0"/>
                  <a:ea typeface="+mn-ea"/>
                  <a:cs typeface="CiscoSansTT Light" panose="020B0503020201020303" pitchFamily="34" charset="0"/>
                  <a:sym typeface="Arial"/>
                </a:rPr>
                <a:t>Dec</a:t>
              </a:r>
            </a:p>
          </p:txBody>
        </p:sp>
        <p:cxnSp>
          <p:nvCxnSpPr>
            <p:cNvPr id="74" name="Straight Connector 73">
              <a:extLst>
                <a:ext uri="{FF2B5EF4-FFF2-40B4-BE49-F238E27FC236}">
                  <a16:creationId xmlns:a16="http://schemas.microsoft.com/office/drawing/2014/main" id="{DC452E0D-F79B-4EE1-9555-E4E1DA0AFD28}"/>
                </a:ext>
              </a:extLst>
            </p:cNvPr>
            <p:cNvCxnSpPr>
              <a:cxnSpLocks/>
            </p:cNvCxnSpPr>
            <p:nvPr/>
          </p:nvCxnSpPr>
          <p:spPr>
            <a:xfrm>
              <a:off x="1615281" y="3798905"/>
              <a:ext cx="0" cy="230187"/>
            </a:xfrm>
            <a:prstGeom prst="line">
              <a:avLst/>
            </a:prstGeom>
            <a:ln w="12700" cap="rnd"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5" name="Straight Connector 74">
              <a:extLst>
                <a:ext uri="{FF2B5EF4-FFF2-40B4-BE49-F238E27FC236}">
                  <a16:creationId xmlns:a16="http://schemas.microsoft.com/office/drawing/2014/main" id="{D0FCFF9E-63C2-40F6-9802-8EF0041FE6D3}"/>
                </a:ext>
              </a:extLst>
            </p:cNvPr>
            <p:cNvCxnSpPr>
              <a:cxnSpLocks/>
            </p:cNvCxnSpPr>
            <p:nvPr/>
          </p:nvCxnSpPr>
          <p:spPr>
            <a:xfrm>
              <a:off x="2511424" y="3777473"/>
              <a:ext cx="0" cy="273050"/>
            </a:xfrm>
            <a:prstGeom prst="line">
              <a:avLst/>
            </a:prstGeom>
            <a:ln w="12700" cap="rnd"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6" name="Straight Connector 75">
              <a:extLst>
                <a:ext uri="{FF2B5EF4-FFF2-40B4-BE49-F238E27FC236}">
                  <a16:creationId xmlns:a16="http://schemas.microsoft.com/office/drawing/2014/main" id="{FD0A918A-148A-46E6-976D-602A0C4BC96F}"/>
                </a:ext>
              </a:extLst>
            </p:cNvPr>
            <p:cNvCxnSpPr>
              <a:cxnSpLocks/>
            </p:cNvCxnSpPr>
            <p:nvPr/>
          </p:nvCxnSpPr>
          <p:spPr>
            <a:xfrm>
              <a:off x="3407567" y="3777473"/>
              <a:ext cx="0" cy="273050"/>
            </a:xfrm>
            <a:prstGeom prst="line">
              <a:avLst/>
            </a:prstGeom>
            <a:ln w="12700" cap="rnd"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7" name="Straight Connector 76">
              <a:extLst>
                <a:ext uri="{FF2B5EF4-FFF2-40B4-BE49-F238E27FC236}">
                  <a16:creationId xmlns:a16="http://schemas.microsoft.com/office/drawing/2014/main" id="{26C1F658-4BE5-4B97-93F2-A00AA571CBF1}"/>
                </a:ext>
              </a:extLst>
            </p:cNvPr>
            <p:cNvCxnSpPr>
              <a:cxnSpLocks/>
            </p:cNvCxnSpPr>
            <p:nvPr/>
          </p:nvCxnSpPr>
          <p:spPr>
            <a:xfrm>
              <a:off x="4303710" y="3777473"/>
              <a:ext cx="0" cy="273050"/>
            </a:xfrm>
            <a:prstGeom prst="line">
              <a:avLst/>
            </a:prstGeom>
            <a:ln w="12700" cap="rnd"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8" name="Straight Connector 77">
              <a:extLst>
                <a:ext uri="{FF2B5EF4-FFF2-40B4-BE49-F238E27FC236}">
                  <a16:creationId xmlns:a16="http://schemas.microsoft.com/office/drawing/2014/main" id="{288CF92B-0D47-4FA8-ABF1-908A60E02D04}"/>
                </a:ext>
              </a:extLst>
            </p:cNvPr>
            <p:cNvCxnSpPr>
              <a:cxnSpLocks/>
            </p:cNvCxnSpPr>
            <p:nvPr/>
          </p:nvCxnSpPr>
          <p:spPr>
            <a:xfrm>
              <a:off x="5199853" y="3777473"/>
              <a:ext cx="0" cy="273050"/>
            </a:xfrm>
            <a:prstGeom prst="line">
              <a:avLst/>
            </a:prstGeom>
            <a:ln w="12700" cap="rnd"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9" name="Straight Connector 78">
              <a:extLst>
                <a:ext uri="{FF2B5EF4-FFF2-40B4-BE49-F238E27FC236}">
                  <a16:creationId xmlns:a16="http://schemas.microsoft.com/office/drawing/2014/main" id="{757E478C-57B5-4F12-9C5E-5E42D922C715}"/>
                </a:ext>
              </a:extLst>
            </p:cNvPr>
            <p:cNvCxnSpPr>
              <a:cxnSpLocks/>
            </p:cNvCxnSpPr>
            <p:nvPr/>
          </p:nvCxnSpPr>
          <p:spPr>
            <a:xfrm>
              <a:off x="6095996" y="3777473"/>
              <a:ext cx="0" cy="273050"/>
            </a:xfrm>
            <a:prstGeom prst="line">
              <a:avLst/>
            </a:prstGeom>
            <a:ln w="12700" cap="rnd"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0" name="Straight Connector 79">
              <a:extLst>
                <a:ext uri="{FF2B5EF4-FFF2-40B4-BE49-F238E27FC236}">
                  <a16:creationId xmlns:a16="http://schemas.microsoft.com/office/drawing/2014/main" id="{47EE1F30-0F83-47C3-B4A5-391F746C25E3}"/>
                </a:ext>
              </a:extLst>
            </p:cNvPr>
            <p:cNvCxnSpPr>
              <a:cxnSpLocks/>
            </p:cNvCxnSpPr>
            <p:nvPr/>
          </p:nvCxnSpPr>
          <p:spPr>
            <a:xfrm>
              <a:off x="6992139" y="3777473"/>
              <a:ext cx="0" cy="273050"/>
            </a:xfrm>
            <a:prstGeom prst="line">
              <a:avLst/>
            </a:prstGeom>
            <a:ln w="12700" cap="rnd"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1" name="Straight Connector 80">
              <a:extLst>
                <a:ext uri="{FF2B5EF4-FFF2-40B4-BE49-F238E27FC236}">
                  <a16:creationId xmlns:a16="http://schemas.microsoft.com/office/drawing/2014/main" id="{380E2422-D0CE-4FC1-A82B-FA10395E8BA5}"/>
                </a:ext>
              </a:extLst>
            </p:cNvPr>
            <p:cNvCxnSpPr>
              <a:cxnSpLocks/>
            </p:cNvCxnSpPr>
            <p:nvPr/>
          </p:nvCxnSpPr>
          <p:spPr>
            <a:xfrm>
              <a:off x="7888282" y="3777473"/>
              <a:ext cx="0" cy="273050"/>
            </a:xfrm>
            <a:prstGeom prst="line">
              <a:avLst/>
            </a:prstGeom>
            <a:ln w="12700" cap="rnd"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2" name="Straight Connector 81">
              <a:extLst>
                <a:ext uri="{FF2B5EF4-FFF2-40B4-BE49-F238E27FC236}">
                  <a16:creationId xmlns:a16="http://schemas.microsoft.com/office/drawing/2014/main" id="{E7657B22-D5FE-4371-B3F3-3AF02E86CC79}"/>
                </a:ext>
              </a:extLst>
            </p:cNvPr>
            <p:cNvCxnSpPr>
              <a:cxnSpLocks/>
            </p:cNvCxnSpPr>
            <p:nvPr/>
          </p:nvCxnSpPr>
          <p:spPr>
            <a:xfrm>
              <a:off x="8784425" y="3777473"/>
              <a:ext cx="0" cy="273050"/>
            </a:xfrm>
            <a:prstGeom prst="line">
              <a:avLst/>
            </a:prstGeom>
            <a:ln w="12700" cap="rnd"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3" name="Straight Connector 82">
              <a:extLst>
                <a:ext uri="{FF2B5EF4-FFF2-40B4-BE49-F238E27FC236}">
                  <a16:creationId xmlns:a16="http://schemas.microsoft.com/office/drawing/2014/main" id="{D5483490-65BA-4D5F-82DF-54C297591DF4}"/>
                </a:ext>
              </a:extLst>
            </p:cNvPr>
            <p:cNvCxnSpPr>
              <a:cxnSpLocks/>
            </p:cNvCxnSpPr>
            <p:nvPr/>
          </p:nvCxnSpPr>
          <p:spPr>
            <a:xfrm>
              <a:off x="9680568" y="3777473"/>
              <a:ext cx="0" cy="273050"/>
            </a:xfrm>
            <a:prstGeom prst="line">
              <a:avLst/>
            </a:prstGeom>
            <a:ln w="12700" cap="rnd"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4" name="Straight Connector 83">
              <a:extLst>
                <a:ext uri="{FF2B5EF4-FFF2-40B4-BE49-F238E27FC236}">
                  <a16:creationId xmlns:a16="http://schemas.microsoft.com/office/drawing/2014/main" id="{2E2EB718-40C3-4CEA-8DB8-D7C140F1FA36}"/>
                </a:ext>
              </a:extLst>
            </p:cNvPr>
            <p:cNvCxnSpPr>
              <a:cxnSpLocks/>
            </p:cNvCxnSpPr>
            <p:nvPr/>
          </p:nvCxnSpPr>
          <p:spPr>
            <a:xfrm>
              <a:off x="10576711" y="3777473"/>
              <a:ext cx="0" cy="273050"/>
            </a:xfrm>
            <a:prstGeom prst="line">
              <a:avLst/>
            </a:prstGeom>
            <a:ln w="12700" cap="rnd"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9" name="Triangle 79">
            <a:extLst>
              <a:ext uri="{FF2B5EF4-FFF2-40B4-BE49-F238E27FC236}">
                <a16:creationId xmlns:a16="http://schemas.microsoft.com/office/drawing/2014/main" id="{8F32C3F9-C5D1-4755-9BE5-C98A58C485F3}"/>
              </a:ext>
            </a:extLst>
          </p:cNvPr>
          <p:cNvSpPr/>
          <p:nvPr/>
        </p:nvSpPr>
        <p:spPr>
          <a:xfrm>
            <a:off x="2345299" y="3252786"/>
            <a:ext cx="322656" cy="163514"/>
          </a:xfrm>
          <a:prstGeom prst="triangl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endParaRPr kumimoji="0" lang="en-US" sz="1467" b="0" i="0" u="none" strike="noStrike" kern="1200" cap="none" spc="0" normalizeH="0" baseline="0" noProof="0">
              <a:ln>
                <a:noFill/>
              </a:ln>
              <a:solidFill>
                <a:srgbClr val="005073"/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83889E93-F5B1-427F-B9E6-12541111C32A}"/>
              </a:ext>
            </a:extLst>
          </p:cNvPr>
          <p:cNvCxnSpPr>
            <a:cxnSpLocks/>
          </p:cNvCxnSpPr>
          <p:nvPr/>
        </p:nvCxnSpPr>
        <p:spPr>
          <a:xfrm flipH="1">
            <a:off x="714304" y="3416300"/>
            <a:ext cx="3584646" cy="0"/>
          </a:xfrm>
          <a:prstGeom prst="line">
            <a:avLst/>
          </a:prstGeom>
          <a:ln w="12700" cap="rnd">
            <a:solidFill>
              <a:schemeClr val="bg2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riangle 79">
            <a:extLst>
              <a:ext uri="{FF2B5EF4-FFF2-40B4-BE49-F238E27FC236}">
                <a16:creationId xmlns:a16="http://schemas.microsoft.com/office/drawing/2014/main" id="{CB4EEBB6-B729-480B-99B7-DE2027BE0571}"/>
              </a:ext>
            </a:extLst>
          </p:cNvPr>
          <p:cNvSpPr/>
          <p:nvPr/>
        </p:nvSpPr>
        <p:spPr>
          <a:xfrm>
            <a:off x="6901384" y="3260975"/>
            <a:ext cx="322656" cy="163514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endParaRPr kumimoji="0" lang="en-US" sz="1467" b="0" i="0" u="none" strike="noStrike" kern="1200" cap="none" spc="0" normalizeH="0" baseline="0" noProof="0">
              <a:ln>
                <a:noFill/>
              </a:ln>
              <a:solidFill>
                <a:srgbClr val="005073"/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E87B5E60-D782-40E8-8884-060D1BADDD83}"/>
              </a:ext>
            </a:extLst>
          </p:cNvPr>
          <p:cNvCxnSpPr>
            <a:cxnSpLocks/>
          </p:cNvCxnSpPr>
          <p:nvPr/>
        </p:nvCxnSpPr>
        <p:spPr>
          <a:xfrm flipH="1">
            <a:off x="5342021" y="3416300"/>
            <a:ext cx="3440031" cy="0"/>
          </a:xfrm>
          <a:prstGeom prst="line">
            <a:avLst/>
          </a:prstGeom>
          <a:ln w="12700" cap="rnd">
            <a:solidFill>
              <a:schemeClr val="accent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riangle 79">
            <a:extLst>
              <a:ext uri="{FF2B5EF4-FFF2-40B4-BE49-F238E27FC236}">
                <a16:creationId xmlns:a16="http://schemas.microsoft.com/office/drawing/2014/main" id="{47E77B3D-9C30-4F50-80ED-B56CE27BC362}"/>
              </a:ext>
            </a:extLst>
          </p:cNvPr>
          <p:cNvSpPr/>
          <p:nvPr/>
        </p:nvSpPr>
        <p:spPr>
          <a:xfrm rot="10800000">
            <a:off x="7211830" y="4322761"/>
            <a:ext cx="322656" cy="163514"/>
          </a:xfrm>
          <a:prstGeom prst="triangl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endParaRPr kumimoji="0" lang="en-US" sz="1467" b="0" i="0" u="none" strike="noStrike" kern="1200" cap="none" spc="0" normalizeH="0" baseline="0" noProof="0">
              <a:ln>
                <a:noFill/>
              </a:ln>
              <a:solidFill>
                <a:srgbClr val="005073"/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855507D4-184C-4F04-AB41-1C5A6C4D172D}"/>
              </a:ext>
            </a:extLst>
          </p:cNvPr>
          <p:cNvCxnSpPr>
            <a:cxnSpLocks/>
          </p:cNvCxnSpPr>
          <p:nvPr/>
        </p:nvCxnSpPr>
        <p:spPr>
          <a:xfrm>
            <a:off x="3324542" y="4322763"/>
            <a:ext cx="7587139" cy="0"/>
          </a:xfrm>
          <a:prstGeom prst="line">
            <a:avLst/>
          </a:prstGeom>
          <a:ln w="12700" cap="rnd">
            <a:solidFill>
              <a:schemeClr val="accent2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Title 4">
            <a:extLst>
              <a:ext uri="{FF2B5EF4-FFF2-40B4-BE49-F238E27FC236}">
                <a16:creationId xmlns:a16="http://schemas.microsoft.com/office/drawing/2014/main" id="{58B1FAA0-176E-4964-BD53-09F5D02891D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00163" y="494133"/>
            <a:ext cx="10753725" cy="906462"/>
          </a:xfrm>
        </p:spPr>
        <p:txBody>
          <a:bodyPr/>
          <a:lstStyle/>
          <a:p>
            <a:r>
              <a:rPr lang="en-US" sz="2000">
                <a:solidFill>
                  <a:schemeClr val="bg1">
                    <a:lumMod val="50000"/>
                  </a:schemeClr>
                </a:solidFill>
              </a:rPr>
              <a:t>Specialized Expertise</a:t>
            </a:r>
            <a:br>
              <a:rPr lang="en-US"/>
            </a:br>
            <a:r>
              <a:rPr lang="en-US"/>
              <a:t>Example projects: acquisition and IT merger</a:t>
            </a:r>
            <a:br>
              <a:rPr lang="en-US"/>
            </a:br>
            <a:r>
              <a:rPr lang="en-US" sz="2400">
                <a:solidFill>
                  <a:schemeClr val="accent4"/>
                </a:solidFill>
              </a:rPr>
              <a:t>Urgent need to enable communications and business applications</a:t>
            </a:r>
            <a:br>
              <a:rPr lang="en-US" sz="2400">
                <a:solidFill>
                  <a:schemeClr val="accent4"/>
                </a:solidFill>
              </a:rPr>
            </a:br>
            <a:endParaRPr lang="en-AU" sz="2400">
              <a:solidFill>
                <a:schemeClr val="accent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75315778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" name="Oval 121">
            <a:extLst>
              <a:ext uri="{FF2B5EF4-FFF2-40B4-BE49-F238E27FC236}">
                <a16:creationId xmlns:a16="http://schemas.microsoft.com/office/drawing/2014/main" id="{78FB50FE-1BAE-4FDA-8A1C-AF8D9FC353FA}"/>
              </a:ext>
            </a:extLst>
          </p:cNvPr>
          <p:cNvSpPr/>
          <p:nvPr/>
        </p:nvSpPr>
        <p:spPr>
          <a:xfrm>
            <a:off x="680177" y="5093994"/>
            <a:ext cx="567771" cy="567771"/>
          </a:xfrm>
          <a:prstGeom prst="ellipse">
            <a:avLst/>
          </a:prstGeom>
          <a:solidFill>
            <a:srgbClr val="F5F6F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AU" sz="1100" b="0" i="0" u="none" strike="noStrike" kern="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iscoSansTT ExtraLight"/>
              <a:ea typeface="+mn-ea"/>
              <a:cs typeface="+mn-cs"/>
              <a:sym typeface="Arial"/>
            </a:endParaRPr>
          </a:p>
        </p:txBody>
      </p:sp>
      <p:sp>
        <p:nvSpPr>
          <p:cNvPr id="119" name="Oval 118">
            <a:extLst>
              <a:ext uri="{FF2B5EF4-FFF2-40B4-BE49-F238E27FC236}">
                <a16:creationId xmlns:a16="http://schemas.microsoft.com/office/drawing/2014/main" id="{51CC867E-46EF-4C82-A93B-DDDD707600AA}"/>
              </a:ext>
            </a:extLst>
          </p:cNvPr>
          <p:cNvSpPr/>
          <p:nvPr/>
        </p:nvSpPr>
        <p:spPr>
          <a:xfrm>
            <a:off x="680177" y="3939172"/>
            <a:ext cx="567771" cy="567771"/>
          </a:xfrm>
          <a:prstGeom prst="ellipse">
            <a:avLst/>
          </a:prstGeom>
          <a:solidFill>
            <a:srgbClr val="F5F6F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AU" sz="1100" b="0" i="0" u="none" strike="noStrike" kern="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iscoSansTT ExtraLight"/>
              <a:ea typeface="+mn-ea"/>
              <a:cs typeface="+mn-cs"/>
              <a:sym typeface="Arial"/>
            </a:endParaRPr>
          </a:p>
        </p:txBody>
      </p:sp>
      <p:sp>
        <p:nvSpPr>
          <p:cNvPr id="2" name="Oval 1">
            <a:extLst>
              <a:ext uri="{FF2B5EF4-FFF2-40B4-BE49-F238E27FC236}">
                <a16:creationId xmlns:a16="http://schemas.microsoft.com/office/drawing/2014/main" id="{9FC140A4-88E3-4374-BB5B-D8E8273C3325}"/>
              </a:ext>
            </a:extLst>
          </p:cNvPr>
          <p:cNvSpPr/>
          <p:nvPr/>
        </p:nvSpPr>
        <p:spPr>
          <a:xfrm>
            <a:off x="680177" y="2784350"/>
            <a:ext cx="567771" cy="567771"/>
          </a:xfrm>
          <a:prstGeom prst="ellipse">
            <a:avLst/>
          </a:prstGeom>
          <a:solidFill>
            <a:srgbClr val="F5F6F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AU" sz="1100" b="0" i="0" u="none" strike="noStrike" kern="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iscoSansTT ExtraLight"/>
              <a:ea typeface="+mn-ea"/>
              <a:cs typeface="+mn-cs"/>
              <a:sym typeface="Arial"/>
            </a:endParaRP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B50536F6-8107-4BE0-9A07-0BC81AC9A3B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3864" y="371283"/>
            <a:ext cx="10752667" cy="905874"/>
          </a:xfrm>
        </p:spPr>
        <p:txBody>
          <a:bodyPr/>
          <a:lstStyle/>
          <a:p>
            <a:r>
              <a:rPr lang="en-US" sz="2000">
                <a:solidFill>
                  <a:schemeClr val="bg1">
                    <a:lumMod val="50000"/>
                  </a:schemeClr>
                </a:solidFill>
              </a:rPr>
              <a:t>Specialized Expertise</a:t>
            </a:r>
            <a:br>
              <a:rPr lang="en-US"/>
            </a:br>
            <a:r>
              <a:rPr lang="en-US"/>
              <a:t>Example use case: Acquisition and IT merger</a:t>
            </a:r>
            <a:br>
              <a:rPr lang="en-US"/>
            </a:br>
            <a:r>
              <a:rPr lang="en-US" sz="2400">
                <a:solidFill>
                  <a:schemeClr val="accent4"/>
                </a:solidFill>
              </a:rPr>
              <a:t>Urgent need to enable communications and business applications</a:t>
            </a:r>
            <a:br>
              <a:rPr lang="en-US" sz="2400">
                <a:solidFill>
                  <a:schemeClr val="accent4"/>
                </a:solidFill>
              </a:rPr>
            </a:br>
            <a:endParaRPr lang="en-AU" sz="2400">
              <a:solidFill>
                <a:schemeClr val="accent4"/>
              </a:solidFill>
            </a:endParaRPr>
          </a:p>
        </p:txBody>
      </p:sp>
      <p:sp>
        <p:nvSpPr>
          <p:cNvPr id="6" name="Google Shape;1434;p210">
            <a:extLst>
              <a:ext uri="{FF2B5EF4-FFF2-40B4-BE49-F238E27FC236}">
                <a16:creationId xmlns:a16="http://schemas.microsoft.com/office/drawing/2014/main" id="{A736BEA4-F0B8-4662-B7CE-DA9056596DA3}"/>
              </a:ext>
            </a:extLst>
          </p:cNvPr>
          <p:cNvSpPr/>
          <p:nvPr/>
        </p:nvSpPr>
        <p:spPr>
          <a:xfrm>
            <a:off x="709467" y="2178163"/>
            <a:ext cx="3431937" cy="341200"/>
          </a:xfrm>
          <a:prstGeom prst="roundRect">
            <a:avLst>
              <a:gd name="adj" fmla="val 50000"/>
            </a:avLst>
          </a:prstGeom>
          <a:solidFill>
            <a:schemeClr val="bg2"/>
          </a:solidFill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005073"/>
              </a:buClr>
              <a:buSzPts val="1600"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iscoSansTT ExtraLight" panose="020B0303020201020303" pitchFamily="34" charset="0"/>
                <a:ea typeface="Helvetica Neue Light"/>
                <a:cs typeface="CiscoSansTT ExtraLight" panose="020B0303020201020303" pitchFamily="34" charset="0"/>
                <a:sym typeface="Helvetica Neue Light"/>
              </a:rPr>
              <a:t>Challenge</a:t>
            </a:r>
            <a:endParaRPr kumimoji="0" sz="14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iscoSansTT ExtraLight" panose="020B0303020201020303" pitchFamily="34" charset="0"/>
              <a:ea typeface="Helvetica Neue Light"/>
              <a:cs typeface="CiscoSansTT ExtraLight" panose="020B0303020201020303" pitchFamily="34" charset="0"/>
              <a:sym typeface="Helvetica Neue Light"/>
            </a:endParaRPr>
          </a:p>
        </p:txBody>
      </p:sp>
      <p:sp>
        <p:nvSpPr>
          <p:cNvPr id="26" name="Google Shape;1434;p210">
            <a:extLst>
              <a:ext uri="{FF2B5EF4-FFF2-40B4-BE49-F238E27FC236}">
                <a16:creationId xmlns:a16="http://schemas.microsoft.com/office/drawing/2014/main" id="{3FEAAF39-8F89-4803-ACEC-63E80B41AAAC}"/>
              </a:ext>
            </a:extLst>
          </p:cNvPr>
          <p:cNvSpPr/>
          <p:nvPr/>
        </p:nvSpPr>
        <p:spPr>
          <a:xfrm>
            <a:off x="4375197" y="2178163"/>
            <a:ext cx="3431937" cy="341200"/>
          </a:xfrm>
          <a:prstGeom prst="roundRect">
            <a:avLst>
              <a:gd name="adj" fmla="val 50000"/>
            </a:avLst>
          </a:prstGeom>
          <a:solidFill>
            <a:schemeClr val="bg2"/>
          </a:solidFill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005073"/>
              </a:buClr>
              <a:buSzPts val="1600"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iscoSansTT ExtraLight" panose="020B0303020201020303" pitchFamily="34" charset="0"/>
                <a:ea typeface="Helvetica Neue Light"/>
                <a:cs typeface="CiscoSansTT ExtraLight" panose="020B0303020201020303" pitchFamily="34" charset="0"/>
                <a:sym typeface="Helvetica Neue Light"/>
              </a:rPr>
              <a:t>Solution</a:t>
            </a:r>
            <a:endParaRPr kumimoji="0" sz="14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iscoSansTT ExtraLight" panose="020B0303020201020303" pitchFamily="34" charset="0"/>
              <a:ea typeface="Helvetica Neue Light"/>
              <a:cs typeface="CiscoSansTT ExtraLight" panose="020B0303020201020303" pitchFamily="34" charset="0"/>
              <a:sym typeface="Helvetica Neue Light"/>
            </a:endParaRPr>
          </a:p>
        </p:txBody>
      </p:sp>
      <p:sp>
        <p:nvSpPr>
          <p:cNvPr id="38" name="Google Shape;1434;p210">
            <a:extLst>
              <a:ext uri="{FF2B5EF4-FFF2-40B4-BE49-F238E27FC236}">
                <a16:creationId xmlns:a16="http://schemas.microsoft.com/office/drawing/2014/main" id="{EBE94DBD-C20C-4B5A-9E83-746AFBB788C9}"/>
              </a:ext>
            </a:extLst>
          </p:cNvPr>
          <p:cNvSpPr/>
          <p:nvPr/>
        </p:nvSpPr>
        <p:spPr>
          <a:xfrm>
            <a:off x="8040926" y="2178163"/>
            <a:ext cx="3431937" cy="341200"/>
          </a:xfrm>
          <a:prstGeom prst="roundRect">
            <a:avLst>
              <a:gd name="adj" fmla="val 50000"/>
            </a:avLst>
          </a:prstGeom>
          <a:solidFill>
            <a:schemeClr val="bg2"/>
          </a:solidFill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005073"/>
              </a:buClr>
              <a:buSzPts val="1600"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iscoSansTT ExtraLight" panose="020B0303020201020303" pitchFamily="34" charset="0"/>
                <a:ea typeface="Helvetica Neue Light"/>
                <a:cs typeface="CiscoSansTT ExtraLight" panose="020B0303020201020303" pitchFamily="34" charset="0"/>
                <a:sym typeface="Helvetica Neue Light"/>
              </a:rPr>
              <a:t>Projected Outcome</a:t>
            </a:r>
            <a:endParaRPr kumimoji="0" sz="14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iscoSansTT ExtraLight" panose="020B0303020201020303" pitchFamily="34" charset="0"/>
              <a:ea typeface="Helvetica Neue Light"/>
              <a:cs typeface="CiscoSansTT ExtraLight" panose="020B0303020201020303" pitchFamily="34" charset="0"/>
              <a:sym typeface="Helvetica Neue Light"/>
            </a:endParaRPr>
          </a:p>
        </p:txBody>
      </p:sp>
      <p:sp>
        <p:nvSpPr>
          <p:cNvPr id="11" name="Google Shape;791;p99">
            <a:extLst>
              <a:ext uri="{FF2B5EF4-FFF2-40B4-BE49-F238E27FC236}">
                <a16:creationId xmlns:a16="http://schemas.microsoft.com/office/drawing/2014/main" id="{CE6D275C-5E3C-4B82-A3E0-9E1FEABF9B3D}"/>
              </a:ext>
            </a:extLst>
          </p:cNvPr>
          <p:cNvSpPr/>
          <p:nvPr/>
        </p:nvSpPr>
        <p:spPr>
          <a:xfrm>
            <a:off x="1458278" y="2823435"/>
            <a:ext cx="2775600" cy="52927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defTabSz="914332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buClr>
                <a:srgbClr val="6EBE4A"/>
              </a:buClr>
              <a:buSzPct val="75000"/>
              <a:buFont typeface="Arial"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14284A"/>
                </a:solidFill>
                <a:effectLst/>
                <a:uLnTx/>
                <a:uFillTx/>
                <a:latin typeface="CiscoSansTT ExtraLight"/>
                <a:ea typeface="ＭＳ Ｐゴシック" charset="0"/>
                <a:cs typeface="CiscoSansTT" panose="020B0503020201020303" pitchFamily="34" charset="0"/>
                <a:sym typeface="Arial"/>
              </a:rPr>
              <a:t>Insufficient documentation/ visibility into acquired network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6691DCEE-624C-46DB-A2D4-E0D3B455DD78}"/>
              </a:ext>
            </a:extLst>
          </p:cNvPr>
          <p:cNvCxnSpPr>
            <a:cxnSpLocks/>
          </p:cNvCxnSpPr>
          <p:nvPr/>
        </p:nvCxnSpPr>
        <p:spPr>
          <a:xfrm flipV="1">
            <a:off x="726759" y="3810617"/>
            <a:ext cx="10753724" cy="1138"/>
          </a:xfrm>
          <a:prstGeom prst="line">
            <a:avLst/>
          </a:prstGeom>
          <a:ln w="12700" cap="rnd">
            <a:solidFill>
              <a:schemeClr val="bg1">
                <a:lumMod val="6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0A311BC4-0A09-46E7-BC3C-6209E2C179FC}"/>
              </a:ext>
            </a:extLst>
          </p:cNvPr>
          <p:cNvCxnSpPr>
            <a:cxnSpLocks/>
          </p:cNvCxnSpPr>
          <p:nvPr/>
        </p:nvCxnSpPr>
        <p:spPr>
          <a:xfrm flipV="1">
            <a:off x="726759" y="4965439"/>
            <a:ext cx="10753724" cy="1138"/>
          </a:xfrm>
          <a:prstGeom prst="line">
            <a:avLst/>
          </a:prstGeom>
          <a:ln w="12700" cap="rnd">
            <a:solidFill>
              <a:schemeClr val="bg1">
                <a:lumMod val="6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6" name="Google Shape;791;p99">
            <a:extLst>
              <a:ext uri="{FF2B5EF4-FFF2-40B4-BE49-F238E27FC236}">
                <a16:creationId xmlns:a16="http://schemas.microsoft.com/office/drawing/2014/main" id="{3583493B-BFC1-4612-A658-4CF2F357BBFC}"/>
              </a:ext>
            </a:extLst>
          </p:cNvPr>
          <p:cNvSpPr/>
          <p:nvPr/>
        </p:nvSpPr>
        <p:spPr>
          <a:xfrm>
            <a:off x="4814880" y="2823435"/>
            <a:ext cx="3071820" cy="52927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defTabSz="914332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buClr>
                <a:srgbClr val="14284A"/>
              </a:buClr>
              <a:buSzPct val="75000"/>
              <a:buFont typeface="Arial"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14284A"/>
                </a:solidFill>
                <a:effectLst/>
                <a:uLnTx/>
                <a:uFillTx/>
                <a:latin typeface="CiscoSansTT ExtraLight"/>
                <a:ea typeface="ＭＳ Ｐゴシック" charset="0"/>
                <a:cs typeface="CiscoSansTT" panose="020B0503020201020303" pitchFamily="34" charset="0"/>
                <a:sym typeface="Arial"/>
              </a:rPr>
              <a:t>Solution Architect and Consulting Engineer: </a:t>
            </a:r>
          </a:p>
          <a:p>
            <a:pPr marL="171450" marR="0" lvl="0" indent="-171450" algn="l" defTabSz="914332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buClr>
                <a:srgbClr val="14284A"/>
              </a:buClr>
              <a:buSzPct val="75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14284A"/>
                </a:solidFill>
                <a:effectLst/>
                <a:uLnTx/>
                <a:uFillTx/>
                <a:latin typeface="CiscoSansTT ExtraLight"/>
                <a:ea typeface="ＭＳ Ｐゴシック" charset="0"/>
                <a:cs typeface="CiscoSansTT" panose="020B0503020201020303" pitchFamily="34" charset="0"/>
                <a:sym typeface="Arial"/>
              </a:rPr>
              <a:t>Compile network insights</a:t>
            </a:r>
          </a:p>
          <a:p>
            <a:pPr marL="171450" marR="0" lvl="0" indent="-171450" algn="l" defTabSz="914332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buClr>
                <a:srgbClr val="14284A"/>
              </a:buClr>
              <a:buSzPct val="75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14284A"/>
                </a:solidFill>
                <a:effectLst/>
                <a:uLnTx/>
                <a:uFillTx/>
                <a:latin typeface="CiscoSansTT ExtraLight"/>
                <a:ea typeface="ＭＳ Ｐゴシック" charset="0"/>
                <a:cs typeface="CiscoSansTT" panose="020B0503020201020303" pitchFamily="34" charset="0"/>
                <a:sym typeface="Arial"/>
              </a:rPr>
              <a:t>Map architectures</a:t>
            </a:r>
          </a:p>
          <a:p>
            <a:pPr marL="171450" marR="0" lvl="0" indent="-171450" algn="l" defTabSz="914332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buClr>
                <a:srgbClr val="14284A"/>
              </a:buClr>
              <a:buSzPct val="75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14284A"/>
                </a:solidFill>
                <a:effectLst/>
                <a:uLnTx/>
                <a:uFillTx/>
                <a:latin typeface="CiscoSansTT ExtraLight"/>
                <a:ea typeface="ＭＳ Ｐゴシック" charset="0"/>
                <a:cs typeface="CiscoSansTT" panose="020B0503020201020303" pitchFamily="34" charset="0"/>
                <a:sym typeface="Arial"/>
              </a:rPr>
              <a:t>Assess current status of networks</a:t>
            </a:r>
          </a:p>
        </p:txBody>
      </p:sp>
      <p:sp>
        <p:nvSpPr>
          <p:cNvPr id="58" name="Google Shape;791;p99">
            <a:extLst>
              <a:ext uri="{FF2B5EF4-FFF2-40B4-BE49-F238E27FC236}">
                <a16:creationId xmlns:a16="http://schemas.microsoft.com/office/drawing/2014/main" id="{A2317652-A44A-4340-AF5A-A1D21976309B}"/>
              </a:ext>
            </a:extLst>
          </p:cNvPr>
          <p:cNvSpPr/>
          <p:nvPr/>
        </p:nvSpPr>
        <p:spPr>
          <a:xfrm>
            <a:off x="8480609" y="2823435"/>
            <a:ext cx="2686057" cy="52927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defTabSz="914332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buClr>
                <a:srgbClr val="14284A"/>
              </a:buClr>
              <a:buSzPct val="75000"/>
              <a:buFont typeface="Arial"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14284A"/>
                </a:solidFill>
                <a:effectLst/>
                <a:uLnTx/>
                <a:uFillTx/>
                <a:latin typeface="CiscoSansTT ExtraLight"/>
                <a:ea typeface="ＭＳ Ｐゴシック" charset="0"/>
                <a:cs typeface="CiscoSansTT" panose="020B0503020201020303" pitchFamily="34" charset="0"/>
                <a:sym typeface="Arial"/>
              </a:rPr>
              <a:t>Optimize architecture for greater efficiency and reduced costs</a:t>
            </a:r>
          </a:p>
        </p:txBody>
      </p:sp>
      <p:sp>
        <p:nvSpPr>
          <p:cNvPr id="59" name="Google Shape;791;p99">
            <a:extLst>
              <a:ext uri="{FF2B5EF4-FFF2-40B4-BE49-F238E27FC236}">
                <a16:creationId xmlns:a16="http://schemas.microsoft.com/office/drawing/2014/main" id="{9ED38741-6A68-4353-91A2-3CF4D61C94BD}"/>
              </a:ext>
            </a:extLst>
          </p:cNvPr>
          <p:cNvSpPr/>
          <p:nvPr/>
        </p:nvSpPr>
        <p:spPr>
          <a:xfrm>
            <a:off x="1458278" y="3978257"/>
            <a:ext cx="2125345" cy="52927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defTabSz="914332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buClr>
                <a:srgbClr val="6EBE4A"/>
              </a:buClr>
              <a:buSzPct val="75000"/>
              <a:buFont typeface="Arial"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14284A"/>
                </a:solidFill>
                <a:effectLst/>
                <a:uLnTx/>
                <a:uFillTx/>
                <a:latin typeface="CiscoSansTT ExtraLight"/>
                <a:ea typeface="ＭＳ Ｐゴシック" charset="0"/>
                <a:cs typeface="CiscoSansTT" panose="020B0503020201020303" pitchFamily="34" charset="0"/>
                <a:sym typeface="Arial"/>
              </a:rPr>
              <a:t>Tight timeline for regulatory compliance</a:t>
            </a:r>
          </a:p>
        </p:txBody>
      </p:sp>
      <p:sp>
        <p:nvSpPr>
          <p:cNvPr id="60" name="Google Shape;791;p99">
            <a:extLst>
              <a:ext uri="{FF2B5EF4-FFF2-40B4-BE49-F238E27FC236}">
                <a16:creationId xmlns:a16="http://schemas.microsoft.com/office/drawing/2014/main" id="{BD709411-0E73-4E7E-9CD0-ED2EE8620E3E}"/>
              </a:ext>
            </a:extLst>
          </p:cNvPr>
          <p:cNvSpPr/>
          <p:nvPr/>
        </p:nvSpPr>
        <p:spPr>
          <a:xfrm>
            <a:off x="4814880" y="3978257"/>
            <a:ext cx="3071820" cy="52927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defTabSz="914332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buClr>
                <a:srgbClr val="14284A"/>
              </a:buClr>
              <a:buSzPct val="75000"/>
              <a:buFont typeface="Arial"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14284A"/>
                </a:solidFill>
                <a:effectLst/>
                <a:uLnTx/>
                <a:uFillTx/>
                <a:latin typeface="CiscoSansTT ExtraLight"/>
                <a:ea typeface="ＭＳ Ｐゴシック" charset="0"/>
                <a:cs typeface="CiscoSansTT" panose="020B0503020201020303" pitchFamily="34" charset="0"/>
                <a:sym typeface="Arial"/>
              </a:rPr>
              <a:t>Consulting Engineer: </a:t>
            </a:r>
          </a:p>
          <a:p>
            <a:pPr marL="171450" marR="0" lvl="0" indent="-171450" algn="l" defTabSz="914332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buClr>
                <a:srgbClr val="14284A"/>
              </a:buClr>
              <a:buSzPct val="75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14284A"/>
                </a:solidFill>
                <a:effectLst/>
                <a:uLnTx/>
                <a:uFillTx/>
                <a:latin typeface="CiscoSansTT ExtraLight"/>
                <a:ea typeface="ＭＳ Ｐゴシック" charset="0"/>
                <a:cs typeface="CiscoSansTT" panose="020B0503020201020303" pitchFamily="34" charset="0"/>
                <a:sym typeface="Arial"/>
              </a:rPr>
              <a:t>Gather actionable versioning insights</a:t>
            </a:r>
          </a:p>
          <a:p>
            <a:pPr marL="171450" marR="0" lvl="0" indent="-171450" algn="l" defTabSz="914332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buClr>
                <a:srgbClr val="14284A"/>
              </a:buClr>
              <a:buSzPct val="75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14284A"/>
                </a:solidFill>
                <a:effectLst/>
                <a:uLnTx/>
                <a:uFillTx/>
                <a:latin typeface="CiscoSansTT ExtraLight"/>
                <a:ea typeface="ＭＳ Ｐゴシック" charset="0"/>
                <a:cs typeface="CiscoSansTT" panose="020B0503020201020303" pitchFamily="34" charset="0"/>
                <a:sym typeface="Arial"/>
              </a:rPr>
              <a:t>Provide recommendations</a:t>
            </a:r>
          </a:p>
          <a:p>
            <a:pPr marL="171450" marR="0" lvl="0" indent="-171450" algn="l" defTabSz="914332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buClr>
                <a:srgbClr val="14284A"/>
              </a:buClr>
              <a:buSzPct val="75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14284A"/>
                </a:solidFill>
                <a:effectLst/>
                <a:uLnTx/>
                <a:uFillTx/>
                <a:latin typeface="CiscoSansTT ExtraLight"/>
                <a:ea typeface="ＭＳ Ｐゴシック" charset="0"/>
                <a:cs typeface="CiscoSansTT" panose="020B0503020201020303" pitchFamily="34" charset="0"/>
                <a:sym typeface="Arial"/>
              </a:rPr>
              <a:t>Change window support</a:t>
            </a:r>
          </a:p>
          <a:p>
            <a:pPr marL="171450" marR="0" lvl="0" indent="-171450" algn="l" defTabSz="914332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buClr>
                <a:srgbClr val="14284A"/>
              </a:buClr>
              <a:buSzPct val="75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14284A"/>
                </a:solidFill>
                <a:effectLst/>
                <a:uLnTx/>
                <a:uFillTx/>
                <a:latin typeface="CiscoSansTT ExtraLight"/>
                <a:ea typeface="ＭＳ Ｐゴシック" charset="0"/>
                <a:cs typeface="CiscoSansTT" panose="020B0503020201020303" pitchFamily="34" charset="0"/>
                <a:sym typeface="Arial"/>
              </a:rPr>
              <a:t>Automated remediation</a:t>
            </a:r>
          </a:p>
        </p:txBody>
      </p:sp>
      <p:sp>
        <p:nvSpPr>
          <p:cNvPr id="61" name="Google Shape;791;p99">
            <a:extLst>
              <a:ext uri="{FF2B5EF4-FFF2-40B4-BE49-F238E27FC236}">
                <a16:creationId xmlns:a16="http://schemas.microsoft.com/office/drawing/2014/main" id="{E87C0219-D8E6-4727-B417-70577C4914EE}"/>
              </a:ext>
            </a:extLst>
          </p:cNvPr>
          <p:cNvSpPr/>
          <p:nvPr/>
        </p:nvSpPr>
        <p:spPr>
          <a:xfrm>
            <a:off x="8480609" y="3978257"/>
            <a:ext cx="2929897" cy="52927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defTabSz="914332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buClr>
                <a:srgbClr val="14284A"/>
              </a:buClr>
              <a:buSzPct val="75000"/>
              <a:buFont typeface="Arial"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14284A"/>
                </a:solidFill>
                <a:effectLst/>
                <a:uLnTx/>
                <a:uFillTx/>
                <a:latin typeface="CiscoSansTT ExtraLight"/>
                <a:ea typeface="ＭＳ Ｐゴシック" charset="0"/>
                <a:cs typeface="CiscoSansTT" panose="020B0503020201020303" pitchFamily="34" charset="0"/>
                <a:sym typeface="Arial"/>
              </a:rPr>
              <a:t>Accelerate compliance and reporting with greater accuracy and fewer resources</a:t>
            </a:r>
          </a:p>
        </p:txBody>
      </p:sp>
      <p:sp>
        <p:nvSpPr>
          <p:cNvPr id="62" name="Google Shape;791;p99">
            <a:extLst>
              <a:ext uri="{FF2B5EF4-FFF2-40B4-BE49-F238E27FC236}">
                <a16:creationId xmlns:a16="http://schemas.microsoft.com/office/drawing/2014/main" id="{23AE0C67-E3FD-47AD-8F92-C1973C3179D8}"/>
              </a:ext>
            </a:extLst>
          </p:cNvPr>
          <p:cNvSpPr/>
          <p:nvPr/>
        </p:nvSpPr>
        <p:spPr>
          <a:xfrm>
            <a:off x="1458278" y="5133079"/>
            <a:ext cx="2626042" cy="52927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defTabSz="914332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buClr>
                <a:srgbClr val="6EBE4A"/>
              </a:buClr>
              <a:buSzPct val="75000"/>
              <a:buFont typeface="Arial"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14284A"/>
                </a:solidFill>
                <a:effectLst/>
                <a:uLnTx/>
                <a:uFillTx/>
                <a:latin typeface="CiscoSansTT ExtraLight"/>
                <a:ea typeface="ＭＳ Ｐゴシック" charset="0"/>
                <a:cs typeface="CiscoSansTT" panose="020B0503020201020303" pitchFamily="34" charset="0"/>
                <a:sym typeface="Arial"/>
              </a:rPr>
              <a:t>Business performance impacted by incompatible technologies and inconsistent collaboration</a:t>
            </a:r>
          </a:p>
        </p:txBody>
      </p:sp>
      <p:sp>
        <p:nvSpPr>
          <p:cNvPr id="63" name="Google Shape;791;p99">
            <a:extLst>
              <a:ext uri="{FF2B5EF4-FFF2-40B4-BE49-F238E27FC236}">
                <a16:creationId xmlns:a16="http://schemas.microsoft.com/office/drawing/2014/main" id="{714175C5-A7A1-4A16-9D0F-669C070019F6}"/>
              </a:ext>
            </a:extLst>
          </p:cNvPr>
          <p:cNvSpPr/>
          <p:nvPr/>
        </p:nvSpPr>
        <p:spPr>
          <a:xfrm>
            <a:off x="4814880" y="5133079"/>
            <a:ext cx="2924500" cy="52927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defTabSz="914332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buClr>
                <a:srgbClr val="14284A"/>
              </a:buClr>
              <a:buSzPct val="75000"/>
              <a:buFont typeface="Arial"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14284A"/>
                </a:solidFill>
                <a:effectLst/>
                <a:uLnTx/>
                <a:uFillTx/>
                <a:latin typeface="CiscoSansTT ExtraLight"/>
                <a:ea typeface="ＭＳ Ｐゴシック" charset="0"/>
                <a:cs typeface="CiscoSansTT" panose="020B0503020201020303" pitchFamily="34" charset="0"/>
                <a:sym typeface="Arial"/>
              </a:rPr>
              <a:t>Consulting Engineer and Project Manager: </a:t>
            </a:r>
          </a:p>
          <a:p>
            <a:pPr marL="171450" marR="0" lvl="0" indent="-171450" algn="l" defTabSz="914332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buClr>
                <a:srgbClr val="14284A"/>
              </a:buClr>
              <a:buSzPct val="75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14284A"/>
                </a:solidFill>
                <a:effectLst/>
                <a:uLnTx/>
                <a:uFillTx/>
                <a:latin typeface="CiscoSansTT ExtraLight"/>
                <a:ea typeface="ＭＳ Ｐゴシック" charset="0"/>
                <a:cs typeface="CiscoSansTT" panose="020B0503020201020303" pitchFamily="34" charset="0"/>
                <a:sym typeface="Arial"/>
              </a:rPr>
              <a:t>Identify relevant scalability, capacity, redundancy, and security needs</a:t>
            </a:r>
          </a:p>
          <a:p>
            <a:pPr marL="171450" marR="0" lvl="0" indent="-171450" algn="l" defTabSz="914332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buClr>
                <a:srgbClr val="14284A"/>
              </a:buClr>
              <a:buSzPct val="75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14284A"/>
                </a:solidFill>
                <a:effectLst/>
                <a:uLnTx/>
                <a:uFillTx/>
                <a:latin typeface="CiscoSansTT ExtraLight"/>
                <a:ea typeface="ＭＳ Ｐゴシック" charset="0"/>
                <a:cs typeface="CiscoSansTT" panose="020B0503020201020303" pitchFamily="34" charset="0"/>
                <a:sym typeface="Arial"/>
              </a:rPr>
              <a:t>Prioritize application transition; stage, design and roll out</a:t>
            </a:r>
          </a:p>
        </p:txBody>
      </p:sp>
      <p:sp>
        <p:nvSpPr>
          <p:cNvPr id="64" name="Google Shape;791;p99">
            <a:extLst>
              <a:ext uri="{FF2B5EF4-FFF2-40B4-BE49-F238E27FC236}">
                <a16:creationId xmlns:a16="http://schemas.microsoft.com/office/drawing/2014/main" id="{781288F9-5260-4C84-B5A5-D5CA1EA84700}"/>
              </a:ext>
            </a:extLst>
          </p:cNvPr>
          <p:cNvSpPr/>
          <p:nvPr/>
        </p:nvSpPr>
        <p:spPr>
          <a:xfrm>
            <a:off x="8480609" y="5133079"/>
            <a:ext cx="2819407" cy="52927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defTabSz="914332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buClr>
                <a:srgbClr val="14284A"/>
              </a:buClr>
              <a:buSzPct val="75000"/>
              <a:buFont typeface="Arial"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14284A"/>
                </a:solidFill>
                <a:effectLst/>
                <a:uLnTx/>
                <a:uFillTx/>
                <a:latin typeface="CiscoSansTT ExtraLight"/>
                <a:ea typeface="ＭＳ Ｐゴシック" charset="0"/>
                <a:cs typeface="CiscoSansTT" panose="020B0503020201020303" pitchFamily="34" charset="0"/>
                <a:sym typeface="Arial"/>
              </a:rPr>
              <a:t>Creative resilient environment, faster and with reduced number and volatility of change windows</a:t>
            </a:r>
          </a:p>
        </p:txBody>
      </p:sp>
      <p:pic>
        <p:nvPicPr>
          <p:cNvPr id="121" name="Google Shape;2812;p68">
            <a:extLst>
              <a:ext uri="{FF2B5EF4-FFF2-40B4-BE49-F238E27FC236}">
                <a16:creationId xmlns:a16="http://schemas.microsoft.com/office/drawing/2014/main" id="{86286453-C574-4178-AB18-C530F21921A2}"/>
              </a:ext>
            </a:extLst>
          </p:cNvPr>
          <p:cNvPicPr preferRelativeResize="0"/>
          <p:nvPr/>
        </p:nvPicPr>
        <p:blipFill rotWithShape="1">
          <a:blip r:embed="rId3" cstate="print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9138" y="2823435"/>
            <a:ext cx="489600" cy="489600"/>
          </a:xfrm>
          <a:prstGeom prst="rect">
            <a:avLst/>
          </a:prstGeom>
          <a:noFill/>
          <a:ln>
            <a:noFill/>
          </a:ln>
        </p:spPr>
      </p:pic>
      <p:pic>
        <p:nvPicPr>
          <p:cNvPr id="125" name="Google Shape;2746;p65">
            <a:extLst>
              <a:ext uri="{FF2B5EF4-FFF2-40B4-BE49-F238E27FC236}">
                <a16:creationId xmlns:a16="http://schemas.microsoft.com/office/drawing/2014/main" id="{922CEC75-B904-411F-BCCB-81F544CE0DC8}"/>
              </a:ext>
            </a:extLst>
          </p:cNvPr>
          <p:cNvPicPr preferRelativeResize="0"/>
          <p:nvPr/>
        </p:nvPicPr>
        <p:blipFill rotWithShape="1">
          <a:blip r:embed="rId4" cstate="print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9262" y="3978257"/>
            <a:ext cx="489600" cy="489600"/>
          </a:xfrm>
          <a:prstGeom prst="rect">
            <a:avLst/>
          </a:prstGeom>
          <a:noFill/>
          <a:ln>
            <a:noFill/>
          </a:ln>
        </p:spPr>
      </p:pic>
      <p:pic>
        <p:nvPicPr>
          <p:cNvPr id="129" name="Google Shape;2787;p67">
            <a:extLst>
              <a:ext uri="{FF2B5EF4-FFF2-40B4-BE49-F238E27FC236}">
                <a16:creationId xmlns:a16="http://schemas.microsoft.com/office/drawing/2014/main" id="{0A95191A-0019-4C9A-B8C6-E02A1BCC28A4}"/>
              </a:ext>
            </a:extLst>
          </p:cNvPr>
          <p:cNvPicPr preferRelativeResize="0"/>
          <p:nvPr/>
        </p:nvPicPr>
        <p:blipFill rotWithShape="1">
          <a:blip r:embed="rId5" cstate="print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9263" y="5133079"/>
            <a:ext cx="489600" cy="489600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139" name="Group 138">
            <a:extLst>
              <a:ext uri="{FF2B5EF4-FFF2-40B4-BE49-F238E27FC236}">
                <a16:creationId xmlns:a16="http://schemas.microsoft.com/office/drawing/2014/main" id="{9C0EE468-8F10-42FD-9C31-C69E56585EB1}"/>
              </a:ext>
            </a:extLst>
          </p:cNvPr>
          <p:cNvGrpSpPr/>
          <p:nvPr/>
        </p:nvGrpSpPr>
        <p:grpSpPr>
          <a:xfrm>
            <a:off x="4318000" y="2872454"/>
            <a:ext cx="58659" cy="379668"/>
            <a:chOff x="2301753" y="2617111"/>
            <a:chExt cx="152146" cy="984760"/>
          </a:xfrm>
          <a:solidFill>
            <a:schemeClr val="accent2"/>
          </a:solidFill>
        </p:grpSpPr>
        <p:sp>
          <p:nvSpPr>
            <p:cNvPr id="140" name="Rectangle: Rounded Corners 139">
              <a:extLst>
                <a:ext uri="{FF2B5EF4-FFF2-40B4-BE49-F238E27FC236}">
                  <a16:creationId xmlns:a16="http://schemas.microsoft.com/office/drawing/2014/main" id="{80C36663-E44C-4173-B09B-9CFE68C106CD}"/>
                </a:ext>
              </a:extLst>
            </p:cNvPr>
            <p:cNvSpPr/>
            <p:nvPr/>
          </p:nvSpPr>
          <p:spPr>
            <a:xfrm rot="2923883">
              <a:off x="2065230" y="2853634"/>
              <a:ext cx="625191" cy="152146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en-AU" sz="1100" b="0" i="0" u="none" strike="noStrike" kern="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iscoSansTT ExtraLight"/>
                <a:ea typeface="+mn-ea"/>
                <a:cs typeface="+mn-cs"/>
                <a:sym typeface="Arial"/>
              </a:endParaRPr>
            </a:p>
          </p:txBody>
        </p:sp>
        <p:sp>
          <p:nvSpPr>
            <p:cNvPr id="141" name="Rectangle: Rounded Corners 140">
              <a:extLst>
                <a:ext uri="{FF2B5EF4-FFF2-40B4-BE49-F238E27FC236}">
                  <a16:creationId xmlns:a16="http://schemas.microsoft.com/office/drawing/2014/main" id="{91DDFDC7-BB0D-4205-8BCD-37AB4E682947}"/>
                </a:ext>
              </a:extLst>
            </p:cNvPr>
            <p:cNvSpPr/>
            <p:nvPr/>
          </p:nvSpPr>
          <p:spPr>
            <a:xfrm rot="18676117" flipH="1">
              <a:off x="2065230" y="3213203"/>
              <a:ext cx="625191" cy="152146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en-AU" sz="1100" b="0" i="0" u="none" strike="noStrike" kern="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iscoSansTT ExtraLight"/>
                <a:ea typeface="+mn-ea"/>
                <a:cs typeface="+mn-cs"/>
                <a:sym typeface="Arial"/>
              </a:endParaRPr>
            </a:p>
          </p:txBody>
        </p:sp>
      </p:grpSp>
      <p:grpSp>
        <p:nvGrpSpPr>
          <p:cNvPr id="142" name="Group 141">
            <a:extLst>
              <a:ext uri="{FF2B5EF4-FFF2-40B4-BE49-F238E27FC236}">
                <a16:creationId xmlns:a16="http://schemas.microsoft.com/office/drawing/2014/main" id="{2C2F02EF-E4D1-4777-A16F-3CF9BEAD122A}"/>
              </a:ext>
            </a:extLst>
          </p:cNvPr>
          <p:cNvGrpSpPr/>
          <p:nvPr/>
        </p:nvGrpSpPr>
        <p:grpSpPr>
          <a:xfrm>
            <a:off x="4318000" y="4053554"/>
            <a:ext cx="58659" cy="379668"/>
            <a:chOff x="2301753" y="2617111"/>
            <a:chExt cx="152146" cy="984760"/>
          </a:xfrm>
          <a:solidFill>
            <a:schemeClr val="accent2"/>
          </a:solidFill>
        </p:grpSpPr>
        <p:sp>
          <p:nvSpPr>
            <p:cNvPr id="143" name="Rectangle: Rounded Corners 142">
              <a:extLst>
                <a:ext uri="{FF2B5EF4-FFF2-40B4-BE49-F238E27FC236}">
                  <a16:creationId xmlns:a16="http://schemas.microsoft.com/office/drawing/2014/main" id="{89333652-185F-44C4-962E-A6E156556378}"/>
                </a:ext>
              </a:extLst>
            </p:cNvPr>
            <p:cNvSpPr/>
            <p:nvPr/>
          </p:nvSpPr>
          <p:spPr>
            <a:xfrm rot="2923883">
              <a:off x="2065230" y="2853634"/>
              <a:ext cx="625191" cy="152146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en-AU" sz="1100" b="0" i="0" u="none" strike="noStrike" kern="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iscoSansTT ExtraLight"/>
                <a:ea typeface="+mn-ea"/>
                <a:cs typeface="+mn-cs"/>
                <a:sym typeface="Arial"/>
              </a:endParaRPr>
            </a:p>
          </p:txBody>
        </p:sp>
        <p:sp>
          <p:nvSpPr>
            <p:cNvPr id="144" name="Rectangle: Rounded Corners 143">
              <a:extLst>
                <a:ext uri="{FF2B5EF4-FFF2-40B4-BE49-F238E27FC236}">
                  <a16:creationId xmlns:a16="http://schemas.microsoft.com/office/drawing/2014/main" id="{7CB4F389-D03B-458A-881C-8126BBF29B15}"/>
                </a:ext>
              </a:extLst>
            </p:cNvPr>
            <p:cNvSpPr/>
            <p:nvPr/>
          </p:nvSpPr>
          <p:spPr>
            <a:xfrm rot="18676117" flipH="1">
              <a:off x="2065230" y="3213203"/>
              <a:ext cx="625191" cy="152146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en-AU" sz="1100" b="0" i="0" u="none" strike="noStrike" kern="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iscoSansTT ExtraLight"/>
                <a:ea typeface="+mn-ea"/>
                <a:cs typeface="+mn-cs"/>
                <a:sym typeface="Arial"/>
              </a:endParaRPr>
            </a:p>
          </p:txBody>
        </p:sp>
      </p:grpSp>
      <p:grpSp>
        <p:nvGrpSpPr>
          <p:cNvPr id="145" name="Group 144">
            <a:extLst>
              <a:ext uri="{FF2B5EF4-FFF2-40B4-BE49-F238E27FC236}">
                <a16:creationId xmlns:a16="http://schemas.microsoft.com/office/drawing/2014/main" id="{3810B41B-B378-4F19-879D-1F41D172942B}"/>
              </a:ext>
            </a:extLst>
          </p:cNvPr>
          <p:cNvGrpSpPr/>
          <p:nvPr/>
        </p:nvGrpSpPr>
        <p:grpSpPr>
          <a:xfrm>
            <a:off x="4318000" y="5211763"/>
            <a:ext cx="58659" cy="379668"/>
            <a:chOff x="2301753" y="2617111"/>
            <a:chExt cx="152146" cy="984760"/>
          </a:xfrm>
          <a:solidFill>
            <a:schemeClr val="accent2"/>
          </a:solidFill>
        </p:grpSpPr>
        <p:sp>
          <p:nvSpPr>
            <p:cNvPr id="146" name="Rectangle: Rounded Corners 145">
              <a:extLst>
                <a:ext uri="{FF2B5EF4-FFF2-40B4-BE49-F238E27FC236}">
                  <a16:creationId xmlns:a16="http://schemas.microsoft.com/office/drawing/2014/main" id="{6AD62C7C-6ABF-4BB8-89C2-4712239A0E01}"/>
                </a:ext>
              </a:extLst>
            </p:cNvPr>
            <p:cNvSpPr/>
            <p:nvPr/>
          </p:nvSpPr>
          <p:spPr>
            <a:xfrm rot="2923883">
              <a:off x="2065230" y="2853634"/>
              <a:ext cx="625191" cy="152146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en-AU" sz="1100" b="0" i="0" u="none" strike="noStrike" kern="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iscoSansTT ExtraLight"/>
                <a:ea typeface="+mn-ea"/>
                <a:cs typeface="+mn-cs"/>
                <a:sym typeface="Arial"/>
              </a:endParaRPr>
            </a:p>
          </p:txBody>
        </p:sp>
        <p:sp>
          <p:nvSpPr>
            <p:cNvPr id="147" name="Rectangle: Rounded Corners 146">
              <a:extLst>
                <a:ext uri="{FF2B5EF4-FFF2-40B4-BE49-F238E27FC236}">
                  <a16:creationId xmlns:a16="http://schemas.microsoft.com/office/drawing/2014/main" id="{B39D2A4F-4B3F-4FBE-A22D-2CD53AF29397}"/>
                </a:ext>
              </a:extLst>
            </p:cNvPr>
            <p:cNvSpPr/>
            <p:nvPr/>
          </p:nvSpPr>
          <p:spPr>
            <a:xfrm rot="18676117" flipH="1">
              <a:off x="2065230" y="3213203"/>
              <a:ext cx="625191" cy="152146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en-AU" sz="1100" b="0" i="0" u="none" strike="noStrike" kern="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iscoSansTT ExtraLight"/>
                <a:ea typeface="+mn-ea"/>
                <a:cs typeface="+mn-cs"/>
                <a:sym typeface="Arial"/>
              </a:endParaRPr>
            </a:p>
          </p:txBody>
        </p:sp>
      </p:grpSp>
      <p:grpSp>
        <p:nvGrpSpPr>
          <p:cNvPr id="148" name="Group 147">
            <a:extLst>
              <a:ext uri="{FF2B5EF4-FFF2-40B4-BE49-F238E27FC236}">
                <a16:creationId xmlns:a16="http://schemas.microsoft.com/office/drawing/2014/main" id="{6F05B876-7AB9-4EC1-ABB8-FE81A4850FE3}"/>
              </a:ext>
            </a:extLst>
          </p:cNvPr>
          <p:cNvGrpSpPr/>
          <p:nvPr/>
        </p:nvGrpSpPr>
        <p:grpSpPr>
          <a:xfrm>
            <a:off x="8020050" y="2872454"/>
            <a:ext cx="58659" cy="379668"/>
            <a:chOff x="2301753" y="2617111"/>
            <a:chExt cx="152146" cy="984760"/>
          </a:xfrm>
          <a:solidFill>
            <a:schemeClr val="accent2"/>
          </a:solidFill>
        </p:grpSpPr>
        <p:sp>
          <p:nvSpPr>
            <p:cNvPr id="149" name="Rectangle: Rounded Corners 148">
              <a:extLst>
                <a:ext uri="{FF2B5EF4-FFF2-40B4-BE49-F238E27FC236}">
                  <a16:creationId xmlns:a16="http://schemas.microsoft.com/office/drawing/2014/main" id="{4B4E578F-2FB1-476C-B9A4-9CCD7353E42A}"/>
                </a:ext>
              </a:extLst>
            </p:cNvPr>
            <p:cNvSpPr/>
            <p:nvPr/>
          </p:nvSpPr>
          <p:spPr>
            <a:xfrm rot="2923883">
              <a:off x="2065230" y="2853634"/>
              <a:ext cx="625191" cy="152146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en-AU" sz="1100" b="0" i="0" u="none" strike="noStrike" kern="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iscoSansTT ExtraLight"/>
                <a:ea typeface="+mn-ea"/>
                <a:cs typeface="+mn-cs"/>
                <a:sym typeface="Arial"/>
              </a:endParaRPr>
            </a:p>
          </p:txBody>
        </p:sp>
        <p:sp>
          <p:nvSpPr>
            <p:cNvPr id="150" name="Rectangle: Rounded Corners 149">
              <a:extLst>
                <a:ext uri="{FF2B5EF4-FFF2-40B4-BE49-F238E27FC236}">
                  <a16:creationId xmlns:a16="http://schemas.microsoft.com/office/drawing/2014/main" id="{2C4CE5E1-7D45-42C9-B21B-262B2389FB91}"/>
                </a:ext>
              </a:extLst>
            </p:cNvPr>
            <p:cNvSpPr/>
            <p:nvPr/>
          </p:nvSpPr>
          <p:spPr>
            <a:xfrm rot="18676117" flipH="1">
              <a:off x="2065230" y="3213203"/>
              <a:ext cx="625191" cy="152146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en-AU" sz="1100" b="0" i="0" u="none" strike="noStrike" kern="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iscoSansTT ExtraLight"/>
                <a:ea typeface="+mn-ea"/>
                <a:cs typeface="+mn-cs"/>
                <a:sym typeface="Arial"/>
              </a:endParaRPr>
            </a:p>
          </p:txBody>
        </p:sp>
      </p:grpSp>
      <p:grpSp>
        <p:nvGrpSpPr>
          <p:cNvPr id="151" name="Group 150">
            <a:extLst>
              <a:ext uri="{FF2B5EF4-FFF2-40B4-BE49-F238E27FC236}">
                <a16:creationId xmlns:a16="http://schemas.microsoft.com/office/drawing/2014/main" id="{A4F5B424-4B56-414D-ABED-E1F773D77E35}"/>
              </a:ext>
            </a:extLst>
          </p:cNvPr>
          <p:cNvGrpSpPr/>
          <p:nvPr/>
        </p:nvGrpSpPr>
        <p:grpSpPr>
          <a:xfrm>
            <a:off x="8020050" y="4053554"/>
            <a:ext cx="58659" cy="379668"/>
            <a:chOff x="2301753" y="2617111"/>
            <a:chExt cx="152146" cy="984760"/>
          </a:xfrm>
          <a:solidFill>
            <a:schemeClr val="accent2"/>
          </a:solidFill>
        </p:grpSpPr>
        <p:sp>
          <p:nvSpPr>
            <p:cNvPr id="152" name="Rectangle: Rounded Corners 151">
              <a:extLst>
                <a:ext uri="{FF2B5EF4-FFF2-40B4-BE49-F238E27FC236}">
                  <a16:creationId xmlns:a16="http://schemas.microsoft.com/office/drawing/2014/main" id="{8868DC00-16EA-4C37-982E-A65C70ACAA85}"/>
                </a:ext>
              </a:extLst>
            </p:cNvPr>
            <p:cNvSpPr/>
            <p:nvPr/>
          </p:nvSpPr>
          <p:spPr>
            <a:xfrm rot="2923883">
              <a:off x="2065230" y="2853634"/>
              <a:ext cx="625191" cy="152146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en-AU" sz="1100" b="0" i="0" u="none" strike="noStrike" kern="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iscoSansTT ExtraLight"/>
                <a:ea typeface="+mn-ea"/>
                <a:cs typeface="+mn-cs"/>
                <a:sym typeface="Arial"/>
              </a:endParaRPr>
            </a:p>
          </p:txBody>
        </p:sp>
        <p:sp>
          <p:nvSpPr>
            <p:cNvPr id="153" name="Rectangle: Rounded Corners 152">
              <a:extLst>
                <a:ext uri="{FF2B5EF4-FFF2-40B4-BE49-F238E27FC236}">
                  <a16:creationId xmlns:a16="http://schemas.microsoft.com/office/drawing/2014/main" id="{43545D96-9AB9-42D9-835A-71A9C665079A}"/>
                </a:ext>
              </a:extLst>
            </p:cNvPr>
            <p:cNvSpPr/>
            <p:nvPr/>
          </p:nvSpPr>
          <p:spPr>
            <a:xfrm rot="18676117" flipH="1">
              <a:off x="2065230" y="3213203"/>
              <a:ext cx="625191" cy="152146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en-AU" sz="1100" b="0" i="0" u="none" strike="noStrike" kern="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iscoSansTT ExtraLight"/>
                <a:ea typeface="+mn-ea"/>
                <a:cs typeface="+mn-cs"/>
                <a:sym typeface="Arial"/>
              </a:endParaRPr>
            </a:p>
          </p:txBody>
        </p:sp>
      </p:grpSp>
      <p:grpSp>
        <p:nvGrpSpPr>
          <p:cNvPr id="154" name="Group 153">
            <a:extLst>
              <a:ext uri="{FF2B5EF4-FFF2-40B4-BE49-F238E27FC236}">
                <a16:creationId xmlns:a16="http://schemas.microsoft.com/office/drawing/2014/main" id="{2D6F4A32-1ED0-4BA1-B889-4F5207B394A1}"/>
              </a:ext>
            </a:extLst>
          </p:cNvPr>
          <p:cNvGrpSpPr/>
          <p:nvPr/>
        </p:nvGrpSpPr>
        <p:grpSpPr>
          <a:xfrm>
            <a:off x="8020050" y="5211763"/>
            <a:ext cx="58659" cy="379668"/>
            <a:chOff x="2301753" y="2617111"/>
            <a:chExt cx="152146" cy="984760"/>
          </a:xfrm>
          <a:solidFill>
            <a:schemeClr val="accent2"/>
          </a:solidFill>
        </p:grpSpPr>
        <p:sp>
          <p:nvSpPr>
            <p:cNvPr id="155" name="Rectangle: Rounded Corners 154">
              <a:extLst>
                <a:ext uri="{FF2B5EF4-FFF2-40B4-BE49-F238E27FC236}">
                  <a16:creationId xmlns:a16="http://schemas.microsoft.com/office/drawing/2014/main" id="{198F42CF-470D-4E37-BACD-44226C6F9650}"/>
                </a:ext>
              </a:extLst>
            </p:cNvPr>
            <p:cNvSpPr/>
            <p:nvPr/>
          </p:nvSpPr>
          <p:spPr>
            <a:xfrm rot="2923883">
              <a:off x="2065230" y="2853634"/>
              <a:ext cx="625191" cy="152146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en-AU" sz="1100" b="0" i="0" u="none" strike="noStrike" kern="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iscoSansTT ExtraLight"/>
                <a:ea typeface="+mn-ea"/>
                <a:cs typeface="+mn-cs"/>
                <a:sym typeface="Arial"/>
              </a:endParaRPr>
            </a:p>
          </p:txBody>
        </p:sp>
        <p:sp>
          <p:nvSpPr>
            <p:cNvPr id="156" name="Rectangle: Rounded Corners 155">
              <a:extLst>
                <a:ext uri="{FF2B5EF4-FFF2-40B4-BE49-F238E27FC236}">
                  <a16:creationId xmlns:a16="http://schemas.microsoft.com/office/drawing/2014/main" id="{29173640-A4E9-4E95-96F7-D72BC63AA874}"/>
                </a:ext>
              </a:extLst>
            </p:cNvPr>
            <p:cNvSpPr/>
            <p:nvPr/>
          </p:nvSpPr>
          <p:spPr>
            <a:xfrm rot="18676117" flipH="1">
              <a:off x="2065230" y="3213203"/>
              <a:ext cx="625191" cy="152146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en-AU" sz="1100" b="0" i="0" u="none" strike="noStrike" kern="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iscoSansTT ExtraLight"/>
                <a:ea typeface="+mn-ea"/>
                <a:cs typeface="+mn-cs"/>
                <a:sym typeface="Arial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960669973"/>
      </p:ext>
    </p:extLst>
  </p:cSld>
  <p:clrMapOvr>
    <a:masterClrMapping/>
  </p:clrMapOvr>
  <p:transition>
    <p:fad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tangle: Single Corner Rounded 18">
            <a:extLst>
              <a:ext uri="{FF2B5EF4-FFF2-40B4-BE49-F238E27FC236}">
                <a16:creationId xmlns:a16="http://schemas.microsoft.com/office/drawing/2014/main" id="{B50CAE97-F84A-4047-BAC7-647444B089EE}"/>
              </a:ext>
            </a:extLst>
          </p:cNvPr>
          <p:cNvSpPr/>
          <p:nvPr/>
        </p:nvSpPr>
        <p:spPr>
          <a:xfrm rot="10800000" flipH="1">
            <a:off x="0" y="0"/>
            <a:ext cx="5749290" cy="6858000"/>
          </a:xfrm>
          <a:prstGeom prst="round1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iscoSansTT ExtraLight"/>
              <a:ea typeface="+mn-ea"/>
              <a:cs typeface="+mn-cs"/>
              <a:sym typeface="Arial"/>
            </a:endParaRPr>
          </a:p>
        </p:txBody>
      </p:sp>
      <p:sp>
        <p:nvSpPr>
          <p:cNvPr id="20" name="Title 2">
            <a:extLst>
              <a:ext uri="{FF2B5EF4-FFF2-40B4-BE49-F238E27FC236}">
                <a16:creationId xmlns:a16="http://schemas.microsoft.com/office/drawing/2014/main" id="{27DD8E4B-4B1D-49CC-86C4-DC77457A4ADF}"/>
              </a:ext>
            </a:extLst>
          </p:cNvPr>
          <p:cNvSpPr txBox="1">
            <a:spLocks/>
          </p:cNvSpPr>
          <p:nvPr/>
        </p:nvSpPr>
        <p:spPr>
          <a:xfrm>
            <a:off x="719667" y="1059603"/>
            <a:ext cx="4796905" cy="125179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4000" b="0" i="0" u="none" strike="noStrike" cap="none">
                <a:solidFill>
                  <a:schemeClr val="bg2"/>
                </a:solidFill>
                <a:latin typeface="+mj-lt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40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iscoSansTT ExtraLight"/>
                <a:cs typeface="Arial"/>
                <a:sym typeface="Arial"/>
              </a:rPr>
              <a:t>IT challenges </a:t>
            </a:r>
            <a:br>
              <a:rPr kumimoji="0" lang="en-US" sz="40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iscoSansTT ExtraLight"/>
                <a:cs typeface="Arial"/>
                <a:sym typeface="Arial"/>
              </a:rPr>
            </a:br>
            <a:r>
              <a:rPr kumimoji="0" lang="en-US" sz="40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iscoSansTT ExtraLight"/>
                <a:cs typeface="Arial"/>
                <a:sym typeface="Arial"/>
              </a:rPr>
              <a:t>define a new reality</a:t>
            </a:r>
          </a:p>
        </p:txBody>
      </p:sp>
      <p:sp>
        <p:nvSpPr>
          <p:cNvPr id="22" name="Text Placeholder 1">
            <a:extLst>
              <a:ext uri="{FF2B5EF4-FFF2-40B4-BE49-F238E27FC236}">
                <a16:creationId xmlns:a16="http://schemas.microsoft.com/office/drawing/2014/main" id="{8AF834BE-CE00-410B-B9D8-588EBBE84613}"/>
              </a:ext>
            </a:extLst>
          </p:cNvPr>
          <p:cNvSpPr txBox="1">
            <a:spLocks/>
          </p:cNvSpPr>
          <p:nvPr/>
        </p:nvSpPr>
        <p:spPr>
          <a:xfrm>
            <a:off x="708153" y="2869882"/>
            <a:ext cx="4492497" cy="303654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10000"/>
              </a:lnSpc>
              <a:spcBef>
                <a:spcPts val="0"/>
              </a:spcBef>
              <a:spcAft>
                <a:spcPts val="180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chemeClr val="bg2"/>
                </a:solidFill>
                <a:latin typeface="+mn-lt"/>
                <a:ea typeface="Arial"/>
                <a:cs typeface="Arial"/>
                <a:sym typeface="Arial"/>
              </a:defRPr>
            </a:lvl1pPr>
            <a:lvl2pPr marL="143996" marR="0" lvl="1" indent="143996" algn="l" rtl="0">
              <a:lnSpc>
                <a:spcPct val="110000"/>
              </a:lnSpc>
              <a:spcBef>
                <a:spcPts val="0"/>
              </a:spcBef>
              <a:spcAft>
                <a:spcPts val="180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chemeClr val="bg2"/>
                </a:solidFill>
                <a:latin typeface="+mn-lt"/>
                <a:ea typeface="Arial"/>
                <a:cs typeface="Arial"/>
                <a:sym typeface="Arial"/>
              </a:defRPr>
            </a:lvl2pPr>
            <a:lvl3pPr marL="287993" marR="0" lvl="2" indent="287993" algn="l" rtl="0">
              <a:lnSpc>
                <a:spcPct val="110000"/>
              </a:lnSpc>
              <a:spcBef>
                <a:spcPts val="0"/>
              </a:spcBef>
              <a:spcAft>
                <a:spcPts val="180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chemeClr val="bg2"/>
                </a:solidFill>
                <a:latin typeface="+mn-lt"/>
                <a:ea typeface="Arial"/>
                <a:cs typeface="Arial"/>
                <a:sym typeface="Arial"/>
              </a:defRPr>
            </a:lvl3pPr>
            <a:lvl4pPr marL="431989" marR="0" lvl="3" indent="431989" algn="l" rtl="0">
              <a:lnSpc>
                <a:spcPct val="110000"/>
              </a:lnSpc>
              <a:spcBef>
                <a:spcPts val="0"/>
              </a:spcBef>
              <a:spcAft>
                <a:spcPts val="180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chemeClr val="bg2"/>
                </a:solidFill>
                <a:latin typeface="+mn-lt"/>
                <a:ea typeface="Arial"/>
                <a:cs typeface="Arial"/>
                <a:sym typeface="Arial"/>
              </a:defRPr>
            </a:lvl4pPr>
            <a:lvl5pPr marL="575986" marR="0" lvl="4" indent="575986" algn="l" rtl="0">
              <a:lnSpc>
                <a:spcPct val="110000"/>
              </a:lnSpc>
              <a:spcBef>
                <a:spcPts val="0"/>
              </a:spcBef>
              <a:spcAft>
                <a:spcPts val="180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chemeClr val="bg2"/>
                </a:solidFill>
                <a:latin typeface="+mn-lt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800"/>
              </a:spcAft>
              <a:buClr>
                <a:srgbClr val="FFFFFF"/>
              </a:buClr>
              <a:buSzPct val="85000"/>
              <a:buFont typeface="Arial"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iscoSansTT" panose="020B0503020201020303" pitchFamily="34" charset="0"/>
                <a:cs typeface="CiscoSansTT" panose="020B0503020201020303" pitchFamily="34" charset="0"/>
                <a:sym typeface="Arial"/>
              </a:rPr>
              <a:t>Cyberattacks</a:t>
            </a: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iscoSansTT ExtraLight"/>
                <a:cs typeface="Arial"/>
                <a:sym typeface="Arial"/>
              </a:rPr>
              <a:t> on the rise</a:t>
            </a:r>
          </a:p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800"/>
              </a:spcAft>
              <a:buClr>
                <a:srgbClr val="FFFFFF"/>
              </a:buClr>
              <a:buSzPct val="85000"/>
              <a:buFont typeface="Arial"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iscoSansTT" panose="020B0503020201020303" pitchFamily="34" charset="0"/>
                <a:cs typeface="CiscoSansTT" panose="020B0503020201020303" pitchFamily="34" charset="0"/>
                <a:sym typeface="Arial"/>
              </a:rPr>
              <a:t>Business demand </a:t>
            </a: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iscoSansTT ExtraLight"/>
                <a:cs typeface="Arial"/>
                <a:sym typeface="Arial"/>
              </a:rPr>
              <a:t>for VPN surges globally creating capacity issues</a:t>
            </a:r>
          </a:p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800"/>
              </a:spcAft>
              <a:buClr>
                <a:srgbClr val="FFFFFF"/>
              </a:buClr>
              <a:buSzPct val="85000"/>
              <a:buFont typeface="Arial"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iscoSansTT" panose="020B0503020201020303" pitchFamily="34" charset="0"/>
                <a:cs typeface="CiscoSansTT" panose="020B0503020201020303" pitchFamily="34" charset="0"/>
                <a:sym typeface="Arial"/>
              </a:rPr>
              <a:t>Tech-related</a:t>
            </a: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iscoSansTT ExtraLight"/>
                <a:cs typeface="Arial"/>
                <a:sym typeface="Arial"/>
              </a:rPr>
              <a:t> business disruptions grow</a:t>
            </a:r>
          </a:p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800"/>
              </a:spcAft>
              <a:buClr>
                <a:srgbClr val="FFFFFF"/>
              </a:buClr>
              <a:buSzPct val="85000"/>
              <a:buFont typeface="Arial"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iscoSansTT" panose="020B0503020201020303" pitchFamily="34" charset="0"/>
                <a:cs typeface="CiscoSansTT" panose="020B0503020201020303" pitchFamily="34" charset="0"/>
                <a:sym typeface="Arial"/>
              </a:rPr>
              <a:t>Managers</a:t>
            </a: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iscoSansTT ExtraLight"/>
                <a:cs typeface="Arial"/>
                <a:sym typeface="Arial"/>
              </a:rPr>
              <a:t> can’t find the right talent</a:t>
            </a:r>
          </a:p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800"/>
              </a:spcAft>
              <a:buClr>
                <a:srgbClr val="FFFFFF"/>
              </a:buClr>
              <a:buSzPct val="85000"/>
              <a:buFont typeface="Arial"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iscoSansTT" panose="020B0503020201020303" pitchFamily="34" charset="0"/>
                <a:cs typeface="CiscoSansTT" panose="020B0503020201020303" pitchFamily="34" charset="0"/>
                <a:sym typeface="Arial"/>
              </a:rPr>
              <a:t>Inability</a:t>
            </a: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iscoSansTT ExtraLight"/>
                <a:cs typeface="Arial"/>
                <a:sym typeface="Arial"/>
              </a:rPr>
              <a:t> to transform hinders business resiliency, adaptability, and innovation ​</a:t>
            </a:r>
          </a:p>
        </p:txBody>
      </p:sp>
      <p:grpSp>
        <p:nvGrpSpPr>
          <p:cNvPr id="23" name="Group 22">
            <a:extLst>
              <a:ext uri="{FF2B5EF4-FFF2-40B4-BE49-F238E27FC236}">
                <a16:creationId xmlns:a16="http://schemas.microsoft.com/office/drawing/2014/main" id="{8864972E-529C-4C8D-9BFE-2A85BCF33FAF}"/>
              </a:ext>
            </a:extLst>
          </p:cNvPr>
          <p:cNvGrpSpPr/>
          <p:nvPr/>
        </p:nvGrpSpPr>
        <p:grpSpPr>
          <a:xfrm>
            <a:off x="8140963" y="-531963"/>
            <a:ext cx="2757415" cy="6661956"/>
            <a:chOff x="8483863" y="-531963"/>
            <a:chExt cx="2757415" cy="6661956"/>
          </a:xfrm>
        </p:grpSpPr>
        <p:sp>
          <p:nvSpPr>
            <p:cNvPr id="24" name="Rectangle: Rounded Corners 23">
              <a:extLst>
                <a:ext uri="{FF2B5EF4-FFF2-40B4-BE49-F238E27FC236}">
                  <a16:creationId xmlns:a16="http://schemas.microsoft.com/office/drawing/2014/main" id="{5E1175DE-226A-488C-B327-42633D5FEE66}"/>
                </a:ext>
              </a:extLst>
            </p:cNvPr>
            <p:cNvSpPr/>
            <p:nvPr/>
          </p:nvSpPr>
          <p:spPr>
            <a:xfrm rot="4586001">
              <a:off x="9973114" y="5309107"/>
              <a:ext cx="1492959" cy="141522"/>
            </a:xfrm>
            <a:prstGeom prst="roundRect">
              <a:avLst>
                <a:gd name="adj" fmla="val 50000"/>
              </a:avLst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0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iscoSansTT ExtraLight"/>
                <a:ea typeface="+mn-ea"/>
                <a:cs typeface="CiscoSansTT ExtraLight" panose="020B0303020201020303" pitchFamily="34" charset="0"/>
                <a:sym typeface="Arial"/>
              </a:endParaRPr>
            </a:p>
          </p:txBody>
        </p:sp>
        <p:sp>
          <p:nvSpPr>
            <p:cNvPr id="25" name="Graphic 5">
              <a:extLst>
                <a:ext uri="{FF2B5EF4-FFF2-40B4-BE49-F238E27FC236}">
                  <a16:creationId xmlns:a16="http://schemas.microsoft.com/office/drawing/2014/main" id="{BD97D181-812A-4EEF-AEF6-CDC7ABAF3090}"/>
                </a:ext>
              </a:extLst>
            </p:cNvPr>
            <p:cNvSpPr/>
            <p:nvPr/>
          </p:nvSpPr>
          <p:spPr>
            <a:xfrm rot="4586001">
              <a:off x="10667363" y="5556078"/>
              <a:ext cx="396454" cy="751376"/>
            </a:xfrm>
            <a:custGeom>
              <a:avLst/>
              <a:gdLst>
                <a:gd name="connsiteX0" fmla="*/ 56424 w 1000125"/>
                <a:gd name="connsiteY0" fmla="*/ 1642336 h 1895475"/>
                <a:gd name="connsiteX1" fmla="*/ 74520 w 1000125"/>
                <a:gd name="connsiteY1" fmla="*/ 1866173 h 1895475"/>
                <a:gd name="connsiteX2" fmla="*/ 299311 w 1000125"/>
                <a:gd name="connsiteY2" fmla="*/ 1848076 h 1895475"/>
                <a:gd name="connsiteX3" fmla="*/ 971775 w 1000125"/>
                <a:gd name="connsiteY3" fmla="*/ 1060358 h 1895475"/>
                <a:gd name="connsiteX4" fmla="*/ 970824 w 1000125"/>
                <a:gd name="connsiteY4" fmla="*/ 854618 h 1895475"/>
                <a:gd name="connsiteX5" fmla="*/ 280261 w 1000125"/>
                <a:gd name="connsiteY5" fmla="*/ 55470 h 1895475"/>
                <a:gd name="connsiteX6" fmla="*/ 55470 w 1000125"/>
                <a:gd name="connsiteY6" fmla="*/ 38326 h 1895475"/>
                <a:gd name="connsiteX7" fmla="*/ 38326 w 1000125"/>
                <a:gd name="connsiteY7" fmla="*/ 262163 h 1895475"/>
                <a:gd name="connsiteX8" fmla="*/ 639353 w 1000125"/>
                <a:gd name="connsiteY8" fmla="*/ 958441 h 1895475"/>
                <a:gd name="connsiteX9" fmla="*/ 56424 w 1000125"/>
                <a:gd name="connsiteY9" fmla="*/ 1642336 h 18954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000125" h="1895475">
                  <a:moveTo>
                    <a:pt x="56424" y="1642336"/>
                  </a:moveTo>
                  <a:cubicBezTo>
                    <a:pt x="-726" y="1709011"/>
                    <a:pt x="7845" y="1809023"/>
                    <a:pt x="74520" y="1866173"/>
                  </a:cubicBezTo>
                  <a:cubicBezTo>
                    <a:pt x="142149" y="1923323"/>
                    <a:pt x="242161" y="1914751"/>
                    <a:pt x="299311" y="1848076"/>
                  </a:cubicBezTo>
                  <a:lnTo>
                    <a:pt x="971775" y="1060358"/>
                  </a:lnTo>
                  <a:cubicBezTo>
                    <a:pt x="1022258" y="1001303"/>
                    <a:pt x="1022258" y="913673"/>
                    <a:pt x="970824" y="854618"/>
                  </a:cubicBezTo>
                  <a:lnTo>
                    <a:pt x="280261" y="55470"/>
                  </a:lnTo>
                  <a:cubicBezTo>
                    <a:pt x="223111" y="-11205"/>
                    <a:pt x="122145" y="-18824"/>
                    <a:pt x="55470" y="38326"/>
                  </a:cubicBezTo>
                  <a:cubicBezTo>
                    <a:pt x="-11205" y="95476"/>
                    <a:pt x="-18824" y="195488"/>
                    <a:pt x="38326" y="262163"/>
                  </a:cubicBezTo>
                  <a:lnTo>
                    <a:pt x="639353" y="958441"/>
                  </a:lnTo>
                  <a:lnTo>
                    <a:pt x="56424" y="1642336"/>
                  </a:lnTo>
                  <a:close/>
                </a:path>
              </a:pathLst>
            </a:custGeom>
            <a:solidFill>
              <a:schemeClr val="tx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2F446B"/>
                </a:solidFill>
                <a:effectLst/>
                <a:uLnTx/>
                <a:uFillTx/>
                <a:latin typeface="CiscoSansTT Light" panose="020B0503020201020303" pitchFamily="34" charset="0"/>
                <a:ea typeface="+mn-ea"/>
                <a:cs typeface="CiscoSansTT Light" panose="020B0503020201020303" pitchFamily="34" charset="0"/>
                <a:sym typeface="Arial"/>
              </a:endParaRPr>
            </a:p>
          </p:txBody>
        </p:sp>
        <p:sp>
          <p:nvSpPr>
            <p:cNvPr id="26" name="Rectangle: Rounded Corners 25">
              <a:extLst>
                <a:ext uri="{FF2B5EF4-FFF2-40B4-BE49-F238E27FC236}">
                  <a16:creationId xmlns:a16="http://schemas.microsoft.com/office/drawing/2014/main" id="{E8F9FFDB-74BC-4EBA-98DA-D2CED2C67756}"/>
                </a:ext>
              </a:extLst>
            </p:cNvPr>
            <p:cNvSpPr/>
            <p:nvPr/>
          </p:nvSpPr>
          <p:spPr>
            <a:xfrm rot="1840293">
              <a:off x="8483863" y="4103890"/>
              <a:ext cx="2305589" cy="162926"/>
            </a:xfrm>
            <a:prstGeom prst="roundRect">
              <a:avLst>
                <a:gd name="adj" fmla="val 50000"/>
              </a:avLst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0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iscoSansTT ExtraLight"/>
                <a:ea typeface="+mn-ea"/>
                <a:cs typeface="CiscoSansTT ExtraLight" panose="020B0303020201020303" pitchFamily="34" charset="0"/>
                <a:sym typeface="Arial"/>
              </a:endParaRPr>
            </a:p>
          </p:txBody>
        </p:sp>
        <p:sp>
          <p:nvSpPr>
            <p:cNvPr id="27" name="Rectangle: Rounded Corners 26">
              <a:extLst>
                <a:ext uri="{FF2B5EF4-FFF2-40B4-BE49-F238E27FC236}">
                  <a16:creationId xmlns:a16="http://schemas.microsoft.com/office/drawing/2014/main" id="{D36A8AF9-5A6A-4E56-B194-D866892F237D}"/>
                </a:ext>
              </a:extLst>
            </p:cNvPr>
            <p:cNvSpPr/>
            <p:nvPr/>
          </p:nvSpPr>
          <p:spPr>
            <a:xfrm rot="18274030">
              <a:off x="8244112" y="2774285"/>
              <a:ext cx="2012377" cy="154628"/>
            </a:xfrm>
            <a:prstGeom prst="roundRect">
              <a:avLst>
                <a:gd name="adj" fmla="val 50000"/>
              </a:avLst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0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iscoSansTT ExtraLight"/>
                <a:ea typeface="+mn-ea"/>
                <a:cs typeface="CiscoSansTT ExtraLight" panose="020B0303020201020303" pitchFamily="34" charset="0"/>
                <a:sym typeface="Arial"/>
              </a:endParaRPr>
            </a:p>
          </p:txBody>
        </p:sp>
        <p:sp>
          <p:nvSpPr>
            <p:cNvPr id="28" name="Rectangle: Rounded Corners 27">
              <a:extLst>
                <a:ext uri="{FF2B5EF4-FFF2-40B4-BE49-F238E27FC236}">
                  <a16:creationId xmlns:a16="http://schemas.microsoft.com/office/drawing/2014/main" id="{718661C6-1C3C-4023-BBC1-5DCCDD73517D}"/>
                </a:ext>
              </a:extLst>
            </p:cNvPr>
            <p:cNvSpPr/>
            <p:nvPr/>
          </p:nvSpPr>
          <p:spPr>
            <a:xfrm rot="2831897">
              <a:off x="7264015" y="929790"/>
              <a:ext cx="3065238" cy="141732"/>
            </a:xfrm>
            <a:prstGeom prst="roundRect">
              <a:avLst>
                <a:gd name="adj" fmla="val 50000"/>
              </a:avLst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0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iscoSansTT ExtraLight"/>
                <a:ea typeface="+mn-ea"/>
                <a:cs typeface="CiscoSansTT ExtraLight" panose="020B0303020201020303" pitchFamily="34" charset="0"/>
                <a:sym typeface="Arial"/>
              </a:endParaRPr>
            </a:p>
          </p:txBody>
        </p:sp>
      </p:grpSp>
      <p:sp>
        <p:nvSpPr>
          <p:cNvPr id="29" name="TextBox 28">
            <a:extLst>
              <a:ext uri="{FF2B5EF4-FFF2-40B4-BE49-F238E27FC236}">
                <a16:creationId xmlns:a16="http://schemas.microsoft.com/office/drawing/2014/main" id="{A8C391DD-850D-427E-8AFA-508BD752AC79}"/>
              </a:ext>
            </a:extLst>
          </p:cNvPr>
          <p:cNvSpPr txBox="1"/>
          <p:nvPr/>
        </p:nvSpPr>
        <p:spPr>
          <a:xfrm>
            <a:off x="6263676" y="3207822"/>
            <a:ext cx="1794792" cy="1794792"/>
          </a:xfrm>
          <a:prstGeom prst="ellipse">
            <a:avLst/>
          </a:prstGeom>
          <a:solidFill>
            <a:schemeClr val="accent1"/>
          </a:solidFill>
          <a:ln w="25400">
            <a:solidFill>
              <a:schemeClr val="bg1"/>
            </a:solidFill>
          </a:ln>
          <a:effectLst>
            <a:outerShdw blurRad="63500" sx="102000" sy="102000" algn="ctr" rotWithShape="0">
              <a:prstClr val="black">
                <a:alpha val="5000"/>
              </a:prstClr>
            </a:outerShdw>
          </a:effectLst>
        </p:spPr>
        <p:txBody>
          <a:bodyPr wrap="none" lIns="0" tIns="0" rIns="0" bIns="0" rtlCol="0" anchor="ctr" anchorCtr="0">
            <a:noAutofit/>
          </a:bodyPr>
          <a:lstStyle/>
          <a:p>
            <a:pPr marL="0" marR="0" lvl="0" indent="0" algn="ctr" defTabSz="60957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82828"/>
              </a:buClr>
              <a:buSzPts val="1200"/>
              <a:buFontTx/>
              <a:buNone/>
              <a:tabLst/>
              <a:defRPr/>
            </a:pPr>
            <a:r>
              <a:rPr kumimoji="0" lang="en-US" sz="4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iscoSansTT ExtraLight"/>
                <a:ea typeface="ＭＳ Ｐゴシック" charset="0"/>
                <a:cs typeface="Arial"/>
                <a:sym typeface="Arial"/>
              </a:rPr>
              <a:t> 90</a:t>
            </a:r>
            <a:r>
              <a:rPr kumimoji="0" lang="en-US" sz="3600" b="0" i="0" u="none" strike="noStrike" kern="1200" cap="none" spc="0" normalizeH="0" baseline="3000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iscoSansTT ExtraLight"/>
                <a:ea typeface="ＭＳ Ｐゴシック" charset="0"/>
                <a:cs typeface="Arial"/>
                <a:sym typeface="Arial"/>
              </a:rPr>
              <a:t>%</a:t>
            </a:r>
            <a:r>
              <a:rPr kumimoji="0" lang="en-US" sz="4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iscoSansTT ExtraLight"/>
                <a:ea typeface="ＭＳ Ｐゴシック" charset="0"/>
                <a:cs typeface="Arial"/>
                <a:sym typeface="Arial"/>
              </a:rPr>
              <a:t> </a:t>
            </a:r>
          </a:p>
          <a:p>
            <a:pPr marL="0" marR="0" lvl="0" indent="0" algn="ctr" defTabSz="60957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82828"/>
              </a:buClr>
              <a:buSzPts val="1200"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iscoSansTT ExtraLight"/>
                <a:ea typeface="ＭＳ Ｐゴシック" charset="0"/>
                <a:cs typeface="Arial"/>
                <a:sym typeface="Arial"/>
              </a:rPr>
              <a:t>Legacy systems </a:t>
            </a:r>
            <a:b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iscoSansTT ExtraLight"/>
                <a:ea typeface="ＭＳ Ｐゴシック" charset="0"/>
                <a:cs typeface="Arial"/>
                <a:sym typeface="Arial"/>
              </a:rPr>
            </a:b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iscoSansTT ExtraLight"/>
                <a:ea typeface="ＭＳ Ｐゴシック" charset="0"/>
                <a:cs typeface="Arial"/>
                <a:sym typeface="Arial"/>
              </a:rPr>
              <a:t>holding back </a:t>
            </a:r>
            <a:b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iscoSansTT ExtraLight"/>
                <a:ea typeface="ＭＳ Ｐゴシック" charset="0"/>
                <a:cs typeface="Arial"/>
                <a:sym typeface="Arial"/>
              </a:rPr>
            </a:b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iscoSansTT ExtraLight"/>
                <a:ea typeface="ＭＳ Ｐゴシック" charset="0"/>
                <a:cs typeface="Arial"/>
                <a:sym typeface="Arial"/>
              </a:rPr>
              <a:t>transformation </a:t>
            </a: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iscoSansTT ExtraLight"/>
              <a:ea typeface="ＭＳ Ｐゴシック" charset="0"/>
              <a:cs typeface="Arial"/>
              <a:sym typeface="Arial"/>
            </a:endParaRP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4214E10A-3456-4DF1-AB9A-E51D62CCFDD4}"/>
              </a:ext>
            </a:extLst>
          </p:cNvPr>
          <p:cNvSpPr txBox="1"/>
          <p:nvPr/>
        </p:nvSpPr>
        <p:spPr>
          <a:xfrm>
            <a:off x="8104537" y="4637301"/>
            <a:ext cx="1640948" cy="1625330"/>
          </a:xfrm>
          <a:prstGeom prst="ellipse">
            <a:avLst/>
          </a:prstGeom>
          <a:solidFill>
            <a:schemeClr val="accent2"/>
          </a:solidFill>
          <a:ln w="25400">
            <a:solidFill>
              <a:schemeClr val="bg1"/>
            </a:solidFill>
          </a:ln>
          <a:effectLst>
            <a:outerShdw blurRad="63500" sx="102000" sy="102000" algn="ctr" rotWithShape="0">
              <a:prstClr val="black">
                <a:alpha val="5000"/>
              </a:prstClr>
            </a:outerShdw>
          </a:effectLst>
        </p:spPr>
        <p:txBody>
          <a:bodyPr wrap="none" lIns="0" tIns="0" rIns="0" bIns="0" rtlCol="0" anchor="ctr" anchorCtr="0">
            <a:noAutofit/>
          </a:bodyPr>
          <a:lstStyle/>
          <a:p>
            <a:pPr marL="0" marR="0" lvl="0" indent="0" algn="ctr" defTabSz="60957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82828"/>
              </a:buClr>
              <a:buSzPts val="1200"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iscoSansTT ExtraLight"/>
                <a:ea typeface="ＭＳ Ｐゴシック" charset="0"/>
                <a:cs typeface="Arial"/>
                <a:sym typeface="Arial"/>
              </a:rPr>
              <a:t> </a:t>
            </a:r>
            <a:r>
              <a:rPr kumimoji="0" lang="en-US" sz="4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iscoSansTT ExtraLight"/>
                <a:ea typeface="ＭＳ Ｐゴシック" charset="0"/>
                <a:cs typeface="Arial"/>
                <a:sym typeface="Arial"/>
              </a:rPr>
              <a:t>76</a:t>
            </a:r>
            <a:r>
              <a:rPr kumimoji="0" lang="en-US" sz="3600" b="0" i="0" u="none" strike="noStrike" kern="1200" cap="none" spc="0" normalizeH="0" baseline="3000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iscoSansTT ExtraLight"/>
                <a:ea typeface="ＭＳ Ｐゴシック" charset="0"/>
                <a:cs typeface="Arial"/>
                <a:sym typeface="Arial"/>
              </a:rPr>
              <a:t>%</a:t>
            </a:r>
          </a:p>
          <a:p>
            <a:pPr marL="0" marR="0" lvl="0" indent="0" algn="ctr" defTabSz="60957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82828"/>
              </a:buClr>
              <a:buSzPts val="1200"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iscoSansTT ExtraLight"/>
                <a:ea typeface="ＭＳ Ｐゴシック" charset="0"/>
                <a:cs typeface="Arial"/>
                <a:sym typeface="Arial"/>
              </a:rPr>
              <a:t> Can’t find the talent </a:t>
            </a:r>
          </a:p>
          <a:p>
            <a:pPr marL="0" marR="0" lvl="0" indent="0" algn="ctr" defTabSz="60957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82828"/>
              </a:buClr>
              <a:buSzPts val="1200"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iscoSansTT ExtraLight"/>
                <a:ea typeface="ＭＳ Ｐゴシック" charset="0"/>
                <a:cs typeface="Arial"/>
                <a:sym typeface="Arial"/>
              </a:rPr>
              <a:t>they need </a:t>
            </a: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iscoSansTT ExtraLight"/>
              <a:ea typeface="ＭＳ Ｐゴシック" charset="0"/>
              <a:cs typeface="CiscoSansTT ExtraLight" panose="020B0303020201020303" pitchFamily="34" charset="0"/>
              <a:sym typeface="Arial"/>
            </a:endParaRP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86D4FA28-AA8E-4734-AA44-15A89198A3CC}"/>
              </a:ext>
            </a:extLst>
          </p:cNvPr>
          <p:cNvSpPr txBox="1"/>
          <p:nvPr/>
        </p:nvSpPr>
        <p:spPr>
          <a:xfrm>
            <a:off x="6325248" y="753538"/>
            <a:ext cx="2070264" cy="2070264"/>
          </a:xfrm>
          <a:prstGeom prst="ellipse">
            <a:avLst/>
          </a:prstGeom>
          <a:solidFill>
            <a:schemeClr val="accent5"/>
          </a:solidFill>
          <a:ln w="25400">
            <a:solidFill>
              <a:schemeClr val="bg1"/>
            </a:solidFill>
          </a:ln>
          <a:effectLst>
            <a:outerShdw blurRad="63500" sx="102000" sy="102000" algn="ctr" rotWithShape="0">
              <a:prstClr val="black">
                <a:alpha val="5000"/>
              </a:prstClr>
            </a:outerShdw>
          </a:effectLst>
        </p:spPr>
        <p:txBody>
          <a:bodyPr wrap="none" lIns="0" tIns="0" rIns="0" bIns="0" rtlCol="0" anchor="ctr" anchorCtr="0">
            <a:noAutofit/>
          </a:bodyPr>
          <a:lstStyle/>
          <a:p>
            <a:pPr marL="0" marR="0" lvl="0" indent="0" algn="ctr" defTabSz="60957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82828"/>
              </a:buClr>
              <a:buSzPts val="1200"/>
              <a:buFontTx/>
              <a:buNone/>
              <a:tabLst/>
              <a:defRPr/>
            </a:pPr>
            <a:r>
              <a:rPr kumimoji="0" lang="en-US" sz="4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iscoSansTT ExtraLight"/>
                <a:ea typeface="ＭＳ Ｐゴシック" charset="0"/>
                <a:cs typeface="Arial"/>
                <a:sym typeface="Arial"/>
              </a:rPr>
              <a:t> 400</a:t>
            </a:r>
            <a:r>
              <a:rPr kumimoji="0" lang="en-US" sz="3600" b="0" i="0" u="none" strike="noStrike" kern="1200" cap="none" spc="0" normalizeH="0" baseline="3000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iscoSansTT ExtraLight"/>
                <a:ea typeface="ＭＳ Ｐゴシック" charset="0"/>
                <a:cs typeface="Arial"/>
                <a:sym typeface="Arial"/>
              </a:rPr>
              <a:t>%</a:t>
            </a:r>
            <a:r>
              <a:rPr kumimoji="0" lang="en-US" sz="3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iscoSansTT ExtraLight"/>
                <a:ea typeface="ＭＳ Ｐゴシック" charset="0"/>
                <a:cs typeface="Arial"/>
                <a:sym typeface="Arial"/>
              </a:rPr>
              <a:t> </a:t>
            </a:r>
            <a:endParaRPr kumimoji="0" lang="en-US" sz="4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iscoSansTT ExtraLight"/>
              <a:ea typeface="ＭＳ Ｐゴシック" charset="0"/>
              <a:cs typeface="Arial"/>
              <a:sym typeface="Arial"/>
            </a:endParaRPr>
          </a:p>
          <a:p>
            <a:pPr marL="0" marR="0" lvl="0" indent="0" algn="ctr" defTabSz="60957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82828"/>
              </a:buClr>
              <a:buSzPts val="1200"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iscoSansTT ExtraLight"/>
                <a:ea typeface="ＭＳ Ｐゴシック" charset="0"/>
                <a:cs typeface="Arial"/>
                <a:sym typeface="Arial"/>
              </a:rPr>
              <a:t>Increase in cyberattacks 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DF6DEE1A-D7A0-4C0D-8AC4-89BA47919380}"/>
              </a:ext>
            </a:extLst>
          </p:cNvPr>
          <p:cNvSpPr txBox="1"/>
          <p:nvPr/>
        </p:nvSpPr>
        <p:spPr>
          <a:xfrm>
            <a:off x="9998636" y="2880099"/>
            <a:ext cx="1730150" cy="1728720"/>
          </a:xfrm>
          <a:prstGeom prst="ellipse">
            <a:avLst/>
          </a:prstGeom>
          <a:solidFill>
            <a:schemeClr val="accent5"/>
          </a:solidFill>
          <a:ln w="25400">
            <a:solidFill>
              <a:schemeClr val="bg1"/>
            </a:solidFill>
          </a:ln>
          <a:effectLst>
            <a:outerShdw blurRad="63500" sx="102000" sy="102000" algn="ctr" rotWithShape="0">
              <a:prstClr val="black">
                <a:alpha val="5000"/>
              </a:prstClr>
            </a:outerShdw>
          </a:effectLst>
        </p:spPr>
        <p:txBody>
          <a:bodyPr wrap="none" lIns="0" tIns="0" rIns="0" bIns="0" rtlCol="0" anchor="ctr" anchorCtr="0">
            <a:noAutofit/>
          </a:bodyPr>
          <a:lstStyle/>
          <a:p>
            <a:pPr marL="0" marR="0" lvl="0" indent="0" algn="ctr" defTabSz="60957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82828"/>
              </a:buClr>
              <a:buSzPts val="1200"/>
              <a:buFont typeface="Arial"/>
              <a:buNone/>
              <a:tabLst/>
              <a:defRPr/>
            </a:pPr>
            <a:r>
              <a:rPr kumimoji="0" lang="en-GB" sz="4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iscoSansTT ExtraLight"/>
                <a:ea typeface="ＭＳ Ｐゴシック" charset="0"/>
                <a:cs typeface="Arial"/>
                <a:sym typeface="Arial"/>
              </a:rPr>
              <a:t>91</a:t>
            </a:r>
            <a:r>
              <a:rPr kumimoji="0" lang="en-GB" sz="3600" b="0" i="0" u="none" strike="noStrike" kern="1200" cap="none" spc="0" normalizeH="0" baseline="3000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iscoSansTT ExtraLight"/>
                <a:ea typeface="ＭＳ Ｐゴシック" charset="0"/>
                <a:cs typeface="Arial"/>
                <a:sym typeface="Arial"/>
              </a:rPr>
              <a:t>%</a:t>
            </a:r>
          </a:p>
          <a:p>
            <a:pPr marL="0" marR="0" lvl="0" indent="0" algn="ctr" defTabSz="60957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82828"/>
              </a:buClr>
              <a:buSzPts val="1200"/>
              <a:buFont typeface="Arial"/>
              <a:buNone/>
              <a:tabLst/>
              <a:defRPr/>
            </a:pPr>
            <a:r>
              <a:rPr kumimoji="0" lang="en-GB" sz="11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iscoSansTT ExtraLight"/>
                <a:ea typeface="ＭＳ Ｐゴシック" charset="0"/>
                <a:cs typeface="Arial"/>
                <a:sym typeface="Arial"/>
              </a:rPr>
              <a:t>Bogged down </a:t>
            </a:r>
            <a:br>
              <a:rPr kumimoji="0" lang="en-GB" sz="11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iscoSansTT ExtraLight"/>
                <a:ea typeface="ＭＳ Ｐゴシック" charset="0"/>
                <a:cs typeface="Arial"/>
                <a:sym typeface="Arial"/>
              </a:rPr>
            </a:br>
            <a:r>
              <a:rPr kumimoji="0" lang="en-GB" sz="11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iscoSansTT ExtraLight"/>
                <a:ea typeface="ＭＳ Ｐゴシック" charset="0"/>
                <a:cs typeface="Arial"/>
                <a:sym typeface="Arial"/>
              </a:rPr>
              <a:t>in tech related </a:t>
            </a:r>
            <a:br>
              <a:rPr kumimoji="0" lang="en-GB" sz="11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iscoSansTT ExtraLight"/>
                <a:ea typeface="ＭＳ Ｐゴシック" charset="0"/>
                <a:cs typeface="Arial"/>
                <a:sym typeface="Arial"/>
              </a:rPr>
            </a:br>
            <a:r>
              <a:rPr kumimoji="0" lang="en-GB" sz="11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iscoSansTT ExtraLight"/>
                <a:ea typeface="ＭＳ Ｐゴシック" charset="0"/>
                <a:cs typeface="Arial"/>
                <a:sym typeface="Arial"/>
              </a:rPr>
              <a:t>disruptions 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ED651FEB-9FF8-435E-9494-40B6DAEF8D96}"/>
              </a:ext>
            </a:extLst>
          </p:cNvPr>
          <p:cNvSpPr txBox="1"/>
          <p:nvPr/>
        </p:nvSpPr>
        <p:spPr>
          <a:xfrm>
            <a:off x="9650601" y="867897"/>
            <a:ext cx="1863238" cy="1863238"/>
          </a:xfrm>
          <a:prstGeom prst="ellipse">
            <a:avLst/>
          </a:prstGeom>
          <a:solidFill>
            <a:schemeClr val="accent2"/>
          </a:solidFill>
          <a:ln w="25400">
            <a:solidFill>
              <a:schemeClr val="bg1"/>
            </a:solidFill>
          </a:ln>
          <a:effectLst>
            <a:outerShdw blurRad="63500" sx="102000" sy="102000" algn="ctr" rotWithShape="0">
              <a:prstClr val="black">
                <a:alpha val="5000"/>
              </a:prstClr>
            </a:outerShdw>
          </a:effectLst>
        </p:spPr>
        <p:txBody>
          <a:bodyPr wrap="none" lIns="0" tIns="0" rIns="0" bIns="0" rtlCol="0" anchor="ctr" anchorCtr="0">
            <a:noAutofit/>
          </a:bodyPr>
          <a:lstStyle/>
          <a:p>
            <a:pPr marL="0" marR="0" lvl="0" indent="0" algn="ctr" defTabSz="60957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82828"/>
              </a:buClr>
              <a:buSzPts val="1200"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iscoSansTT ExtraLight"/>
                <a:ea typeface="ＭＳ Ｐゴシック" charset="0"/>
                <a:cs typeface="Arial"/>
                <a:sym typeface="Arial"/>
              </a:rPr>
              <a:t> </a:t>
            </a:r>
          </a:p>
          <a:p>
            <a:pPr marL="0" marR="0" lvl="0" indent="0" algn="ctr" defTabSz="60957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82828"/>
              </a:buClr>
              <a:buSzPts val="1200"/>
              <a:buFontTx/>
              <a:buNone/>
              <a:tabLst/>
              <a:defRPr/>
            </a:pPr>
            <a:r>
              <a:rPr kumimoji="0" lang="en-US" sz="4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iscoSansTT ExtraLight"/>
                <a:ea typeface="ＭＳ Ｐゴシック" charset="0"/>
                <a:cs typeface="Arial"/>
                <a:sym typeface="Arial"/>
              </a:rPr>
              <a:t>75</a:t>
            </a:r>
            <a:r>
              <a:rPr kumimoji="0" lang="en-US" sz="3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iscoSansTT ExtraLight"/>
                <a:ea typeface="ＭＳ Ｐゴシック" charset="0"/>
                <a:cs typeface="Arial"/>
                <a:sym typeface="Arial"/>
              </a:rPr>
              <a:t>%</a:t>
            </a:r>
          </a:p>
          <a:p>
            <a:pPr marL="0" marR="0" lvl="0" indent="0" algn="ctr" defTabSz="60957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82828"/>
              </a:buClr>
              <a:buSzPts val="1200"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iscoSansTT ExtraLight"/>
                <a:ea typeface="ＭＳ Ｐゴシック" charset="0"/>
                <a:cs typeface="Arial"/>
                <a:sym typeface="Arial"/>
              </a:rPr>
              <a:t> countries </a:t>
            </a:r>
          </a:p>
          <a:p>
            <a:pPr marL="0" marR="0" lvl="0" indent="0" algn="ctr" defTabSz="60957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82828"/>
              </a:buClr>
              <a:buSzPts val="1200"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iscoSansTT ExtraLight"/>
                <a:ea typeface="ＭＳ Ｐゴシック" charset="0"/>
                <a:cs typeface="Arial"/>
                <a:sym typeface="Arial"/>
              </a:rPr>
              <a:t>experienced VPN </a:t>
            </a:r>
          </a:p>
          <a:p>
            <a:pPr marL="0" marR="0" lvl="0" indent="0" algn="ctr" defTabSz="60957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82828"/>
              </a:buClr>
              <a:buSzPts val="1200"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iscoSansTT ExtraLight"/>
                <a:ea typeface="ＭＳ Ｐゴシック" charset="0"/>
                <a:cs typeface="Arial"/>
                <a:sym typeface="Arial"/>
              </a:rPr>
              <a:t>demand surges</a:t>
            </a:r>
          </a:p>
          <a:p>
            <a:pPr marL="0" marR="0" lvl="0" indent="0" algn="ctr" defTabSz="60957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82828"/>
              </a:buClr>
              <a:buSzPts val="1200"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iscoSansTT ExtraLight"/>
                <a:ea typeface="ＭＳ Ｐゴシック" charset="0"/>
                <a:cs typeface="Arial"/>
                <a:sym typeface="Arial"/>
              </a:rPr>
              <a:t> </a:t>
            </a: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iscoSansTT ExtraLight"/>
              <a:ea typeface="ＭＳ Ｐゴシック"/>
              <a:cs typeface="Arial"/>
              <a:sym typeface="Arial"/>
            </a:endParaRPr>
          </a:p>
          <a:p>
            <a:pPr marL="0" marR="0" lvl="0" indent="0" algn="ctr" defTabSz="60957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82828"/>
              </a:buClr>
              <a:buSzPts val="1200"/>
              <a:buFontTx/>
              <a:buNone/>
              <a:tabLst/>
              <a:defRPr/>
            </a:pP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iscoSansTT ExtraLight"/>
              <a:ea typeface="ＭＳ Ｐゴシック" charset="0"/>
              <a:cs typeface="Arial"/>
              <a:sym typeface="Arial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B121B98B-4D6C-41A6-A07E-577AA3E952BF}"/>
              </a:ext>
            </a:extLst>
          </p:cNvPr>
          <p:cNvSpPr/>
          <p:nvPr/>
        </p:nvSpPr>
        <p:spPr>
          <a:xfrm>
            <a:off x="5969202" y="3244334"/>
            <a:ext cx="25359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/>
              <a:t> 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D7072898-7188-41A2-A3A7-B5237DF5A68A}"/>
              </a:ext>
            </a:extLst>
          </p:cNvPr>
          <p:cNvSpPr/>
          <p:nvPr/>
        </p:nvSpPr>
        <p:spPr>
          <a:xfrm>
            <a:off x="5969202" y="3244334"/>
            <a:ext cx="25359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/>
              <a:t> 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8BE10544-743C-4519-AC89-DB8F16EB17E1}"/>
              </a:ext>
            </a:extLst>
          </p:cNvPr>
          <p:cNvSpPr/>
          <p:nvPr/>
        </p:nvSpPr>
        <p:spPr>
          <a:xfrm>
            <a:off x="402462" y="198430"/>
            <a:ext cx="5103877" cy="1000800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wrap="square" lIns="0" tIns="0" rIns="0" bIns="0" rtlCol="0" anchor="t" anchorCtr="0">
            <a:noAutofit/>
          </a:bodyPr>
          <a:lstStyle/>
          <a:p>
            <a:pPr defTabSz="609570" fontAlgn="base">
              <a:lnSpc>
                <a:spcPct val="110000"/>
              </a:lnSpc>
              <a:spcAft>
                <a:spcPts val="600"/>
              </a:spcAft>
              <a:buClr>
                <a:srgbClr val="000000"/>
              </a:buClr>
              <a:defRPr/>
            </a:pPr>
            <a:r>
              <a:rPr lang="en-US" sz="2000" kern="0">
                <a:solidFill>
                  <a:srgbClr val="FF0000"/>
                </a:solidFill>
                <a:latin typeface="CiscoSansTT ExtraLight"/>
                <a:ea typeface="ＭＳ Ｐゴシック" charset="0"/>
                <a:cs typeface="CiscoSansTT Light" panose="020B0503020201020303" pitchFamily="34" charset="0"/>
                <a:sym typeface="Arial"/>
              </a:rPr>
              <a:t>Use this slide in place of slide 3 if you DO NOT know your customer’s IT challenges.  </a:t>
            </a:r>
          </a:p>
        </p:txBody>
      </p:sp>
    </p:spTree>
    <p:extLst>
      <p:ext uri="{BB962C8B-B14F-4D97-AF65-F5344CB8AC3E}">
        <p14:creationId xmlns:p14="http://schemas.microsoft.com/office/powerpoint/2010/main" val="2949870063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500"/>
                            </p:stCondLst>
                            <p:childTnLst>
                              <p:par>
                                <p:cTn id="17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2000"/>
                            </p:stCondLst>
                            <p:childTnLst>
                              <p:par>
                                <p:cTn id="21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9" grpId="0" animBg="1"/>
      <p:bldP spid="30" grpId="0" animBg="1"/>
      <p:bldP spid="31" grpId="0" animBg="1"/>
      <p:bldP spid="33" grpId="0" animBg="1"/>
      <p:bldP spid="34" grpId="0" animBg="1"/>
    </p:bld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" name="Oval 121">
            <a:extLst>
              <a:ext uri="{FF2B5EF4-FFF2-40B4-BE49-F238E27FC236}">
                <a16:creationId xmlns:a16="http://schemas.microsoft.com/office/drawing/2014/main" id="{78FB50FE-1BAE-4FDA-8A1C-AF8D9FC353FA}"/>
              </a:ext>
            </a:extLst>
          </p:cNvPr>
          <p:cNvSpPr/>
          <p:nvPr/>
        </p:nvSpPr>
        <p:spPr>
          <a:xfrm>
            <a:off x="680177" y="5093994"/>
            <a:ext cx="567771" cy="567771"/>
          </a:xfrm>
          <a:prstGeom prst="ellipse">
            <a:avLst/>
          </a:prstGeom>
          <a:solidFill>
            <a:srgbClr val="F5F6F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AU" sz="11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iscoSansTT ExtraLight"/>
              <a:ea typeface="+mn-ea"/>
              <a:cs typeface="+mn-cs"/>
              <a:sym typeface="Arial"/>
            </a:endParaRPr>
          </a:p>
        </p:txBody>
      </p:sp>
      <p:sp>
        <p:nvSpPr>
          <p:cNvPr id="119" name="Oval 118">
            <a:extLst>
              <a:ext uri="{FF2B5EF4-FFF2-40B4-BE49-F238E27FC236}">
                <a16:creationId xmlns:a16="http://schemas.microsoft.com/office/drawing/2014/main" id="{51CC867E-46EF-4C82-A93B-DDDD707600AA}"/>
              </a:ext>
            </a:extLst>
          </p:cNvPr>
          <p:cNvSpPr/>
          <p:nvPr/>
        </p:nvSpPr>
        <p:spPr>
          <a:xfrm>
            <a:off x="680177" y="3939172"/>
            <a:ext cx="567771" cy="567771"/>
          </a:xfrm>
          <a:prstGeom prst="ellipse">
            <a:avLst/>
          </a:prstGeom>
          <a:solidFill>
            <a:srgbClr val="F5F6F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AU" sz="11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iscoSansTT ExtraLight"/>
              <a:ea typeface="+mn-ea"/>
              <a:cs typeface="+mn-cs"/>
              <a:sym typeface="Arial"/>
            </a:endParaRPr>
          </a:p>
        </p:txBody>
      </p:sp>
      <p:sp>
        <p:nvSpPr>
          <p:cNvPr id="2" name="Oval 1">
            <a:extLst>
              <a:ext uri="{FF2B5EF4-FFF2-40B4-BE49-F238E27FC236}">
                <a16:creationId xmlns:a16="http://schemas.microsoft.com/office/drawing/2014/main" id="{9FC140A4-88E3-4374-BB5B-D8E8273C3325}"/>
              </a:ext>
            </a:extLst>
          </p:cNvPr>
          <p:cNvSpPr/>
          <p:nvPr/>
        </p:nvSpPr>
        <p:spPr>
          <a:xfrm>
            <a:off x="680177" y="2784350"/>
            <a:ext cx="567771" cy="567771"/>
          </a:xfrm>
          <a:prstGeom prst="ellipse">
            <a:avLst/>
          </a:prstGeom>
          <a:solidFill>
            <a:srgbClr val="F5F6F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AU" sz="11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iscoSansTT ExtraLight"/>
              <a:ea typeface="+mn-ea"/>
              <a:cs typeface="+mn-cs"/>
              <a:sym typeface="Arial"/>
            </a:endParaRP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B50536F6-8107-4BE0-9A07-0BC81AC9A3B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3864" y="371283"/>
            <a:ext cx="10752667" cy="905874"/>
          </a:xfrm>
        </p:spPr>
        <p:txBody>
          <a:bodyPr/>
          <a:lstStyle/>
          <a:p>
            <a:r>
              <a:rPr lang="en-US" sz="2000">
                <a:solidFill>
                  <a:schemeClr val="bg1">
                    <a:lumMod val="50000"/>
                  </a:schemeClr>
                </a:solidFill>
              </a:rPr>
              <a:t>Specialized Expertise</a:t>
            </a:r>
            <a:br>
              <a:rPr lang="en-US"/>
            </a:br>
            <a:r>
              <a:rPr lang="en-US"/>
              <a:t>Example use case: Data center expansion</a:t>
            </a:r>
            <a:br>
              <a:rPr lang="en-US"/>
            </a:br>
            <a:r>
              <a:rPr lang="en-US" sz="2400">
                <a:solidFill>
                  <a:schemeClr val="accent4"/>
                </a:solidFill>
              </a:rPr>
              <a:t>Urgent need to expand capacity and reduce costs</a:t>
            </a:r>
            <a:br>
              <a:rPr lang="en-US" sz="2400">
                <a:solidFill>
                  <a:schemeClr val="accent4"/>
                </a:solidFill>
              </a:rPr>
            </a:br>
            <a:endParaRPr lang="en-AU" sz="2400">
              <a:solidFill>
                <a:schemeClr val="accent4"/>
              </a:solidFill>
            </a:endParaRPr>
          </a:p>
        </p:txBody>
      </p:sp>
      <p:sp>
        <p:nvSpPr>
          <p:cNvPr id="6" name="Google Shape;1434;p210">
            <a:extLst>
              <a:ext uri="{FF2B5EF4-FFF2-40B4-BE49-F238E27FC236}">
                <a16:creationId xmlns:a16="http://schemas.microsoft.com/office/drawing/2014/main" id="{A736BEA4-F0B8-4662-B7CE-DA9056596DA3}"/>
              </a:ext>
            </a:extLst>
          </p:cNvPr>
          <p:cNvSpPr/>
          <p:nvPr/>
        </p:nvSpPr>
        <p:spPr>
          <a:xfrm>
            <a:off x="709467" y="2178163"/>
            <a:ext cx="3431937" cy="341200"/>
          </a:xfrm>
          <a:prstGeom prst="roundRect">
            <a:avLst>
              <a:gd name="adj" fmla="val 50000"/>
            </a:avLst>
          </a:prstGeom>
          <a:solidFill>
            <a:schemeClr val="bg2"/>
          </a:solidFill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005073"/>
              </a:buClr>
              <a:buSzPts val="1600"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iscoSansTT ExtraLight" panose="020B0303020201020303" pitchFamily="34" charset="0"/>
                <a:ea typeface="Helvetica Neue Light"/>
                <a:cs typeface="CiscoSansTT ExtraLight" panose="020B0303020201020303" pitchFamily="34" charset="0"/>
                <a:sym typeface="Helvetica Neue Light"/>
              </a:rPr>
              <a:t>Challenge</a:t>
            </a:r>
            <a:endParaRPr kumimoji="0" sz="14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iscoSansTT ExtraLight" panose="020B0303020201020303" pitchFamily="34" charset="0"/>
              <a:ea typeface="Helvetica Neue Light"/>
              <a:cs typeface="CiscoSansTT ExtraLight" panose="020B0303020201020303" pitchFamily="34" charset="0"/>
              <a:sym typeface="Helvetica Neue Light"/>
            </a:endParaRPr>
          </a:p>
        </p:txBody>
      </p:sp>
      <p:sp>
        <p:nvSpPr>
          <p:cNvPr id="26" name="Google Shape;1434;p210">
            <a:extLst>
              <a:ext uri="{FF2B5EF4-FFF2-40B4-BE49-F238E27FC236}">
                <a16:creationId xmlns:a16="http://schemas.microsoft.com/office/drawing/2014/main" id="{3FEAAF39-8F89-4803-ACEC-63E80B41AAAC}"/>
              </a:ext>
            </a:extLst>
          </p:cNvPr>
          <p:cNvSpPr/>
          <p:nvPr/>
        </p:nvSpPr>
        <p:spPr>
          <a:xfrm>
            <a:off x="4375197" y="2178163"/>
            <a:ext cx="3431937" cy="341200"/>
          </a:xfrm>
          <a:prstGeom prst="roundRect">
            <a:avLst>
              <a:gd name="adj" fmla="val 50000"/>
            </a:avLst>
          </a:prstGeom>
          <a:solidFill>
            <a:schemeClr val="bg2"/>
          </a:solidFill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005073"/>
              </a:buClr>
              <a:buSzPts val="1600"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iscoSansTT ExtraLight" panose="020B0303020201020303" pitchFamily="34" charset="0"/>
                <a:ea typeface="Helvetica Neue Light"/>
                <a:cs typeface="CiscoSansTT ExtraLight" panose="020B0303020201020303" pitchFamily="34" charset="0"/>
                <a:sym typeface="Helvetica Neue Light"/>
              </a:rPr>
              <a:t>Solution</a:t>
            </a:r>
            <a:endParaRPr kumimoji="0" sz="14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iscoSansTT ExtraLight" panose="020B0303020201020303" pitchFamily="34" charset="0"/>
              <a:ea typeface="Helvetica Neue Light"/>
              <a:cs typeface="CiscoSansTT ExtraLight" panose="020B0303020201020303" pitchFamily="34" charset="0"/>
              <a:sym typeface="Helvetica Neue Light"/>
            </a:endParaRPr>
          </a:p>
        </p:txBody>
      </p:sp>
      <p:sp>
        <p:nvSpPr>
          <p:cNvPr id="38" name="Google Shape;1434;p210">
            <a:extLst>
              <a:ext uri="{FF2B5EF4-FFF2-40B4-BE49-F238E27FC236}">
                <a16:creationId xmlns:a16="http://schemas.microsoft.com/office/drawing/2014/main" id="{EBE94DBD-C20C-4B5A-9E83-746AFBB788C9}"/>
              </a:ext>
            </a:extLst>
          </p:cNvPr>
          <p:cNvSpPr/>
          <p:nvPr/>
        </p:nvSpPr>
        <p:spPr>
          <a:xfrm>
            <a:off x="8040926" y="2178163"/>
            <a:ext cx="3431937" cy="341200"/>
          </a:xfrm>
          <a:prstGeom prst="roundRect">
            <a:avLst>
              <a:gd name="adj" fmla="val 50000"/>
            </a:avLst>
          </a:prstGeom>
          <a:solidFill>
            <a:schemeClr val="bg2"/>
          </a:solidFill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005073"/>
              </a:buClr>
              <a:buSzPts val="1600"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iscoSansTT ExtraLight" panose="020B0303020201020303" pitchFamily="34" charset="0"/>
                <a:ea typeface="Helvetica Neue Light"/>
                <a:cs typeface="CiscoSansTT ExtraLight" panose="020B0303020201020303" pitchFamily="34" charset="0"/>
                <a:sym typeface="Helvetica Neue Light"/>
              </a:rPr>
              <a:t>Projected Outcome</a:t>
            </a:r>
            <a:endParaRPr kumimoji="0" sz="14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iscoSansTT ExtraLight" panose="020B0303020201020303" pitchFamily="34" charset="0"/>
              <a:ea typeface="Helvetica Neue Light"/>
              <a:cs typeface="CiscoSansTT ExtraLight" panose="020B0303020201020303" pitchFamily="34" charset="0"/>
              <a:sym typeface="Helvetica Neue Light"/>
            </a:endParaRPr>
          </a:p>
        </p:txBody>
      </p:sp>
      <p:sp>
        <p:nvSpPr>
          <p:cNvPr id="11" name="Google Shape;791;p99">
            <a:extLst>
              <a:ext uri="{FF2B5EF4-FFF2-40B4-BE49-F238E27FC236}">
                <a16:creationId xmlns:a16="http://schemas.microsoft.com/office/drawing/2014/main" id="{CE6D275C-5E3C-4B82-A3E0-9E1FEABF9B3D}"/>
              </a:ext>
            </a:extLst>
          </p:cNvPr>
          <p:cNvSpPr/>
          <p:nvPr/>
        </p:nvSpPr>
        <p:spPr>
          <a:xfrm>
            <a:off x="1458278" y="2823435"/>
            <a:ext cx="2775600" cy="52927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2F446B"/>
                </a:solidFill>
                <a:effectLst/>
                <a:uLnTx/>
                <a:uFillTx/>
                <a:latin typeface="CiscoSansTT ExtraLight"/>
                <a:ea typeface="Calibri"/>
                <a:cs typeface="Calibri"/>
                <a:sym typeface="Calibri"/>
              </a:rPr>
              <a:t>A plan that increases capacity while minimizing costs</a:t>
            </a: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2F446B"/>
              </a:solidFill>
              <a:effectLst/>
              <a:uLnTx/>
              <a:uFillTx/>
              <a:latin typeface="CiscoSansTT ExtraLight"/>
              <a:ea typeface="+mn-ea"/>
              <a:cs typeface="+mn-cs"/>
            </a:endParaRP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6691DCEE-624C-46DB-A2D4-E0D3B455DD78}"/>
              </a:ext>
            </a:extLst>
          </p:cNvPr>
          <p:cNvCxnSpPr>
            <a:cxnSpLocks/>
          </p:cNvCxnSpPr>
          <p:nvPr/>
        </p:nvCxnSpPr>
        <p:spPr>
          <a:xfrm flipV="1">
            <a:off x="726759" y="3810617"/>
            <a:ext cx="10753724" cy="1138"/>
          </a:xfrm>
          <a:prstGeom prst="line">
            <a:avLst/>
          </a:prstGeom>
          <a:ln w="12700" cap="rnd">
            <a:solidFill>
              <a:schemeClr val="bg1">
                <a:lumMod val="6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0A311BC4-0A09-46E7-BC3C-6209E2C179FC}"/>
              </a:ext>
            </a:extLst>
          </p:cNvPr>
          <p:cNvCxnSpPr>
            <a:cxnSpLocks/>
          </p:cNvCxnSpPr>
          <p:nvPr/>
        </p:nvCxnSpPr>
        <p:spPr>
          <a:xfrm flipV="1">
            <a:off x="726759" y="4965439"/>
            <a:ext cx="10753724" cy="1138"/>
          </a:xfrm>
          <a:prstGeom prst="line">
            <a:avLst/>
          </a:prstGeom>
          <a:ln w="12700" cap="rnd">
            <a:solidFill>
              <a:schemeClr val="bg1">
                <a:lumMod val="6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6" name="Google Shape;791;p99">
            <a:extLst>
              <a:ext uri="{FF2B5EF4-FFF2-40B4-BE49-F238E27FC236}">
                <a16:creationId xmlns:a16="http://schemas.microsoft.com/office/drawing/2014/main" id="{3583493B-BFC1-4612-A658-4CF2F357BBFC}"/>
              </a:ext>
            </a:extLst>
          </p:cNvPr>
          <p:cNvSpPr/>
          <p:nvPr/>
        </p:nvSpPr>
        <p:spPr>
          <a:xfrm>
            <a:off x="4814880" y="2823435"/>
            <a:ext cx="3071820" cy="52927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2F446B"/>
                </a:solidFill>
                <a:effectLst/>
                <a:uLnTx/>
                <a:uFillTx/>
                <a:latin typeface="CiscoSansTT ExtraLight"/>
                <a:ea typeface="Calibri"/>
                <a:cs typeface="Calibri"/>
                <a:sym typeface="Calibri"/>
              </a:rPr>
              <a:t>Consulting Engineer provides guidance with subject-matter expertise on multiple technologies: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50" b="0" i="0" u="none" strike="noStrike" kern="1200" cap="none" spc="0" normalizeH="0" baseline="0" noProof="0">
                <a:ln>
                  <a:noFill/>
                </a:ln>
                <a:solidFill>
                  <a:srgbClr val="2F446B"/>
                </a:solidFill>
                <a:effectLst/>
                <a:uLnTx/>
                <a:uFillTx/>
                <a:latin typeface="CiscoSansTT ExtraLight"/>
                <a:ea typeface="Calibri"/>
                <a:cs typeface="Calibri"/>
                <a:sym typeface="Calibri"/>
              </a:rPr>
              <a:t>Data-center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50" b="0" i="0" u="none" strike="noStrike" kern="1200" cap="none" spc="0" normalizeH="0" baseline="0" noProof="0">
                <a:ln>
                  <a:noFill/>
                </a:ln>
                <a:solidFill>
                  <a:srgbClr val="2F446B"/>
                </a:solidFill>
                <a:effectLst/>
                <a:uLnTx/>
                <a:uFillTx/>
                <a:latin typeface="CiscoSansTT ExtraLight"/>
                <a:ea typeface="Calibri"/>
                <a:cs typeface="Calibri"/>
                <a:sym typeface="Calibri"/>
              </a:rPr>
              <a:t>Routing and Switching design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50" b="0" i="0" u="none" strike="noStrike" kern="1200" cap="none" spc="0" normalizeH="0" baseline="0" noProof="0">
                <a:ln>
                  <a:noFill/>
                </a:ln>
                <a:solidFill>
                  <a:srgbClr val="2F446B"/>
                </a:solidFill>
                <a:effectLst/>
                <a:uLnTx/>
                <a:uFillTx/>
                <a:latin typeface="CiscoSansTT ExtraLight"/>
                <a:ea typeface="Calibri"/>
                <a:cs typeface="Calibri"/>
                <a:sym typeface="Calibri"/>
              </a:rPr>
              <a:t>Comprehensive Security policies</a:t>
            </a:r>
          </a:p>
        </p:txBody>
      </p:sp>
      <p:sp>
        <p:nvSpPr>
          <p:cNvPr id="58" name="Google Shape;791;p99">
            <a:extLst>
              <a:ext uri="{FF2B5EF4-FFF2-40B4-BE49-F238E27FC236}">
                <a16:creationId xmlns:a16="http://schemas.microsoft.com/office/drawing/2014/main" id="{A2317652-A44A-4340-AF5A-A1D21976309B}"/>
              </a:ext>
            </a:extLst>
          </p:cNvPr>
          <p:cNvSpPr/>
          <p:nvPr/>
        </p:nvSpPr>
        <p:spPr>
          <a:xfrm>
            <a:off x="8480609" y="2823435"/>
            <a:ext cx="2686057" cy="52927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2F446B"/>
                </a:solidFill>
                <a:effectLst/>
                <a:uLnTx/>
                <a:uFillTx/>
                <a:latin typeface="CiscoSansTT ExtraLight"/>
                <a:ea typeface="+mn-ea"/>
                <a:cs typeface="+mn-cs"/>
              </a:rPr>
              <a:t>A Solution that enables merger of acquired Data Center with lower cost and room to grow</a:t>
            </a:r>
          </a:p>
        </p:txBody>
      </p:sp>
      <p:sp>
        <p:nvSpPr>
          <p:cNvPr id="59" name="Google Shape;791;p99">
            <a:extLst>
              <a:ext uri="{FF2B5EF4-FFF2-40B4-BE49-F238E27FC236}">
                <a16:creationId xmlns:a16="http://schemas.microsoft.com/office/drawing/2014/main" id="{9ED38741-6A68-4353-91A2-3CF4D61C94BD}"/>
              </a:ext>
            </a:extLst>
          </p:cNvPr>
          <p:cNvSpPr/>
          <p:nvPr/>
        </p:nvSpPr>
        <p:spPr>
          <a:xfrm>
            <a:off x="1458278" y="3978257"/>
            <a:ext cx="2125345" cy="52927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2F446B"/>
                </a:solidFill>
                <a:effectLst/>
                <a:uLnTx/>
                <a:uFillTx/>
                <a:latin typeface="CiscoSansTT ExtraLight"/>
                <a:ea typeface="Calibri"/>
                <a:cs typeface="Calibri"/>
                <a:sym typeface="Calibri"/>
              </a:rPr>
              <a:t>Insufficient resources and experience to handle day-to-day plus complex, multi-location migration</a:t>
            </a: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2F446B"/>
              </a:solidFill>
              <a:effectLst/>
              <a:uLnTx/>
              <a:uFillTx/>
              <a:latin typeface="CiscoSansTT ExtraLight"/>
              <a:ea typeface="+mn-ea"/>
              <a:cs typeface="+mn-cs"/>
            </a:endParaRPr>
          </a:p>
        </p:txBody>
      </p:sp>
      <p:sp>
        <p:nvSpPr>
          <p:cNvPr id="60" name="Google Shape;791;p99">
            <a:extLst>
              <a:ext uri="{FF2B5EF4-FFF2-40B4-BE49-F238E27FC236}">
                <a16:creationId xmlns:a16="http://schemas.microsoft.com/office/drawing/2014/main" id="{BD709411-0E73-4E7E-9CD0-ED2EE8620E3E}"/>
              </a:ext>
            </a:extLst>
          </p:cNvPr>
          <p:cNvSpPr/>
          <p:nvPr/>
        </p:nvSpPr>
        <p:spPr>
          <a:xfrm>
            <a:off x="4814880" y="3978257"/>
            <a:ext cx="3071820" cy="52927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2F446B"/>
                </a:solidFill>
                <a:effectLst/>
                <a:uLnTx/>
                <a:uFillTx/>
                <a:latin typeface="CiscoSansTT ExtraLight"/>
                <a:ea typeface="Calibri"/>
                <a:cs typeface="Calibri"/>
                <a:sym typeface="Calibri"/>
              </a:rPr>
              <a:t>Solution Architect and Solution Validation team: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2F446B"/>
                </a:solidFill>
                <a:effectLst/>
                <a:uLnTx/>
                <a:uFillTx/>
                <a:latin typeface="CiscoSansTT ExtraLight"/>
                <a:ea typeface="Calibri"/>
                <a:cs typeface="Calibri"/>
                <a:sym typeface="Calibri"/>
              </a:rPr>
              <a:t>Evaluate options that align to customer’s technical needs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2F446B"/>
                </a:solidFill>
                <a:effectLst/>
                <a:uLnTx/>
                <a:uFillTx/>
                <a:latin typeface="CiscoSansTT ExtraLight"/>
                <a:ea typeface="Calibri"/>
                <a:cs typeface="Calibri"/>
                <a:sym typeface="Calibri"/>
              </a:rPr>
              <a:t>Provide clarity and vision for each technology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2F446B"/>
                </a:solidFill>
                <a:effectLst/>
                <a:uLnTx/>
                <a:uFillTx/>
                <a:latin typeface="CiscoSansTT ExtraLight"/>
                <a:ea typeface="Calibri"/>
                <a:cs typeface="Calibri"/>
                <a:sym typeface="Calibri"/>
              </a:rPr>
              <a:t>Model proposed solutions</a:t>
            </a:r>
          </a:p>
        </p:txBody>
      </p:sp>
      <p:sp>
        <p:nvSpPr>
          <p:cNvPr id="61" name="Google Shape;791;p99">
            <a:extLst>
              <a:ext uri="{FF2B5EF4-FFF2-40B4-BE49-F238E27FC236}">
                <a16:creationId xmlns:a16="http://schemas.microsoft.com/office/drawing/2014/main" id="{E87C0219-D8E6-4727-B417-70577C4914EE}"/>
              </a:ext>
            </a:extLst>
          </p:cNvPr>
          <p:cNvSpPr/>
          <p:nvPr/>
        </p:nvSpPr>
        <p:spPr>
          <a:xfrm>
            <a:off x="8480609" y="3978257"/>
            <a:ext cx="2929897" cy="52927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2F446B"/>
                </a:solidFill>
                <a:effectLst/>
                <a:uLnTx/>
                <a:uFillTx/>
                <a:latin typeface="CiscoSansTT ExtraLight"/>
                <a:ea typeface="+mn-ea"/>
                <a:cs typeface="+mn-cs"/>
              </a:rPr>
              <a:t>A more efficient design, implemented with less risk and no interference with day-to-day activities</a:t>
            </a:r>
          </a:p>
        </p:txBody>
      </p:sp>
      <p:sp>
        <p:nvSpPr>
          <p:cNvPr id="62" name="Google Shape;791;p99">
            <a:extLst>
              <a:ext uri="{FF2B5EF4-FFF2-40B4-BE49-F238E27FC236}">
                <a16:creationId xmlns:a16="http://schemas.microsoft.com/office/drawing/2014/main" id="{23AE0C67-E3FD-47AD-8F92-C1973C3179D8}"/>
              </a:ext>
            </a:extLst>
          </p:cNvPr>
          <p:cNvSpPr/>
          <p:nvPr/>
        </p:nvSpPr>
        <p:spPr>
          <a:xfrm>
            <a:off x="1458278" y="5133079"/>
            <a:ext cx="2626042" cy="52927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2F446B"/>
                </a:solidFill>
                <a:effectLst/>
                <a:uLnTx/>
                <a:uFillTx/>
                <a:latin typeface="CiscoSansTT ExtraLight"/>
                <a:ea typeface="+mn-ea"/>
                <a:cs typeface="+mn-cs"/>
              </a:rPr>
              <a:t>Leveraging expertise from multiple outside organizations</a:t>
            </a:r>
          </a:p>
        </p:txBody>
      </p:sp>
      <p:sp>
        <p:nvSpPr>
          <p:cNvPr id="63" name="Google Shape;791;p99">
            <a:extLst>
              <a:ext uri="{FF2B5EF4-FFF2-40B4-BE49-F238E27FC236}">
                <a16:creationId xmlns:a16="http://schemas.microsoft.com/office/drawing/2014/main" id="{714175C5-A7A1-4A16-9D0F-669C070019F6}"/>
              </a:ext>
            </a:extLst>
          </p:cNvPr>
          <p:cNvSpPr/>
          <p:nvPr/>
        </p:nvSpPr>
        <p:spPr>
          <a:xfrm>
            <a:off x="4814880" y="5133079"/>
            <a:ext cx="2924500" cy="52927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2F446B"/>
                </a:solidFill>
                <a:effectLst/>
                <a:uLnTx/>
                <a:uFillTx/>
                <a:latin typeface="CiscoSansTT ExtraLight"/>
                <a:ea typeface="Calibri"/>
                <a:cs typeface="Calibri"/>
                <a:sym typeface="Calibri"/>
              </a:rPr>
              <a:t>Project Manager and Consulting Engineer: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50" b="0" i="0" u="none" strike="noStrike" kern="1200" cap="none" spc="0" normalizeH="0" baseline="0" noProof="0">
                <a:ln>
                  <a:noFill/>
                </a:ln>
                <a:solidFill>
                  <a:srgbClr val="2F446B"/>
                </a:solidFill>
                <a:effectLst/>
                <a:uLnTx/>
                <a:uFillTx/>
                <a:latin typeface="CiscoSansTT ExtraLight"/>
                <a:ea typeface="Calibri"/>
                <a:cs typeface="Calibri"/>
                <a:sym typeface="Calibri"/>
              </a:rPr>
              <a:t>Apply Cisco IP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50" b="0" i="0" u="none" strike="noStrike" kern="1200" cap="none" spc="0" normalizeH="0" baseline="0" noProof="0">
                <a:ln>
                  <a:noFill/>
                </a:ln>
                <a:solidFill>
                  <a:srgbClr val="2F446B"/>
                </a:solidFill>
                <a:effectLst/>
                <a:uLnTx/>
                <a:uFillTx/>
                <a:latin typeface="CiscoSansTT ExtraLight"/>
                <a:ea typeface="Calibri"/>
                <a:cs typeface="Calibri"/>
                <a:sym typeface="Calibri"/>
              </a:rPr>
              <a:t>Provide roadmap and MOP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50" b="0" i="0" u="none" strike="noStrike" kern="1200" cap="none" spc="0" normalizeH="0" baseline="0" noProof="0">
                <a:ln>
                  <a:noFill/>
                </a:ln>
                <a:solidFill>
                  <a:srgbClr val="2F446B"/>
                </a:solidFill>
                <a:effectLst/>
                <a:uLnTx/>
                <a:uFillTx/>
                <a:latin typeface="CiscoSansTT ExtraLight"/>
                <a:ea typeface="Calibri"/>
                <a:cs typeface="Calibri"/>
                <a:sym typeface="Calibri"/>
              </a:rPr>
              <a:t>Coordinate with multiple partners</a:t>
            </a:r>
          </a:p>
        </p:txBody>
      </p:sp>
      <p:sp>
        <p:nvSpPr>
          <p:cNvPr id="64" name="Google Shape;791;p99">
            <a:extLst>
              <a:ext uri="{FF2B5EF4-FFF2-40B4-BE49-F238E27FC236}">
                <a16:creationId xmlns:a16="http://schemas.microsoft.com/office/drawing/2014/main" id="{781288F9-5260-4C84-B5A5-D5CA1EA84700}"/>
              </a:ext>
            </a:extLst>
          </p:cNvPr>
          <p:cNvSpPr/>
          <p:nvPr/>
        </p:nvSpPr>
        <p:spPr>
          <a:xfrm>
            <a:off x="8480609" y="5133079"/>
            <a:ext cx="2819407" cy="52927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defTabSz="914332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buClr>
                <a:srgbClr val="14284A"/>
              </a:buClr>
              <a:buSzPct val="75000"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14284A"/>
                </a:solidFill>
                <a:effectLst/>
                <a:uLnTx/>
                <a:uFillTx/>
                <a:latin typeface="CiscoSansTT ExtraLight"/>
                <a:ea typeface="ＭＳ Ｐゴシック" charset="0"/>
                <a:cs typeface="CiscoSansTT" panose="020B0503020201020303" pitchFamily="34" charset="0"/>
                <a:sym typeface="Arial"/>
              </a:rPr>
              <a:t>An implementation project 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2F446B"/>
                </a:solidFill>
                <a:effectLst/>
                <a:uLnTx/>
                <a:uFillTx/>
                <a:latin typeface="CiscoSansTT ExtraLight"/>
                <a:ea typeface="ＭＳ Ｐゴシック" charset="0"/>
                <a:cs typeface="Calibri"/>
                <a:sym typeface="Calibri"/>
              </a:rPr>
              <a:t>that s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2F446B"/>
                </a:solidFill>
                <a:effectLst/>
                <a:uLnTx/>
                <a:uFillTx/>
                <a:latin typeface="CiscoSansTT ExtraLight"/>
                <a:ea typeface="Calibri"/>
                <a:cs typeface="Calibri"/>
                <a:sym typeface="Calibri"/>
              </a:rPr>
              <a:t>cales and achieves results faster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2F446B"/>
              </a:solidFill>
              <a:effectLst/>
              <a:uLnTx/>
              <a:uFillTx/>
              <a:latin typeface="CiscoSansTT ExtraLight"/>
              <a:ea typeface="+mn-ea"/>
              <a:cs typeface="+mn-cs"/>
            </a:endParaRPr>
          </a:p>
          <a:p>
            <a:pPr marL="0" marR="0" lvl="0" indent="0" algn="l" defTabSz="914332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ts val="0"/>
              </a:spcAft>
              <a:buClr>
                <a:srgbClr val="14284A"/>
              </a:buClr>
              <a:buSzPct val="75000"/>
              <a:buFont typeface="Arial"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14284A"/>
              </a:solidFill>
              <a:effectLst/>
              <a:uLnTx/>
              <a:uFillTx/>
              <a:latin typeface="CiscoSansTT ExtraLight"/>
              <a:ea typeface="ＭＳ Ｐゴシック" charset="0"/>
              <a:cs typeface="CiscoSansTT" panose="020B0503020201020303" pitchFamily="34" charset="0"/>
              <a:sym typeface="Arial"/>
            </a:endParaRPr>
          </a:p>
        </p:txBody>
      </p:sp>
      <p:pic>
        <p:nvPicPr>
          <p:cNvPr id="121" name="Google Shape;2812;p68">
            <a:extLst>
              <a:ext uri="{FF2B5EF4-FFF2-40B4-BE49-F238E27FC236}">
                <a16:creationId xmlns:a16="http://schemas.microsoft.com/office/drawing/2014/main" id="{86286453-C574-4178-AB18-C530F21921A2}"/>
              </a:ext>
            </a:extLst>
          </p:cNvPr>
          <p:cNvPicPr preferRelativeResize="0"/>
          <p:nvPr/>
        </p:nvPicPr>
        <p:blipFill rotWithShape="1">
          <a:blip r:embed="rId3" cstate="print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9138" y="2823435"/>
            <a:ext cx="489600" cy="489600"/>
          </a:xfrm>
          <a:prstGeom prst="rect">
            <a:avLst/>
          </a:prstGeom>
          <a:noFill/>
          <a:ln>
            <a:noFill/>
          </a:ln>
        </p:spPr>
      </p:pic>
      <p:pic>
        <p:nvPicPr>
          <p:cNvPr id="125" name="Google Shape;2746;p65">
            <a:extLst>
              <a:ext uri="{FF2B5EF4-FFF2-40B4-BE49-F238E27FC236}">
                <a16:creationId xmlns:a16="http://schemas.microsoft.com/office/drawing/2014/main" id="{922CEC75-B904-411F-BCCB-81F544CE0DC8}"/>
              </a:ext>
            </a:extLst>
          </p:cNvPr>
          <p:cNvPicPr preferRelativeResize="0"/>
          <p:nvPr/>
        </p:nvPicPr>
        <p:blipFill rotWithShape="1">
          <a:blip r:embed="rId4" cstate="print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9262" y="3978257"/>
            <a:ext cx="489600" cy="489600"/>
          </a:xfrm>
          <a:prstGeom prst="rect">
            <a:avLst/>
          </a:prstGeom>
          <a:noFill/>
          <a:ln>
            <a:noFill/>
          </a:ln>
        </p:spPr>
      </p:pic>
      <p:pic>
        <p:nvPicPr>
          <p:cNvPr id="129" name="Google Shape;2787;p67">
            <a:extLst>
              <a:ext uri="{FF2B5EF4-FFF2-40B4-BE49-F238E27FC236}">
                <a16:creationId xmlns:a16="http://schemas.microsoft.com/office/drawing/2014/main" id="{0A95191A-0019-4C9A-B8C6-E02A1BCC28A4}"/>
              </a:ext>
            </a:extLst>
          </p:cNvPr>
          <p:cNvPicPr preferRelativeResize="0"/>
          <p:nvPr/>
        </p:nvPicPr>
        <p:blipFill rotWithShape="1">
          <a:blip r:embed="rId5" cstate="print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9263" y="5133079"/>
            <a:ext cx="489600" cy="489600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139" name="Group 138">
            <a:extLst>
              <a:ext uri="{FF2B5EF4-FFF2-40B4-BE49-F238E27FC236}">
                <a16:creationId xmlns:a16="http://schemas.microsoft.com/office/drawing/2014/main" id="{9C0EE468-8F10-42FD-9C31-C69E56585EB1}"/>
              </a:ext>
            </a:extLst>
          </p:cNvPr>
          <p:cNvGrpSpPr/>
          <p:nvPr/>
        </p:nvGrpSpPr>
        <p:grpSpPr>
          <a:xfrm>
            <a:off x="4318000" y="2872454"/>
            <a:ext cx="58659" cy="379668"/>
            <a:chOff x="2301753" y="2617111"/>
            <a:chExt cx="152146" cy="984760"/>
          </a:xfrm>
          <a:solidFill>
            <a:schemeClr val="accent2"/>
          </a:solidFill>
        </p:grpSpPr>
        <p:sp>
          <p:nvSpPr>
            <p:cNvPr id="140" name="Rectangle: Rounded Corners 139">
              <a:extLst>
                <a:ext uri="{FF2B5EF4-FFF2-40B4-BE49-F238E27FC236}">
                  <a16:creationId xmlns:a16="http://schemas.microsoft.com/office/drawing/2014/main" id="{80C36663-E44C-4173-B09B-9CFE68C106CD}"/>
                </a:ext>
              </a:extLst>
            </p:cNvPr>
            <p:cNvSpPr/>
            <p:nvPr/>
          </p:nvSpPr>
          <p:spPr>
            <a:xfrm rot="2923883">
              <a:off x="2065230" y="2853634"/>
              <a:ext cx="625191" cy="152146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en-AU" sz="11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iscoSansTT ExtraLight"/>
                <a:ea typeface="+mn-ea"/>
                <a:cs typeface="+mn-cs"/>
                <a:sym typeface="Arial"/>
              </a:endParaRPr>
            </a:p>
          </p:txBody>
        </p:sp>
        <p:sp>
          <p:nvSpPr>
            <p:cNvPr id="141" name="Rectangle: Rounded Corners 140">
              <a:extLst>
                <a:ext uri="{FF2B5EF4-FFF2-40B4-BE49-F238E27FC236}">
                  <a16:creationId xmlns:a16="http://schemas.microsoft.com/office/drawing/2014/main" id="{91DDFDC7-BB0D-4205-8BCD-37AB4E682947}"/>
                </a:ext>
              </a:extLst>
            </p:cNvPr>
            <p:cNvSpPr/>
            <p:nvPr/>
          </p:nvSpPr>
          <p:spPr>
            <a:xfrm rot="18676117" flipH="1">
              <a:off x="2065230" y="3213203"/>
              <a:ext cx="625191" cy="152146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en-AU" sz="11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iscoSansTT ExtraLight"/>
                <a:ea typeface="+mn-ea"/>
                <a:cs typeface="+mn-cs"/>
                <a:sym typeface="Arial"/>
              </a:endParaRPr>
            </a:p>
          </p:txBody>
        </p:sp>
      </p:grpSp>
      <p:grpSp>
        <p:nvGrpSpPr>
          <p:cNvPr id="142" name="Group 141">
            <a:extLst>
              <a:ext uri="{FF2B5EF4-FFF2-40B4-BE49-F238E27FC236}">
                <a16:creationId xmlns:a16="http://schemas.microsoft.com/office/drawing/2014/main" id="{2C2F02EF-E4D1-4777-A16F-3CF9BEAD122A}"/>
              </a:ext>
            </a:extLst>
          </p:cNvPr>
          <p:cNvGrpSpPr/>
          <p:nvPr/>
        </p:nvGrpSpPr>
        <p:grpSpPr>
          <a:xfrm>
            <a:off x="4318000" y="4053554"/>
            <a:ext cx="58659" cy="379668"/>
            <a:chOff x="2301753" y="2617111"/>
            <a:chExt cx="152146" cy="984760"/>
          </a:xfrm>
          <a:solidFill>
            <a:schemeClr val="accent2"/>
          </a:solidFill>
        </p:grpSpPr>
        <p:sp>
          <p:nvSpPr>
            <p:cNvPr id="143" name="Rectangle: Rounded Corners 142">
              <a:extLst>
                <a:ext uri="{FF2B5EF4-FFF2-40B4-BE49-F238E27FC236}">
                  <a16:creationId xmlns:a16="http://schemas.microsoft.com/office/drawing/2014/main" id="{89333652-185F-44C4-962E-A6E156556378}"/>
                </a:ext>
              </a:extLst>
            </p:cNvPr>
            <p:cNvSpPr/>
            <p:nvPr/>
          </p:nvSpPr>
          <p:spPr>
            <a:xfrm rot="2923883">
              <a:off x="2065230" y="2853634"/>
              <a:ext cx="625191" cy="152146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en-AU" sz="11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iscoSansTT ExtraLight"/>
                <a:ea typeface="+mn-ea"/>
                <a:cs typeface="+mn-cs"/>
                <a:sym typeface="Arial"/>
              </a:endParaRPr>
            </a:p>
          </p:txBody>
        </p:sp>
        <p:sp>
          <p:nvSpPr>
            <p:cNvPr id="144" name="Rectangle: Rounded Corners 143">
              <a:extLst>
                <a:ext uri="{FF2B5EF4-FFF2-40B4-BE49-F238E27FC236}">
                  <a16:creationId xmlns:a16="http://schemas.microsoft.com/office/drawing/2014/main" id="{7CB4F389-D03B-458A-881C-8126BBF29B15}"/>
                </a:ext>
              </a:extLst>
            </p:cNvPr>
            <p:cNvSpPr/>
            <p:nvPr/>
          </p:nvSpPr>
          <p:spPr>
            <a:xfrm rot="18676117" flipH="1">
              <a:off x="2065230" y="3213203"/>
              <a:ext cx="625191" cy="152146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en-AU" sz="11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iscoSansTT ExtraLight"/>
                <a:ea typeface="+mn-ea"/>
                <a:cs typeface="+mn-cs"/>
                <a:sym typeface="Arial"/>
              </a:endParaRPr>
            </a:p>
          </p:txBody>
        </p:sp>
      </p:grpSp>
      <p:grpSp>
        <p:nvGrpSpPr>
          <p:cNvPr id="145" name="Group 144">
            <a:extLst>
              <a:ext uri="{FF2B5EF4-FFF2-40B4-BE49-F238E27FC236}">
                <a16:creationId xmlns:a16="http://schemas.microsoft.com/office/drawing/2014/main" id="{3810B41B-B378-4F19-879D-1F41D172942B}"/>
              </a:ext>
            </a:extLst>
          </p:cNvPr>
          <p:cNvGrpSpPr/>
          <p:nvPr/>
        </p:nvGrpSpPr>
        <p:grpSpPr>
          <a:xfrm>
            <a:off x="4318000" y="5211763"/>
            <a:ext cx="58659" cy="379668"/>
            <a:chOff x="2301753" y="2617111"/>
            <a:chExt cx="152146" cy="984760"/>
          </a:xfrm>
          <a:solidFill>
            <a:schemeClr val="accent2"/>
          </a:solidFill>
        </p:grpSpPr>
        <p:sp>
          <p:nvSpPr>
            <p:cNvPr id="146" name="Rectangle: Rounded Corners 145">
              <a:extLst>
                <a:ext uri="{FF2B5EF4-FFF2-40B4-BE49-F238E27FC236}">
                  <a16:creationId xmlns:a16="http://schemas.microsoft.com/office/drawing/2014/main" id="{6AD62C7C-6ABF-4BB8-89C2-4712239A0E01}"/>
                </a:ext>
              </a:extLst>
            </p:cNvPr>
            <p:cNvSpPr/>
            <p:nvPr/>
          </p:nvSpPr>
          <p:spPr>
            <a:xfrm rot="2923883">
              <a:off x="2065230" y="2853634"/>
              <a:ext cx="625191" cy="152146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en-AU" sz="11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iscoSansTT ExtraLight"/>
                <a:ea typeface="+mn-ea"/>
                <a:cs typeface="+mn-cs"/>
                <a:sym typeface="Arial"/>
              </a:endParaRPr>
            </a:p>
          </p:txBody>
        </p:sp>
        <p:sp>
          <p:nvSpPr>
            <p:cNvPr id="147" name="Rectangle: Rounded Corners 146">
              <a:extLst>
                <a:ext uri="{FF2B5EF4-FFF2-40B4-BE49-F238E27FC236}">
                  <a16:creationId xmlns:a16="http://schemas.microsoft.com/office/drawing/2014/main" id="{B39D2A4F-4B3F-4FBE-A22D-2CD53AF29397}"/>
                </a:ext>
              </a:extLst>
            </p:cNvPr>
            <p:cNvSpPr/>
            <p:nvPr/>
          </p:nvSpPr>
          <p:spPr>
            <a:xfrm rot="18676117" flipH="1">
              <a:off x="2065230" y="3213203"/>
              <a:ext cx="625191" cy="152146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en-AU" sz="11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iscoSansTT ExtraLight"/>
                <a:ea typeface="+mn-ea"/>
                <a:cs typeface="+mn-cs"/>
                <a:sym typeface="Arial"/>
              </a:endParaRPr>
            </a:p>
          </p:txBody>
        </p:sp>
      </p:grpSp>
      <p:grpSp>
        <p:nvGrpSpPr>
          <p:cNvPr id="148" name="Group 147">
            <a:extLst>
              <a:ext uri="{FF2B5EF4-FFF2-40B4-BE49-F238E27FC236}">
                <a16:creationId xmlns:a16="http://schemas.microsoft.com/office/drawing/2014/main" id="{6F05B876-7AB9-4EC1-ABB8-FE81A4850FE3}"/>
              </a:ext>
            </a:extLst>
          </p:cNvPr>
          <p:cNvGrpSpPr/>
          <p:nvPr/>
        </p:nvGrpSpPr>
        <p:grpSpPr>
          <a:xfrm>
            <a:off x="8020050" y="2872454"/>
            <a:ext cx="58659" cy="379668"/>
            <a:chOff x="2301753" y="2617111"/>
            <a:chExt cx="152146" cy="984760"/>
          </a:xfrm>
          <a:solidFill>
            <a:schemeClr val="accent2"/>
          </a:solidFill>
        </p:grpSpPr>
        <p:sp>
          <p:nvSpPr>
            <p:cNvPr id="149" name="Rectangle: Rounded Corners 148">
              <a:extLst>
                <a:ext uri="{FF2B5EF4-FFF2-40B4-BE49-F238E27FC236}">
                  <a16:creationId xmlns:a16="http://schemas.microsoft.com/office/drawing/2014/main" id="{4B4E578F-2FB1-476C-B9A4-9CCD7353E42A}"/>
                </a:ext>
              </a:extLst>
            </p:cNvPr>
            <p:cNvSpPr/>
            <p:nvPr/>
          </p:nvSpPr>
          <p:spPr>
            <a:xfrm rot="2923883">
              <a:off x="2065230" y="2853634"/>
              <a:ext cx="625191" cy="152146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en-AU" sz="11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iscoSansTT ExtraLight"/>
                <a:ea typeface="+mn-ea"/>
                <a:cs typeface="+mn-cs"/>
                <a:sym typeface="Arial"/>
              </a:endParaRPr>
            </a:p>
          </p:txBody>
        </p:sp>
        <p:sp>
          <p:nvSpPr>
            <p:cNvPr id="150" name="Rectangle: Rounded Corners 149">
              <a:extLst>
                <a:ext uri="{FF2B5EF4-FFF2-40B4-BE49-F238E27FC236}">
                  <a16:creationId xmlns:a16="http://schemas.microsoft.com/office/drawing/2014/main" id="{2C4CE5E1-7D45-42C9-B21B-262B2389FB91}"/>
                </a:ext>
              </a:extLst>
            </p:cNvPr>
            <p:cNvSpPr/>
            <p:nvPr/>
          </p:nvSpPr>
          <p:spPr>
            <a:xfrm rot="18676117" flipH="1">
              <a:off x="2065230" y="3213203"/>
              <a:ext cx="625191" cy="152146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en-AU" sz="11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iscoSansTT ExtraLight"/>
                <a:ea typeface="+mn-ea"/>
                <a:cs typeface="+mn-cs"/>
                <a:sym typeface="Arial"/>
              </a:endParaRPr>
            </a:p>
          </p:txBody>
        </p:sp>
      </p:grpSp>
      <p:grpSp>
        <p:nvGrpSpPr>
          <p:cNvPr id="151" name="Group 150">
            <a:extLst>
              <a:ext uri="{FF2B5EF4-FFF2-40B4-BE49-F238E27FC236}">
                <a16:creationId xmlns:a16="http://schemas.microsoft.com/office/drawing/2014/main" id="{A4F5B424-4B56-414D-ABED-E1F773D77E35}"/>
              </a:ext>
            </a:extLst>
          </p:cNvPr>
          <p:cNvGrpSpPr/>
          <p:nvPr/>
        </p:nvGrpSpPr>
        <p:grpSpPr>
          <a:xfrm>
            <a:off x="8020050" y="4053554"/>
            <a:ext cx="58659" cy="379668"/>
            <a:chOff x="2301753" y="2617111"/>
            <a:chExt cx="152146" cy="984760"/>
          </a:xfrm>
          <a:solidFill>
            <a:schemeClr val="accent2"/>
          </a:solidFill>
        </p:grpSpPr>
        <p:sp>
          <p:nvSpPr>
            <p:cNvPr id="152" name="Rectangle: Rounded Corners 151">
              <a:extLst>
                <a:ext uri="{FF2B5EF4-FFF2-40B4-BE49-F238E27FC236}">
                  <a16:creationId xmlns:a16="http://schemas.microsoft.com/office/drawing/2014/main" id="{8868DC00-16EA-4C37-982E-A65C70ACAA85}"/>
                </a:ext>
              </a:extLst>
            </p:cNvPr>
            <p:cNvSpPr/>
            <p:nvPr/>
          </p:nvSpPr>
          <p:spPr>
            <a:xfrm rot="2923883">
              <a:off x="2065230" y="2853634"/>
              <a:ext cx="625191" cy="152146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en-AU" sz="11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iscoSansTT ExtraLight"/>
                <a:ea typeface="+mn-ea"/>
                <a:cs typeface="+mn-cs"/>
                <a:sym typeface="Arial"/>
              </a:endParaRPr>
            </a:p>
          </p:txBody>
        </p:sp>
        <p:sp>
          <p:nvSpPr>
            <p:cNvPr id="153" name="Rectangle: Rounded Corners 152">
              <a:extLst>
                <a:ext uri="{FF2B5EF4-FFF2-40B4-BE49-F238E27FC236}">
                  <a16:creationId xmlns:a16="http://schemas.microsoft.com/office/drawing/2014/main" id="{43545D96-9AB9-42D9-835A-71A9C665079A}"/>
                </a:ext>
              </a:extLst>
            </p:cNvPr>
            <p:cNvSpPr/>
            <p:nvPr/>
          </p:nvSpPr>
          <p:spPr>
            <a:xfrm rot="18676117" flipH="1">
              <a:off x="2065230" y="3213203"/>
              <a:ext cx="625191" cy="152146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en-AU" sz="11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iscoSansTT ExtraLight"/>
                <a:ea typeface="+mn-ea"/>
                <a:cs typeface="+mn-cs"/>
                <a:sym typeface="Arial"/>
              </a:endParaRPr>
            </a:p>
          </p:txBody>
        </p:sp>
      </p:grpSp>
      <p:grpSp>
        <p:nvGrpSpPr>
          <p:cNvPr id="154" name="Group 153">
            <a:extLst>
              <a:ext uri="{FF2B5EF4-FFF2-40B4-BE49-F238E27FC236}">
                <a16:creationId xmlns:a16="http://schemas.microsoft.com/office/drawing/2014/main" id="{2D6F4A32-1ED0-4BA1-B889-4F5207B394A1}"/>
              </a:ext>
            </a:extLst>
          </p:cNvPr>
          <p:cNvGrpSpPr/>
          <p:nvPr/>
        </p:nvGrpSpPr>
        <p:grpSpPr>
          <a:xfrm>
            <a:off x="8020050" y="5211763"/>
            <a:ext cx="58659" cy="379668"/>
            <a:chOff x="2301753" y="2617111"/>
            <a:chExt cx="152146" cy="984760"/>
          </a:xfrm>
          <a:solidFill>
            <a:schemeClr val="accent2"/>
          </a:solidFill>
        </p:grpSpPr>
        <p:sp>
          <p:nvSpPr>
            <p:cNvPr id="155" name="Rectangle: Rounded Corners 154">
              <a:extLst>
                <a:ext uri="{FF2B5EF4-FFF2-40B4-BE49-F238E27FC236}">
                  <a16:creationId xmlns:a16="http://schemas.microsoft.com/office/drawing/2014/main" id="{198F42CF-470D-4E37-BACD-44226C6F9650}"/>
                </a:ext>
              </a:extLst>
            </p:cNvPr>
            <p:cNvSpPr/>
            <p:nvPr/>
          </p:nvSpPr>
          <p:spPr>
            <a:xfrm rot="2923883">
              <a:off x="2065230" y="2853634"/>
              <a:ext cx="625191" cy="152146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en-AU" sz="11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iscoSansTT ExtraLight"/>
                <a:ea typeface="+mn-ea"/>
                <a:cs typeface="+mn-cs"/>
                <a:sym typeface="Arial"/>
              </a:endParaRPr>
            </a:p>
          </p:txBody>
        </p:sp>
        <p:sp>
          <p:nvSpPr>
            <p:cNvPr id="156" name="Rectangle: Rounded Corners 155">
              <a:extLst>
                <a:ext uri="{FF2B5EF4-FFF2-40B4-BE49-F238E27FC236}">
                  <a16:creationId xmlns:a16="http://schemas.microsoft.com/office/drawing/2014/main" id="{29173640-A4E9-4E95-96F7-D72BC63AA874}"/>
                </a:ext>
              </a:extLst>
            </p:cNvPr>
            <p:cNvSpPr/>
            <p:nvPr/>
          </p:nvSpPr>
          <p:spPr>
            <a:xfrm rot="18676117" flipH="1">
              <a:off x="2065230" y="3213203"/>
              <a:ext cx="625191" cy="152146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en-AU" sz="11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iscoSansTT ExtraLight"/>
                <a:ea typeface="+mn-ea"/>
                <a:cs typeface="+mn-cs"/>
                <a:sym typeface="Arial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925468903"/>
      </p:ext>
    </p:extLst>
  </p:cSld>
  <p:clrMapOvr>
    <a:masterClrMapping/>
  </p:clrMapOvr>
  <p:transition>
    <p:fade/>
  </p:transition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" name="Oval 121">
            <a:extLst>
              <a:ext uri="{FF2B5EF4-FFF2-40B4-BE49-F238E27FC236}">
                <a16:creationId xmlns:a16="http://schemas.microsoft.com/office/drawing/2014/main" id="{78FB50FE-1BAE-4FDA-8A1C-AF8D9FC353FA}"/>
              </a:ext>
            </a:extLst>
          </p:cNvPr>
          <p:cNvSpPr/>
          <p:nvPr/>
        </p:nvSpPr>
        <p:spPr>
          <a:xfrm>
            <a:off x="680177" y="5093994"/>
            <a:ext cx="567771" cy="567771"/>
          </a:xfrm>
          <a:prstGeom prst="ellipse">
            <a:avLst/>
          </a:prstGeom>
          <a:solidFill>
            <a:srgbClr val="F5F6F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AU" sz="1100" b="0" i="0" u="none" strike="noStrike" kern="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iscoSansTT ExtraLight"/>
              <a:ea typeface="+mn-ea"/>
              <a:cs typeface="+mn-cs"/>
              <a:sym typeface="Arial"/>
            </a:endParaRPr>
          </a:p>
        </p:txBody>
      </p:sp>
      <p:sp>
        <p:nvSpPr>
          <p:cNvPr id="119" name="Oval 118">
            <a:extLst>
              <a:ext uri="{FF2B5EF4-FFF2-40B4-BE49-F238E27FC236}">
                <a16:creationId xmlns:a16="http://schemas.microsoft.com/office/drawing/2014/main" id="{51CC867E-46EF-4C82-A93B-DDDD707600AA}"/>
              </a:ext>
            </a:extLst>
          </p:cNvPr>
          <p:cNvSpPr/>
          <p:nvPr/>
        </p:nvSpPr>
        <p:spPr>
          <a:xfrm>
            <a:off x="680177" y="3939172"/>
            <a:ext cx="567771" cy="567771"/>
          </a:xfrm>
          <a:prstGeom prst="ellipse">
            <a:avLst/>
          </a:prstGeom>
          <a:solidFill>
            <a:srgbClr val="F5F6F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AU" sz="1100" b="0" i="0" u="none" strike="noStrike" kern="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iscoSansTT ExtraLight"/>
              <a:ea typeface="+mn-ea"/>
              <a:cs typeface="+mn-cs"/>
              <a:sym typeface="Arial"/>
            </a:endParaRPr>
          </a:p>
        </p:txBody>
      </p:sp>
      <p:sp>
        <p:nvSpPr>
          <p:cNvPr id="2" name="Oval 1">
            <a:extLst>
              <a:ext uri="{FF2B5EF4-FFF2-40B4-BE49-F238E27FC236}">
                <a16:creationId xmlns:a16="http://schemas.microsoft.com/office/drawing/2014/main" id="{9FC140A4-88E3-4374-BB5B-D8E8273C3325}"/>
              </a:ext>
            </a:extLst>
          </p:cNvPr>
          <p:cNvSpPr/>
          <p:nvPr/>
        </p:nvSpPr>
        <p:spPr>
          <a:xfrm>
            <a:off x="680177" y="2784350"/>
            <a:ext cx="567771" cy="567771"/>
          </a:xfrm>
          <a:prstGeom prst="ellipse">
            <a:avLst/>
          </a:prstGeom>
          <a:solidFill>
            <a:srgbClr val="F5F6F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AU" sz="1100" b="0" i="0" u="none" strike="noStrike" kern="0" cap="none" spc="0" normalizeH="0" baseline="0" noProof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iscoSansTT ExtraLight"/>
              <a:ea typeface="+mn-ea"/>
              <a:cs typeface="+mn-cs"/>
              <a:sym typeface="Arial"/>
            </a:endParaRP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B50536F6-8107-4BE0-9A07-0BC81AC9A3B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3864" y="371283"/>
            <a:ext cx="10752667" cy="905874"/>
          </a:xfrm>
        </p:spPr>
        <p:txBody>
          <a:bodyPr/>
          <a:lstStyle/>
          <a:p>
            <a:r>
              <a:rPr lang="en-US" sz="2000">
                <a:solidFill>
                  <a:schemeClr val="bg1">
                    <a:lumMod val="50000"/>
                  </a:schemeClr>
                </a:solidFill>
              </a:rPr>
              <a:t>Specialized Expertise</a:t>
            </a:r>
            <a:br>
              <a:rPr lang="en-US"/>
            </a:br>
            <a:r>
              <a:rPr lang="en-US"/>
              <a:t>Example use case: architectural transformation</a:t>
            </a:r>
            <a:br>
              <a:rPr lang="en-US"/>
            </a:br>
            <a:r>
              <a:rPr lang="en-US" sz="2400">
                <a:solidFill>
                  <a:schemeClr val="accent4"/>
                </a:solidFill>
              </a:rPr>
              <a:t>Urgent need to implement Intent-based Networking across the enterprise</a:t>
            </a:r>
            <a:br>
              <a:rPr lang="en-US" sz="2400">
                <a:solidFill>
                  <a:schemeClr val="accent4"/>
                </a:solidFill>
              </a:rPr>
            </a:br>
            <a:endParaRPr lang="en-AU" sz="2400">
              <a:solidFill>
                <a:schemeClr val="accent4"/>
              </a:solidFill>
            </a:endParaRPr>
          </a:p>
        </p:txBody>
      </p:sp>
      <p:sp>
        <p:nvSpPr>
          <p:cNvPr id="6" name="Google Shape;1434;p210">
            <a:extLst>
              <a:ext uri="{FF2B5EF4-FFF2-40B4-BE49-F238E27FC236}">
                <a16:creationId xmlns:a16="http://schemas.microsoft.com/office/drawing/2014/main" id="{A736BEA4-F0B8-4662-B7CE-DA9056596DA3}"/>
              </a:ext>
            </a:extLst>
          </p:cNvPr>
          <p:cNvSpPr/>
          <p:nvPr/>
        </p:nvSpPr>
        <p:spPr>
          <a:xfrm>
            <a:off x="709467" y="2178163"/>
            <a:ext cx="3431937" cy="341200"/>
          </a:xfrm>
          <a:prstGeom prst="roundRect">
            <a:avLst>
              <a:gd name="adj" fmla="val 50000"/>
            </a:avLst>
          </a:prstGeom>
          <a:solidFill>
            <a:schemeClr val="bg2"/>
          </a:solidFill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005073"/>
              </a:buClr>
              <a:buSzPts val="1600"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iscoSansTT ExtraLight" panose="020B0303020201020303" pitchFamily="34" charset="0"/>
                <a:ea typeface="Helvetica Neue Light"/>
                <a:cs typeface="CiscoSansTT ExtraLight" panose="020B0303020201020303" pitchFamily="34" charset="0"/>
                <a:sym typeface="Helvetica Neue Light"/>
              </a:rPr>
              <a:t>Challenge</a:t>
            </a:r>
            <a:endParaRPr kumimoji="0" sz="14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iscoSansTT ExtraLight" panose="020B0303020201020303" pitchFamily="34" charset="0"/>
              <a:ea typeface="Helvetica Neue Light"/>
              <a:cs typeface="CiscoSansTT ExtraLight" panose="020B0303020201020303" pitchFamily="34" charset="0"/>
              <a:sym typeface="Helvetica Neue Light"/>
            </a:endParaRPr>
          </a:p>
        </p:txBody>
      </p:sp>
      <p:sp>
        <p:nvSpPr>
          <p:cNvPr id="26" name="Google Shape;1434;p210">
            <a:extLst>
              <a:ext uri="{FF2B5EF4-FFF2-40B4-BE49-F238E27FC236}">
                <a16:creationId xmlns:a16="http://schemas.microsoft.com/office/drawing/2014/main" id="{3FEAAF39-8F89-4803-ACEC-63E80B41AAAC}"/>
              </a:ext>
            </a:extLst>
          </p:cNvPr>
          <p:cNvSpPr/>
          <p:nvPr/>
        </p:nvSpPr>
        <p:spPr>
          <a:xfrm>
            <a:off x="4375197" y="2178163"/>
            <a:ext cx="3431937" cy="341200"/>
          </a:xfrm>
          <a:prstGeom prst="roundRect">
            <a:avLst>
              <a:gd name="adj" fmla="val 50000"/>
            </a:avLst>
          </a:prstGeom>
          <a:solidFill>
            <a:schemeClr val="bg2"/>
          </a:solidFill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005073"/>
              </a:buClr>
              <a:buSzPts val="1600"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iscoSansTT ExtraLight" panose="020B0303020201020303" pitchFamily="34" charset="0"/>
                <a:ea typeface="Helvetica Neue Light"/>
                <a:cs typeface="CiscoSansTT ExtraLight" panose="020B0303020201020303" pitchFamily="34" charset="0"/>
                <a:sym typeface="Helvetica Neue Light"/>
              </a:rPr>
              <a:t>Solution</a:t>
            </a:r>
            <a:endParaRPr kumimoji="0" sz="14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iscoSansTT ExtraLight" panose="020B0303020201020303" pitchFamily="34" charset="0"/>
              <a:ea typeface="Helvetica Neue Light"/>
              <a:cs typeface="CiscoSansTT ExtraLight" panose="020B0303020201020303" pitchFamily="34" charset="0"/>
              <a:sym typeface="Helvetica Neue Light"/>
            </a:endParaRPr>
          </a:p>
        </p:txBody>
      </p:sp>
      <p:sp>
        <p:nvSpPr>
          <p:cNvPr id="38" name="Google Shape;1434;p210">
            <a:extLst>
              <a:ext uri="{FF2B5EF4-FFF2-40B4-BE49-F238E27FC236}">
                <a16:creationId xmlns:a16="http://schemas.microsoft.com/office/drawing/2014/main" id="{EBE94DBD-C20C-4B5A-9E83-746AFBB788C9}"/>
              </a:ext>
            </a:extLst>
          </p:cNvPr>
          <p:cNvSpPr/>
          <p:nvPr/>
        </p:nvSpPr>
        <p:spPr>
          <a:xfrm>
            <a:off x="8040926" y="2178163"/>
            <a:ext cx="3431937" cy="341200"/>
          </a:xfrm>
          <a:prstGeom prst="roundRect">
            <a:avLst>
              <a:gd name="adj" fmla="val 50000"/>
            </a:avLst>
          </a:prstGeom>
          <a:solidFill>
            <a:schemeClr val="bg2"/>
          </a:solidFill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005073"/>
              </a:buClr>
              <a:buSzPts val="1600"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iscoSansTT ExtraLight" panose="020B0303020201020303" pitchFamily="34" charset="0"/>
                <a:ea typeface="Helvetica Neue Light"/>
                <a:cs typeface="CiscoSansTT ExtraLight" panose="020B0303020201020303" pitchFamily="34" charset="0"/>
                <a:sym typeface="Helvetica Neue Light"/>
              </a:rPr>
              <a:t>Projected Outcome</a:t>
            </a:r>
            <a:endParaRPr kumimoji="0" sz="14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iscoSansTT ExtraLight" panose="020B0303020201020303" pitchFamily="34" charset="0"/>
              <a:ea typeface="Helvetica Neue Light"/>
              <a:cs typeface="CiscoSansTT ExtraLight" panose="020B0303020201020303" pitchFamily="34" charset="0"/>
              <a:sym typeface="Helvetica Neue Light"/>
            </a:endParaRPr>
          </a:p>
        </p:txBody>
      </p:sp>
      <p:sp>
        <p:nvSpPr>
          <p:cNvPr id="11" name="Google Shape;791;p99">
            <a:extLst>
              <a:ext uri="{FF2B5EF4-FFF2-40B4-BE49-F238E27FC236}">
                <a16:creationId xmlns:a16="http://schemas.microsoft.com/office/drawing/2014/main" id="{CE6D275C-5E3C-4B82-A3E0-9E1FEABF9B3D}"/>
              </a:ext>
            </a:extLst>
          </p:cNvPr>
          <p:cNvSpPr/>
          <p:nvPr/>
        </p:nvSpPr>
        <p:spPr>
          <a:xfrm>
            <a:off x="1458278" y="2823435"/>
            <a:ext cx="2775600" cy="52927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2F446B"/>
                </a:solidFill>
                <a:effectLst/>
                <a:uLnTx/>
                <a:uFillTx/>
                <a:latin typeface="CiscoSansTT ExtraLight"/>
                <a:ea typeface="+mn-ea"/>
                <a:cs typeface="Calibri"/>
                <a:sym typeface="Calibri"/>
              </a:rPr>
              <a:t>Developing an architecture to deliver multi-cloud and integrate domains</a:t>
            </a: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2F446B"/>
              </a:solidFill>
              <a:effectLst/>
              <a:uLnTx/>
              <a:uFillTx/>
              <a:latin typeface="CiscoSansTT ExtraLight"/>
              <a:ea typeface="+mn-ea"/>
              <a:cs typeface="+mn-cs"/>
            </a:endParaRP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6691DCEE-624C-46DB-A2D4-E0D3B455DD78}"/>
              </a:ext>
            </a:extLst>
          </p:cNvPr>
          <p:cNvCxnSpPr>
            <a:cxnSpLocks/>
          </p:cNvCxnSpPr>
          <p:nvPr/>
        </p:nvCxnSpPr>
        <p:spPr>
          <a:xfrm flipV="1">
            <a:off x="726759" y="3810617"/>
            <a:ext cx="10753724" cy="1138"/>
          </a:xfrm>
          <a:prstGeom prst="line">
            <a:avLst/>
          </a:prstGeom>
          <a:ln w="12700" cap="rnd">
            <a:solidFill>
              <a:schemeClr val="bg1">
                <a:lumMod val="6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0A311BC4-0A09-46E7-BC3C-6209E2C179FC}"/>
              </a:ext>
            </a:extLst>
          </p:cNvPr>
          <p:cNvCxnSpPr>
            <a:cxnSpLocks/>
          </p:cNvCxnSpPr>
          <p:nvPr/>
        </p:nvCxnSpPr>
        <p:spPr>
          <a:xfrm flipV="1">
            <a:off x="726759" y="4965439"/>
            <a:ext cx="10753724" cy="1138"/>
          </a:xfrm>
          <a:prstGeom prst="line">
            <a:avLst/>
          </a:prstGeom>
          <a:ln w="12700" cap="rnd">
            <a:solidFill>
              <a:schemeClr val="bg1">
                <a:lumMod val="6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6" name="Google Shape;791;p99">
            <a:extLst>
              <a:ext uri="{FF2B5EF4-FFF2-40B4-BE49-F238E27FC236}">
                <a16:creationId xmlns:a16="http://schemas.microsoft.com/office/drawing/2014/main" id="{3583493B-BFC1-4612-A658-4CF2F357BBFC}"/>
              </a:ext>
            </a:extLst>
          </p:cNvPr>
          <p:cNvSpPr/>
          <p:nvPr/>
        </p:nvSpPr>
        <p:spPr>
          <a:xfrm>
            <a:off x="4814880" y="2823435"/>
            <a:ext cx="3071820" cy="52927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2F446B"/>
                </a:solidFill>
                <a:effectLst/>
                <a:uLnTx/>
                <a:uFillTx/>
                <a:latin typeface="CiscoSansTT ExtraLight"/>
                <a:ea typeface="+mn-ea"/>
                <a:cs typeface="+mn-cs"/>
              </a:rPr>
              <a:t>Solution Architect validates architecture and Project Manager builds plan to extend IBN: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50" b="0" i="0" u="none" strike="noStrike" kern="1200" cap="none" spc="0" normalizeH="0" baseline="0" noProof="0">
                <a:ln>
                  <a:noFill/>
                </a:ln>
                <a:solidFill>
                  <a:srgbClr val="2F446B"/>
                </a:solidFill>
                <a:effectLst/>
                <a:uLnTx/>
                <a:uFillTx/>
                <a:latin typeface="CiscoSansTT ExtraLight"/>
                <a:ea typeface="+mn-ea"/>
                <a:cs typeface="+mn-cs"/>
              </a:rPr>
              <a:t>across the WAN: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50" b="0" i="0" u="none" strike="noStrike" kern="1200" cap="none" spc="0" normalizeH="0" baseline="0" noProof="0">
                <a:ln>
                  <a:noFill/>
                </a:ln>
                <a:solidFill>
                  <a:srgbClr val="2F446B"/>
                </a:solidFill>
                <a:effectLst/>
                <a:uLnTx/>
                <a:uFillTx/>
                <a:latin typeface="CiscoSansTT ExtraLight"/>
                <a:ea typeface="+mn-ea"/>
                <a:cs typeface="+mn-cs"/>
              </a:rPr>
              <a:t>campus/branch to data center and cloud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50" b="0" i="0" u="none" strike="noStrike" kern="1200" cap="none" spc="0" normalizeH="0" baseline="0" noProof="0">
                <a:ln>
                  <a:noFill/>
                </a:ln>
                <a:solidFill>
                  <a:srgbClr val="2F446B"/>
                </a:solidFill>
                <a:effectLst/>
                <a:uLnTx/>
                <a:uFillTx/>
                <a:latin typeface="CiscoSansTT ExtraLight"/>
                <a:ea typeface="+mn-ea"/>
                <a:cs typeface="+mn-cs"/>
              </a:rPr>
              <a:t>integrating newly acquired domains</a:t>
            </a:r>
          </a:p>
        </p:txBody>
      </p:sp>
      <p:sp>
        <p:nvSpPr>
          <p:cNvPr id="58" name="Google Shape;791;p99">
            <a:extLst>
              <a:ext uri="{FF2B5EF4-FFF2-40B4-BE49-F238E27FC236}">
                <a16:creationId xmlns:a16="http://schemas.microsoft.com/office/drawing/2014/main" id="{A2317652-A44A-4340-AF5A-A1D21976309B}"/>
              </a:ext>
            </a:extLst>
          </p:cNvPr>
          <p:cNvSpPr/>
          <p:nvPr/>
        </p:nvSpPr>
        <p:spPr>
          <a:xfrm>
            <a:off x="8480609" y="2823435"/>
            <a:ext cx="2686057" cy="52927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2F446B"/>
                </a:solidFill>
                <a:effectLst/>
                <a:uLnTx/>
                <a:uFillTx/>
                <a:latin typeface="CiscoSansTT ExtraLight"/>
                <a:ea typeface="+mn-ea"/>
                <a:cs typeface="+mn-cs"/>
              </a:rPr>
              <a:t>Enable seamless interoperation of the newly merged networks</a:t>
            </a:r>
          </a:p>
        </p:txBody>
      </p:sp>
      <p:sp>
        <p:nvSpPr>
          <p:cNvPr id="59" name="Google Shape;791;p99">
            <a:extLst>
              <a:ext uri="{FF2B5EF4-FFF2-40B4-BE49-F238E27FC236}">
                <a16:creationId xmlns:a16="http://schemas.microsoft.com/office/drawing/2014/main" id="{9ED38741-6A68-4353-91A2-3CF4D61C94BD}"/>
              </a:ext>
            </a:extLst>
          </p:cNvPr>
          <p:cNvSpPr/>
          <p:nvPr/>
        </p:nvSpPr>
        <p:spPr>
          <a:xfrm>
            <a:off x="1458278" y="3978257"/>
            <a:ext cx="2125345" cy="52927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2F446B"/>
                </a:solidFill>
                <a:effectLst/>
                <a:uLnTx/>
                <a:uFillTx/>
                <a:latin typeface="CiscoSansTT ExtraLight"/>
                <a:ea typeface="CiscoSansTT ExtraLight"/>
                <a:cs typeface="CiscoSansTT ExtraLight"/>
              </a:rPr>
              <a:t>Integration of applications, with agility and scale, across the expanded network</a:t>
            </a: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2F446B"/>
              </a:solidFill>
              <a:effectLst/>
              <a:uLnTx/>
              <a:uFillTx/>
              <a:latin typeface="CiscoSansTT ExtraLight"/>
              <a:ea typeface="+mn-ea"/>
              <a:cs typeface="+mn-cs"/>
            </a:endParaRPr>
          </a:p>
        </p:txBody>
      </p:sp>
      <p:sp>
        <p:nvSpPr>
          <p:cNvPr id="60" name="Google Shape;791;p99">
            <a:extLst>
              <a:ext uri="{FF2B5EF4-FFF2-40B4-BE49-F238E27FC236}">
                <a16:creationId xmlns:a16="http://schemas.microsoft.com/office/drawing/2014/main" id="{BD709411-0E73-4E7E-9CD0-ED2EE8620E3E}"/>
              </a:ext>
            </a:extLst>
          </p:cNvPr>
          <p:cNvSpPr/>
          <p:nvPr/>
        </p:nvSpPr>
        <p:spPr>
          <a:xfrm>
            <a:off x="4814880" y="3978257"/>
            <a:ext cx="3071820" cy="52927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2F446B"/>
                </a:solidFill>
                <a:effectLst/>
                <a:uLnTx/>
                <a:uFillTx/>
                <a:latin typeface="CiscoSansTT ExtraLight"/>
                <a:ea typeface="Calibri"/>
                <a:cs typeface="Calibri"/>
                <a:sym typeface="Calibri"/>
              </a:rPr>
              <a:t>Consulting Engineer: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50" b="0" i="0" u="none" strike="noStrike" kern="1200" cap="none" spc="0" normalizeH="0" baseline="0" noProof="0">
                <a:ln>
                  <a:noFill/>
                </a:ln>
                <a:solidFill>
                  <a:srgbClr val="2F446B"/>
                </a:solidFill>
                <a:effectLst/>
                <a:uLnTx/>
                <a:uFillTx/>
                <a:latin typeface="CiscoSansTT ExtraLight"/>
                <a:ea typeface="Calibri"/>
                <a:cs typeface="Calibri"/>
                <a:sym typeface="Calibri"/>
              </a:rPr>
              <a:t>Aligns SD-Access solution to new requirements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50" b="0" i="0" u="none" strike="noStrike" kern="1200" cap="none" spc="0" normalizeH="0" baseline="0" noProof="0">
                <a:ln>
                  <a:noFill/>
                </a:ln>
                <a:solidFill>
                  <a:srgbClr val="2F446B"/>
                </a:solidFill>
                <a:effectLst/>
                <a:uLnTx/>
                <a:uFillTx/>
                <a:latin typeface="CiscoSansTT ExtraLight"/>
                <a:ea typeface="Calibri"/>
                <a:cs typeface="Calibri"/>
                <a:sym typeface="Calibri"/>
              </a:rPr>
              <a:t>Models proposed solutions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50" b="0" i="0" u="none" strike="noStrike" kern="1200" cap="none" spc="0" normalizeH="0" baseline="0" noProof="0">
                <a:ln>
                  <a:noFill/>
                </a:ln>
                <a:solidFill>
                  <a:srgbClr val="2F446B"/>
                </a:solidFill>
                <a:effectLst/>
                <a:uLnTx/>
                <a:uFillTx/>
                <a:latin typeface="CiscoSansTT ExtraLight"/>
                <a:ea typeface="Calibri"/>
                <a:cs typeface="Calibri"/>
                <a:sym typeface="Calibri"/>
              </a:rPr>
              <a:t>Validates implementation</a:t>
            </a:r>
          </a:p>
        </p:txBody>
      </p:sp>
      <p:sp>
        <p:nvSpPr>
          <p:cNvPr id="61" name="Google Shape;791;p99">
            <a:extLst>
              <a:ext uri="{FF2B5EF4-FFF2-40B4-BE49-F238E27FC236}">
                <a16:creationId xmlns:a16="http://schemas.microsoft.com/office/drawing/2014/main" id="{E87C0219-D8E6-4727-B417-70577C4914EE}"/>
              </a:ext>
            </a:extLst>
          </p:cNvPr>
          <p:cNvSpPr/>
          <p:nvPr/>
        </p:nvSpPr>
        <p:spPr>
          <a:xfrm>
            <a:off x="8480609" y="3978257"/>
            <a:ext cx="2929897" cy="52927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2F446B"/>
                </a:solidFill>
                <a:effectLst/>
                <a:uLnTx/>
                <a:uFillTx/>
                <a:latin typeface="CiscoSansTT ExtraLight"/>
                <a:ea typeface="CiscoSansTT ExtraLight"/>
                <a:cs typeface="CiscoSansTT ExtraLight"/>
              </a:rPr>
              <a:t>Streamline operations and facilitate IT and business innovation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2F446B"/>
              </a:solidFill>
              <a:effectLst/>
              <a:uLnTx/>
              <a:uFillTx/>
              <a:latin typeface="CiscoSansTT ExtraLight"/>
              <a:ea typeface="+mn-ea"/>
              <a:cs typeface="+mn-cs"/>
            </a:endParaRPr>
          </a:p>
        </p:txBody>
      </p:sp>
      <p:sp>
        <p:nvSpPr>
          <p:cNvPr id="62" name="Google Shape;791;p99">
            <a:extLst>
              <a:ext uri="{FF2B5EF4-FFF2-40B4-BE49-F238E27FC236}">
                <a16:creationId xmlns:a16="http://schemas.microsoft.com/office/drawing/2014/main" id="{23AE0C67-E3FD-47AD-8F92-C1973C3179D8}"/>
              </a:ext>
            </a:extLst>
          </p:cNvPr>
          <p:cNvSpPr/>
          <p:nvPr/>
        </p:nvSpPr>
        <p:spPr>
          <a:xfrm>
            <a:off x="1458278" y="5133079"/>
            <a:ext cx="2626042" cy="52927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2F446B"/>
                </a:solidFill>
                <a:effectLst/>
                <a:uLnTx/>
                <a:uFillTx/>
                <a:latin typeface="CiscoSansTT ExtraLight"/>
                <a:ea typeface="Calibri"/>
                <a:cs typeface="Calibri"/>
                <a:sym typeface="Calibri"/>
              </a:rPr>
              <a:t>Securely connecting the newly acquired organization</a:t>
            </a: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2F446B"/>
              </a:solidFill>
              <a:effectLst/>
              <a:uLnTx/>
              <a:uFillTx/>
              <a:latin typeface="CiscoSansTT ExtraLight"/>
              <a:ea typeface="CiscoSansTT ExtraLight"/>
              <a:cs typeface="CiscoSansTT ExtraLight"/>
            </a:endParaRPr>
          </a:p>
        </p:txBody>
      </p:sp>
      <p:sp>
        <p:nvSpPr>
          <p:cNvPr id="63" name="Google Shape;791;p99">
            <a:extLst>
              <a:ext uri="{FF2B5EF4-FFF2-40B4-BE49-F238E27FC236}">
                <a16:creationId xmlns:a16="http://schemas.microsoft.com/office/drawing/2014/main" id="{714175C5-A7A1-4A16-9D0F-669C070019F6}"/>
              </a:ext>
            </a:extLst>
          </p:cNvPr>
          <p:cNvSpPr/>
          <p:nvPr/>
        </p:nvSpPr>
        <p:spPr>
          <a:xfrm>
            <a:off x="4814880" y="5133079"/>
            <a:ext cx="2924500" cy="52927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2F446B"/>
                </a:solidFill>
                <a:effectLst/>
                <a:uLnTx/>
                <a:uFillTx/>
                <a:latin typeface="CiscoSansTT ExtraLight"/>
                <a:ea typeface="Calibri"/>
                <a:cs typeface="Calibri"/>
                <a:sym typeface="Calibri"/>
              </a:rPr>
              <a:t>Consulting Engineer and Project Manager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50" b="0" i="0" u="none" strike="noStrike" kern="1200" cap="none" spc="0" normalizeH="0" baseline="0" noProof="0">
                <a:ln>
                  <a:noFill/>
                </a:ln>
                <a:solidFill>
                  <a:srgbClr val="2F446B"/>
                </a:solidFill>
                <a:effectLst/>
                <a:uLnTx/>
                <a:uFillTx/>
                <a:latin typeface="CiscoSansTT ExtraLight"/>
                <a:ea typeface="Calibri"/>
                <a:cs typeface="Calibri"/>
                <a:sym typeface="Calibri"/>
              </a:rPr>
              <a:t>Apply Cisco IP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50" b="0" i="0" u="none" strike="noStrike" kern="1200" cap="none" spc="0" normalizeH="0" baseline="0" noProof="0">
                <a:ln>
                  <a:noFill/>
                </a:ln>
                <a:solidFill>
                  <a:srgbClr val="2F446B"/>
                </a:solidFill>
                <a:effectLst/>
                <a:uLnTx/>
                <a:uFillTx/>
                <a:latin typeface="CiscoSansTT ExtraLight"/>
                <a:ea typeface="Calibri"/>
                <a:cs typeface="Calibri"/>
                <a:sym typeface="Calibri"/>
              </a:rPr>
              <a:t>Provide roadmap and MOP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50" b="0" i="0" u="none" strike="noStrike" kern="1200" cap="none" spc="0" normalizeH="0" baseline="0" noProof="0">
                <a:ln>
                  <a:noFill/>
                </a:ln>
                <a:solidFill>
                  <a:srgbClr val="2F446B"/>
                </a:solidFill>
                <a:effectLst/>
                <a:uLnTx/>
                <a:uFillTx/>
                <a:latin typeface="CiscoSansTT ExtraLight"/>
                <a:ea typeface="Calibri"/>
                <a:cs typeface="Calibri"/>
                <a:sym typeface="Calibri"/>
              </a:rPr>
              <a:t>Coordinate with multiple teams</a:t>
            </a:r>
          </a:p>
        </p:txBody>
      </p:sp>
      <p:sp>
        <p:nvSpPr>
          <p:cNvPr id="64" name="Google Shape;791;p99">
            <a:extLst>
              <a:ext uri="{FF2B5EF4-FFF2-40B4-BE49-F238E27FC236}">
                <a16:creationId xmlns:a16="http://schemas.microsoft.com/office/drawing/2014/main" id="{781288F9-5260-4C84-B5A5-D5CA1EA84700}"/>
              </a:ext>
            </a:extLst>
          </p:cNvPr>
          <p:cNvSpPr/>
          <p:nvPr/>
        </p:nvSpPr>
        <p:spPr>
          <a:xfrm>
            <a:off x="8480609" y="5133079"/>
            <a:ext cx="2819407" cy="52927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2F446B"/>
                </a:solidFill>
                <a:effectLst/>
                <a:uLnTx/>
                <a:uFillTx/>
                <a:latin typeface="CiscoSansTT ExtraLight"/>
                <a:ea typeface="CiscoSansTT ExtraLight"/>
                <a:cs typeface="CiscoSansTT ExtraLight"/>
              </a:rPr>
              <a:t>Gain complete visibility of users, devices, apps, and processes to reduce vulnerabilities and respond faster</a:t>
            </a:r>
          </a:p>
        </p:txBody>
      </p:sp>
      <p:pic>
        <p:nvPicPr>
          <p:cNvPr id="121" name="Google Shape;2812;p68">
            <a:extLst>
              <a:ext uri="{FF2B5EF4-FFF2-40B4-BE49-F238E27FC236}">
                <a16:creationId xmlns:a16="http://schemas.microsoft.com/office/drawing/2014/main" id="{86286453-C574-4178-AB18-C530F21921A2}"/>
              </a:ext>
            </a:extLst>
          </p:cNvPr>
          <p:cNvPicPr preferRelativeResize="0"/>
          <p:nvPr/>
        </p:nvPicPr>
        <p:blipFill rotWithShape="1">
          <a:blip r:embed="rId3" cstate="print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9138" y="2823435"/>
            <a:ext cx="489600" cy="489600"/>
          </a:xfrm>
          <a:prstGeom prst="rect">
            <a:avLst/>
          </a:prstGeom>
          <a:noFill/>
          <a:ln>
            <a:noFill/>
          </a:ln>
        </p:spPr>
      </p:pic>
      <p:pic>
        <p:nvPicPr>
          <p:cNvPr id="125" name="Google Shape;2746;p65">
            <a:extLst>
              <a:ext uri="{FF2B5EF4-FFF2-40B4-BE49-F238E27FC236}">
                <a16:creationId xmlns:a16="http://schemas.microsoft.com/office/drawing/2014/main" id="{922CEC75-B904-411F-BCCB-81F544CE0DC8}"/>
              </a:ext>
            </a:extLst>
          </p:cNvPr>
          <p:cNvPicPr preferRelativeResize="0"/>
          <p:nvPr/>
        </p:nvPicPr>
        <p:blipFill rotWithShape="1">
          <a:blip r:embed="rId4" cstate="print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9262" y="3978257"/>
            <a:ext cx="489600" cy="489600"/>
          </a:xfrm>
          <a:prstGeom prst="rect">
            <a:avLst/>
          </a:prstGeom>
          <a:noFill/>
          <a:ln>
            <a:noFill/>
          </a:ln>
        </p:spPr>
      </p:pic>
      <p:pic>
        <p:nvPicPr>
          <p:cNvPr id="129" name="Google Shape;2787;p67">
            <a:extLst>
              <a:ext uri="{FF2B5EF4-FFF2-40B4-BE49-F238E27FC236}">
                <a16:creationId xmlns:a16="http://schemas.microsoft.com/office/drawing/2014/main" id="{0A95191A-0019-4C9A-B8C6-E02A1BCC28A4}"/>
              </a:ext>
            </a:extLst>
          </p:cNvPr>
          <p:cNvPicPr preferRelativeResize="0"/>
          <p:nvPr/>
        </p:nvPicPr>
        <p:blipFill rotWithShape="1">
          <a:blip r:embed="rId5" cstate="print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9263" y="5133079"/>
            <a:ext cx="489600" cy="489600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139" name="Group 138">
            <a:extLst>
              <a:ext uri="{FF2B5EF4-FFF2-40B4-BE49-F238E27FC236}">
                <a16:creationId xmlns:a16="http://schemas.microsoft.com/office/drawing/2014/main" id="{9C0EE468-8F10-42FD-9C31-C69E56585EB1}"/>
              </a:ext>
            </a:extLst>
          </p:cNvPr>
          <p:cNvGrpSpPr/>
          <p:nvPr/>
        </p:nvGrpSpPr>
        <p:grpSpPr>
          <a:xfrm>
            <a:off x="4318000" y="2872454"/>
            <a:ext cx="58659" cy="379668"/>
            <a:chOff x="2301753" y="2617111"/>
            <a:chExt cx="152146" cy="984760"/>
          </a:xfrm>
          <a:solidFill>
            <a:schemeClr val="accent2"/>
          </a:solidFill>
        </p:grpSpPr>
        <p:sp>
          <p:nvSpPr>
            <p:cNvPr id="140" name="Rectangle: Rounded Corners 139">
              <a:extLst>
                <a:ext uri="{FF2B5EF4-FFF2-40B4-BE49-F238E27FC236}">
                  <a16:creationId xmlns:a16="http://schemas.microsoft.com/office/drawing/2014/main" id="{80C36663-E44C-4173-B09B-9CFE68C106CD}"/>
                </a:ext>
              </a:extLst>
            </p:cNvPr>
            <p:cNvSpPr/>
            <p:nvPr/>
          </p:nvSpPr>
          <p:spPr>
            <a:xfrm rot="2923883">
              <a:off x="2065230" y="2853634"/>
              <a:ext cx="625191" cy="152146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en-AU" sz="1100" b="0" i="0" u="none" strike="noStrike" kern="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iscoSansTT ExtraLight"/>
                <a:ea typeface="+mn-ea"/>
                <a:cs typeface="+mn-cs"/>
                <a:sym typeface="Arial"/>
              </a:endParaRPr>
            </a:p>
          </p:txBody>
        </p:sp>
        <p:sp>
          <p:nvSpPr>
            <p:cNvPr id="141" name="Rectangle: Rounded Corners 140">
              <a:extLst>
                <a:ext uri="{FF2B5EF4-FFF2-40B4-BE49-F238E27FC236}">
                  <a16:creationId xmlns:a16="http://schemas.microsoft.com/office/drawing/2014/main" id="{91DDFDC7-BB0D-4205-8BCD-37AB4E682947}"/>
                </a:ext>
              </a:extLst>
            </p:cNvPr>
            <p:cNvSpPr/>
            <p:nvPr/>
          </p:nvSpPr>
          <p:spPr>
            <a:xfrm rot="18676117" flipH="1">
              <a:off x="2065230" y="3213203"/>
              <a:ext cx="625191" cy="152146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en-AU" sz="1100" b="0" i="0" u="none" strike="noStrike" kern="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iscoSansTT ExtraLight"/>
                <a:ea typeface="+mn-ea"/>
                <a:cs typeface="+mn-cs"/>
                <a:sym typeface="Arial"/>
              </a:endParaRPr>
            </a:p>
          </p:txBody>
        </p:sp>
      </p:grpSp>
      <p:grpSp>
        <p:nvGrpSpPr>
          <p:cNvPr id="142" name="Group 141">
            <a:extLst>
              <a:ext uri="{FF2B5EF4-FFF2-40B4-BE49-F238E27FC236}">
                <a16:creationId xmlns:a16="http://schemas.microsoft.com/office/drawing/2014/main" id="{2C2F02EF-E4D1-4777-A16F-3CF9BEAD122A}"/>
              </a:ext>
            </a:extLst>
          </p:cNvPr>
          <p:cNvGrpSpPr/>
          <p:nvPr/>
        </p:nvGrpSpPr>
        <p:grpSpPr>
          <a:xfrm>
            <a:off x="4318000" y="4053554"/>
            <a:ext cx="58659" cy="379668"/>
            <a:chOff x="2301753" y="2617111"/>
            <a:chExt cx="152146" cy="984760"/>
          </a:xfrm>
          <a:solidFill>
            <a:schemeClr val="accent2"/>
          </a:solidFill>
        </p:grpSpPr>
        <p:sp>
          <p:nvSpPr>
            <p:cNvPr id="143" name="Rectangle: Rounded Corners 142">
              <a:extLst>
                <a:ext uri="{FF2B5EF4-FFF2-40B4-BE49-F238E27FC236}">
                  <a16:creationId xmlns:a16="http://schemas.microsoft.com/office/drawing/2014/main" id="{89333652-185F-44C4-962E-A6E156556378}"/>
                </a:ext>
              </a:extLst>
            </p:cNvPr>
            <p:cNvSpPr/>
            <p:nvPr/>
          </p:nvSpPr>
          <p:spPr>
            <a:xfrm rot="2923883">
              <a:off x="2065230" y="2853634"/>
              <a:ext cx="625191" cy="152146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en-AU" sz="1100" b="0" i="0" u="none" strike="noStrike" kern="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iscoSansTT ExtraLight"/>
                <a:ea typeface="+mn-ea"/>
                <a:cs typeface="+mn-cs"/>
                <a:sym typeface="Arial"/>
              </a:endParaRPr>
            </a:p>
          </p:txBody>
        </p:sp>
        <p:sp>
          <p:nvSpPr>
            <p:cNvPr id="144" name="Rectangle: Rounded Corners 143">
              <a:extLst>
                <a:ext uri="{FF2B5EF4-FFF2-40B4-BE49-F238E27FC236}">
                  <a16:creationId xmlns:a16="http://schemas.microsoft.com/office/drawing/2014/main" id="{7CB4F389-D03B-458A-881C-8126BBF29B15}"/>
                </a:ext>
              </a:extLst>
            </p:cNvPr>
            <p:cNvSpPr/>
            <p:nvPr/>
          </p:nvSpPr>
          <p:spPr>
            <a:xfrm rot="18676117" flipH="1">
              <a:off x="2065230" y="3213203"/>
              <a:ext cx="625191" cy="152146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en-AU" sz="1100" b="0" i="0" u="none" strike="noStrike" kern="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iscoSansTT ExtraLight"/>
                <a:ea typeface="+mn-ea"/>
                <a:cs typeface="+mn-cs"/>
                <a:sym typeface="Arial"/>
              </a:endParaRPr>
            </a:p>
          </p:txBody>
        </p:sp>
      </p:grpSp>
      <p:grpSp>
        <p:nvGrpSpPr>
          <p:cNvPr id="145" name="Group 144">
            <a:extLst>
              <a:ext uri="{FF2B5EF4-FFF2-40B4-BE49-F238E27FC236}">
                <a16:creationId xmlns:a16="http://schemas.microsoft.com/office/drawing/2014/main" id="{3810B41B-B378-4F19-879D-1F41D172942B}"/>
              </a:ext>
            </a:extLst>
          </p:cNvPr>
          <p:cNvGrpSpPr/>
          <p:nvPr/>
        </p:nvGrpSpPr>
        <p:grpSpPr>
          <a:xfrm>
            <a:off x="4318000" y="5211763"/>
            <a:ext cx="58659" cy="379668"/>
            <a:chOff x="2301753" y="2617111"/>
            <a:chExt cx="152146" cy="984760"/>
          </a:xfrm>
          <a:solidFill>
            <a:schemeClr val="accent2"/>
          </a:solidFill>
        </p:grpSpPr>
        <p:sp>
          <p:nvSpPr>
            <p:cNvPr id="146" name="Rectangle: Rounded Corners 145">
              <a:extLst>
                <a:ext uri="{FF2B5EF4-FFF2-40B4-BE49-F238E27FC236}">
                  <a16:creationId xmlns:a16="http://schemas.microsoft.com/office/drawing/2014/main" id="{6AD62C7C-6ABF-4BB8-89C2-4712239A0E01}"/>
                </a:ext>
              </a:extLst>
            </p:cNvPr>
            <p:cNvSpPr/>
            <p:nvPr/>
          </p:nvSpPr>
          <p:spPr>
            <a:xfrm rot="2923883">
              <a:off x="2065230" y="2853634"/>
              <a:ext cx="625191" cy="152146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en-AU" sz="1100" b="0" i="0" u="none" strike="noStrike" kern="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iscoSansTT ExtraLight"/>
                <a:ea typeface="+mn-ea"/>
                <a:cs typeface="+mn-cs"/>
                <a:sym typeface="Arial"/>
              </a:endParaRPr>
            </a:p>
          </p:txBody>
        </p:sp>
        <p:sp>
          <p:nvSpPr>
            <p:cNvPr id="147" name="Rectangle: Rounded Corners 146">
              <a:extLst>
                <a:ext uri="{FF2B5EF4-FFF2-40B4-BE49-F238E27FC236}">
                  <a16:creationId xmlns:a16="http://schemas.microsoft.com/office/drawing/2014/main" id="{B39D2A4F-4B3F-4FBE-A22D-2CD53AF29397}"/>
                </a:ext>
              </a:extLst>
            </p:cNvPr>
            <p:cNvSpPr/>
            <p:nvPr/>
          </p:nvSpPr>
          <p:spPr>
            <a:xfrm rot="18676117" flipH="1">
              <a:off x="2065230" y="3213203"/>
              <a:ext cx="625191" cy="152146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en-AU" sz="1100" b="0" i="0" u="none" strike="noStrike" kern="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iscoSansTT ExtraLight"/>
                <a:ea typeface="+mn-ea"/>
                <a:cs typeface="+mn-cs"/>
                <a:sym typeface="Arial"/>
              </a:endParaRPr>
            </a:p>
          </p:txBody>
        </p:sp>
      </p:grpSp>
      <p:grpSp>
        <p:nvGrpSpPr>
          <p:cNvPr id="148" name="Group 147">
            <a:extLst>
              <a:ext uri="{FF2B5EF4-FFF2-40B4-BE49-F238E27FC236}">
                <a16:creationId xmlns:a16="http://schemas.microsoft.com/office/drawing/2014/main" id="{6F05B876-7AB9-4EC1-ABB8-FE81A4850FE3}"/>
              </a:ext>
            </a:extLst>
          </p:cNvPr>
          <p:cNvGrpSpPr/>
          <p:nvPr/>
        </p:nvGrpSpPr>
        <p:grpSpPr>
          <a:xfrm>
            <a:off x="8020050" y="2872454"/>
            <a:ext cx="58659" cy="379668"/>
            <a:chOff x="2301753" y="2617111"/>
            <a:chExt cx="152146" cy="984760"/>
          </a:xfrm>
          <a:solidFill>
            <a:schemeClr val="accent2"/>
          </a:solidFill>
        </p:grpSpPr>
        <p:sp>
          <p:nvSpPr>
            <p:cNvPr id="149" name="Rectangle: Rounded Corners 148">
              <a:extLst>
                <a:ext uri="{FF2B5EF4-FFF2-40B4-BE49-F238E27FC236}">
                  <a16:creationId xmlns:a16="http://schemas.microsoft.com/office/drawing/2014/main" id="{4B4E578F-2FB1-476C-B9A4-9CCD7353E42A}"/>
                </a:ext>
              </a:extLst>
            </p:cNvPr>
            <p:cNvSpPr/>
            <p:nvPr/>
          </p:nvSpPr>
          <p:spPr>
            <a:xfrm rot="2923883">
              <a:off x="2065230" y="2853634"/>
              <a:ext cx="625191" cy="152146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en-AU" sz="1100" b="0" i="0" u="none" strike="noStrike" kern="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iscoSansTT ExtraLight"/>
                <a:ea typeface="+mn-ea"/>
                <a:cs typeface="+mn-cs"/>
                <a:sym typeface="Arial"/>
              </a:endParaRPr>
            </a:p>
          </p:txBody>
        </p:sp>
        <p:sp>
          <p:nvSpPr>
            <p:cNvPr id="150" name="Rectangle: Rounded Corners 149">
              <a:extLst>
                <a:ext uri="{FF2B5EF4-FFF2-40B4-BE49-F238E27FC236}">
                  <a16:creationId xmlns:a16="http://schemas.microsoft.com/office/drawing/2014/main" id="{2C4CE5E1-7D45-42C9-B21B-262B2389FB91}"/>
                </a:ext>
              </a:extLst>
            </p:cNvPr>
            <p:cNvSpPr/>
            <p:nvPr/>
          </p:nvSpPr>
          <p:spPr>
            <a:xfrm rot="18676117" flipH="1">
              <a:off x="2065230" y="3213203"/>
              <a:ext cx="625191" cy="152146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en-AU" sz="1100" b="0" i="0" u="none" strike="noStrike" kern="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iscoSansTT ExtraLight"/>
                <a:ea typeface="+mn-ea"/>
                <a:cs typeface="+mn-cs"/>
                <a:sym typeface="Arial"/>
              </a:endParaRPr>
            </a:p>
          </p:txBody>
        </p:sp>
      </p:grpSp>
      <p:grpSp>
        <p:nvGrpSpPr>
          <p:cNvPr id="151" name="Group 150">
            <a:extLst>
              <a:ext uri="{FF2B5EF4-FFF2-40B4-BE49-F238E27FC236}">
                <a16:creationId xmlns:a16="http://schemas.microsoft.com/office/drawing/2014/main" id="{A4F5B424-4B56-414D-ABED-E1F773D77E35}"/>
              </a:ext>
            </a:extLst>
          </p:cNvPr>
          <p:cNvGrpSpPr/>
          <p:nvPr/>
        </p:nvGrpSpPr>
        <p:grpSpPr>
          <a:xfrm>
            <a:off x="8020050" y="4053554"/>
            <a:ext cx="58659" cy="379668"/>
            <a:chOff x="2301753" y="2617111"/>
            <a:chExt cx="152146" cy="984760"/>
          </a:xfrm>
          <a:solidFill>
            <a:schemeClr val="accent2"/>
          </a:solidFill>
        </p:grpSpPr>
        <p:sp>
          <p:nvSpPr>
            <p:cNvPr id="152" name="Rectangle: Rounded Corners 151">
              <a:extLst>
                <a:ext uri="{FF2B5EF4-FFF2-40B4-BE49-F238E27FC236}">
                  <a16:creationId xmlns:a16="http://schemas.microsoft.com/office/drawing/2014/main" id="{8868DC00-16EA-4C37-982E-A65C70ACAA85}"/>
                </a:ext>
              </a:extLst>
            </p:cNvPr>
            <p:cNvSpPr/>
            <p:nvPr/>
          </p:nvSpPr>
          <p:spPr>
            <a:xfrm rot="2923883">
              <a:off x="2065230" y="2853634"/>
              <a:ext cx="625191" cy="152146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en-AU" sz="1100" b="0" i="0" u="none" strike="noStrike" kern="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iscoSansTT ExtraLight"/>
                <a:ea typeface="+mn-ea"/>
                <a:cs typeface="+mn-cs"/>
                <a:sym typeface="Arial"/>
              </a:endParaRPr>
            </a:p>
          </p:txBody>
        </p:sp>
        <p:sp>
          <p:nvSpPr>
            <p:cNvPr id="153" name="Rectangle: Rounded Corners 152">
              <a:extLst>
                <a:ext uri="{FF2B5EF4-FFF2-40B4-BE49-F238E27FC236}">
                  <a16:creationId xmlns:a16="http://schemas.microsoft.com/office/drawing/2014/main" id="{43545D96-9AB9-42D9-835A-71A9C665079A}"/>
                </a:ext>
              </a:extLst>
            </p:cNvPr>
            <p:cNvSpPr/>
            <p:nvPr/>
          </p:nvSpPr>
          <p:spPr>
            <a:xfrm rot="18676117" flipH="1">
              <a:off x="2065230" y="3213203"/>
              <a:ext cx="625191" cy="152146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en-AU" sz="1100" b="0" i="0" u="none" strike="noStrike" kern="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iscoSansTT ExtraLight"/>
                <a:ea typeface="+mn-ea"/>
                <a:cs typeface="+mn-cs"/>
                <a:sym typeface="Arial"/>
              </a:endParaRPr>
            </a:p>
          </p:txBody>
        </p:sp>
      </p:grpSp>
      <p:grpSp>
        <p:nvGrpSpPr>
          <p:cNvPr id="154" name="Group 153">
            <a:extLst>
              <a:ext uri="{FF2B5EF4-FFF2-40B4-BE49-F238E27FC236}">
                <a16:creationId xmlns:a16="http://schemas.microsoft.com/office/drawing/2014/main" id="{2D6F4A32-1ED0-4BA1-B889-4F5207B394A1}"/>
              </a:ext>
            </a:extLst>
          </p:cNvPr>
          <p:cNvGrpSpPr/>
          <p:nvPr/>
        </p:nvGrpSpPr>
        <p:grpSpPr>
          <a:xfrm>
            <a:off x="8020050" y="5211763"/>
            <a:ext cx="58659" cy="379668"/>
            <a:chOff x="2301753" y="2617111"/>
            <a:chExt cx="152146" cy="984760"/>
          </a:xfrm>
          <a:solidFill>
            <a:schemeClr val="accent2"/>
          </a:solidFill>
        </p:grpSpPr>
        <p:sp>
          <p:nvSpPr>
            <p:cNvPr id="155" name="Rectangle: Rounded Corners 154">
              <a:extLst>
                <a:ext uri="{FF2B5EF4-FFF2-40B4-BE49-F238E27FC236}">
                  <a16:creationId xmlns:a16="http://schemas.microsoft.com/office/drawing/2014/main" id="{198F42CF-470D-4E37-BACD-44226C6F9650}"/>
                </a:ext>
              </a:extLst>
            </p:cNvPr>
            <p:cNvSpPr/>
            <p:nvPr/>
          </p:nvSpPr>
          <p:spPr>
            <a:xfrm rot="2923883">
              <a:off x="2065230" y="2853634"/>
              <a:ext cx="625191" cy="152146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en-AU" sz="1100" b="0" i="0" u="none" strike="noStrike" kern="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iscoSansTT ExtraLight"/>
                <a:ea typeface="+mn-ea"/>
                <a:cs typeface="+mn-cs"/>
                <a:sym typeface="Arial"/>
              </a:endParaRPr>
            </a:p>
          </p:txBody>
        </p:sp>
        <p:sp>
          <p:nvSpPr>
            <p:cNvPr id="156" name="Rectangle: Rounded Corners 155">
              <a:extLst>
                <a:ext uri="{FF2B5EF4-FFF2-40B4-BE49-F238E27FC236}">
                  <a16:creationId xmlns:a16="http://schemas.microsoft.com/office/drawing/2014/main" id="{29173640-A4E9-4E95-96F7-D72BC63AA874}"/>
                </a:ext>
              </a:extLst>
            </p:cNvPr>
            <p:cNvSpPr/>
            <p:nvPr/>
          </p:nvSpPr>
          <p:spPr>
            <a:xfrm rot="18676117" flipH="1">
              <a:off x="2065230" y="3213203"/>
              <a:ext cx="625191" cy="152146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en-AU" sz="1100" b="0" i="0" u="none" strike="noStrike" kern="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iscoSansTT ExtraLight"/>
                <a:ea typeface="+mn-ea"/>
                <a:cs typeface="+mn-cs"/>
                <a:sym typeface="Arial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878509563"/>
      </p:ext>
    </p:extLst>
  </p:cSld>
  <p:clrMapOvr>
    <a:masterClrMapping/>
  </p:clrMapOvr>
  <p:transition>
    <p:fade/>
  </p:transition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" name="Oval 121">
            <a:extLst>
              <a:ext uri="{FF2B5EF4-FFF2-40B4-BE49-F238E27FC236}">
                <a16:creationId xmlns:a16="http://schemas.microsoft.com/office/drawing/2014/main" id="{78FB50FE-1BAE-4FDA-8A1C-AF8D9FC353FA}"/>
              </a:ext>
            </a:extLst>
          </p:cNvPr>
          <p:cNvSpPr/>
          <p:nvPr/>
        </p:nvSpPr>
        <p:spPr>
          <a:xfrm>
            <a:off x="680177" y="5093994"/>
            <a:ext cx="567771" cy="567771"/>
          </a:xfrm>
          <a:prstGeom prst="ellipse">
            <a:avLst/>
          </a:prstGeom>
          <a:solidFill>
            <a:srgbClr val="F5F6F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AU" sz="11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iscoSansTT ExtraLight"/>
              <a:ea typeface="+mn-ea"/>
              <a:cs typeface="+mn-cs"/>
              <a:sym typeface="Arial"/>
            </a:endParaRPr>
          </a:p>
        </p:txBody>
      </p:sp>
      <p:sp>
        <p:nvSpPr>
          <p:cNvPr id="119" name="Oval 118">
            <a:extLst>
              <a:ext uri="{FF2B5EF4-FFF2-40B4-BE49-F238E27FC236}">
                <a16:creationId xmlns:a16="http://schemas.microsoft.com/office/drawing/2014/main" id="{51CC867E-46EF-4C82-A93B-DDDD707600AA}"/>
              </a:ext>
            </a:extLst>
          </p:cNvPr>
          <p:cNvSpPr/>
          <p:nvPr/>
        </p:nvSpPr>
        <p:spPr>
          <a:xfrm>
            <a:off x="680177" y="3939172"/>
            <a:ext cx="567771" cy="567771"/>
          </a:xfrm>
          <a:prstGeom prst="ellipse">
            <a:avLst/>
          </a:prstGeom>
          <a:solidFill>
            <a:srgbClr val="F5F6F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AU" sz="11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iscoSansTT ExtraLight"/>
              <a:ea typeface="+mn-ea"/>
              <a:cs typeface="+mn-cs"/>
              <a:sym typeface="Arial"/>
            </a:endParaRPr>
          </a:p>
        </p:txBody>
      </p:sp>
      <p:sp>
        <p:nvSpPr>
          <p:cNvPr id="2" name="Oval 1">
            <a:extLst>
              <a:ext uri="{FF2B5EF4-FFF2-40B4-BE49-F238E27FC236}">
                <a16:creationId xmlns:a16="http://schemas.microsoft.com/office/drawing/2014/main" id="{9FC140A4-88E3-4374-BB5B-D8E8273C3325}"/>
              </a:ext>
            </a:extLst>
          </p:cNvPr>
          <p:cNvSpPr/>
          <p:nvPr/>
        </p:nvSpPr>
        <p:spPr>
          <a:xfrm>
            <a:off x="680177" y="2784350"/>
            <a:ext cx="567771" cy="567771"/>
          </a:xfrm>
          <a:prstGeom prst="ellipse">
            <a:avLst/>
          </a:prstGeom>
          <a:solidFill>
            <a:srgbClr val="F5F6F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AU" sz="11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iscoSansTT ExtraLight"/>
              <a:ea typeface="+mn-ea"/>
              <a:cs typeface="+mn-cs"/>
              <a:sym typeface="Arial"/>
            </a:endParaRP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B50536F6-8107-4BE0-9A07-0BC81AC9A3B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3864" y="371283"/>
            <a:ext cx="10752667" cy="905874"/>
          </a:xfrm>
        </p:spPr>
        <p:txBody>
          <a:bodyPr/>
          <a:lstStyle/>
          <a:p>
            <a:r>
              <a:rPr lang="en-US" sz="2000">
                <a:solidFill>
                  <a:schemeClr val="bg1">
                    <a:lumMod val="50000"/>
                  </a:schemeClr>
                </a:solidFill>
              </a:rPr>
              <a:t>Expert-as-a-Service</a:t>
            </a:r>
            <a:br>
              <a:rPr lang="en-US"/>
            </a:br>
            <a:r>
              <a:rPr lang="en-US"/>
              <a:t>Example use case: Optimize collaboration</a:t>
            </a:r>
            <a:br>
              <a:rPr lang="en-US"/>
            </a:br>
            <a:r>
              <a:rPr lang="en-US" sz="2400">
                <a:solidFill>
                  <a:schemeClr val="accent4"/>
                </a:solidFill>
              </a:rPr>
              <a:t>Urgent need to address communications performance issues</a:t>
            </a:r>
            <a:br>
              <a:rPr lang="en-US" sz="2400">
                <a:solidFill>
                  <a:schemeClr val="accent4"/>
                </a:solidFill>
              </a:rPr>
            </a:br>
            <a:endParaRPr lang="en-AU" sz="2400">
              <a:solidFill>
                <a:schemeClr val="accent4"/>
              </a:solidFill>
            </a:endParaRPr>
          </a:p>
        </p:txBody>
      </p:sp>
      <p:sp>
        <p:nvSpPr>
          <p:cNvPr id="6" name="Google Shape;1434;p210">
            <a:extLst>
              <a:ext uri="{FF2B5EF4-FFF2-40B4-BE49-F238E27FC236}">
                <a16:creationId xmlns:a16="http://schemas.microsoft.com/office/drawing/2014/main" id="{A736BEA4-F0B8-4662-B7CE-DA9056596DA3}"/>
              </a:ext>
            </a:extLst>
          </p:cNvPr>
          <p:cNvSpPr/>
          <p:nvPr/>
        </p:nvSpPr>
        <p:spPr>
          <a:xfrm>
            <a:off x="709467" y="2178163"/>
            <a:ext cx="3431937" cy="341200"/>
          </a:xfrm>
          <a:prstGeom prst="roundRect">
            <a:avLst>
              <a:gd name="adj" fmla="val 50000"/>
            </a:avLst>
          </a:prstGeom>
          <a:solidFill>
            <a:schemeClr val="bg2"/>
          </a:solidFill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005073"/>
              </a:buClr>
              <a:buSzPts val="1600"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iscoSansTT ExtraLight" panose="020B0303020201020303" pitchFamily="34" charset="0"/>
                <a:ea typeface="Helvetica Neue Light"/>
                <a:cs typeface="CiscoSansTT ExtraLight" panose="020B0303020201020303" pitchFamily="34" charset="0"/>
                <a:sym typeface="Helvetica Neue Light"/>
              </a:rPr>
              <a:t>Challenge</a:t>
            </a:r>
            <a:endParaRPr kumimoji="0" sz="14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iscoSansTT ExtraLight" panose="020B0303020201020303" pitchFamily="34" charset="0"/>
              <a:ea typeface="Helvetica Neue Light"/>
              <a:cs typeface="CiscoSansTT ExtraLight" panose="020B0303020201020303" pitchFamily="34" charset="0"/>
              <a:sym typeface="Helvetica Neue Light"/>
            </a:endParaRPr>
          </a:p>
        </p:txBody>
      </p:sp>
      <p:sp>
        <p:nvSpPr>
          <p:cNvPr id="26" name="Google Shape;1434;p210">
            <a:extLst>
              <a:ext uri="{FF2B5EF4-FFF2-40B4-BE49-F238E27FC236}">
                <a16:creationId xmlns:a16="http://schemas.microsoft.com/office/drawing/2014/main" id="{3FEAAF39-8F89-4803-ACEC-63E80B41AAAC}"/>
              </a:ext>
            </a:extLst>
          </p:cNvPr>
          <p:cNvSpPr/>
          <p:nvPr/>
        </p:nvSpPr>
        <p:spPr>
          <a:xfrm>
            <a:off x="4375197" y="2178163"/>
            <a:ext cx="3431937" cy="341200"/>
          </a:xfrm>
          <a:prstGeom prst="roundRect">
            <a:avLst>
              <a:gd name="adj" fmla="val 50000"/>
            </a:avLst>
          </a:prstGeom>
          <a:solidFill>
            <a:schemeClr val="bg2"/>
          </a:solidFill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005073"/>
              </a:buClr>
              <a:buSzPts val="1600"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iscoSansTT ExtraLight" panose="020B0303020201020303" pitchFamily="34" charset="0"/>
                <a:ea typeface="Helvetica Neue Light"/>
                <a:cs typeface="CiscoSansTT ExtraLight" panose="020B0303020201020303" pitchFamily="34" charset="0"/>
                <a:sym typeface="Helvetica Neue Light"/>
              </a:rPr>
              <a:t>Solution</a:t>
            </a:r>
            <a:endParaRPr kumimoji="0" sz="14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iscoSansTT ExtraLight" panose="020B0303020201020303" pitchFamily="34" charset="0"/>
              <a:ea typeface="Helvetica Neue Light"/>
              <a:cs typeface="CiscoSansTT ExtraLight" panose="020B0303020201020303" pitchFamily="34" charset="0"/>
              <a:sym typeface="Helvetica Neue Light"/>
            </a:endParaRPr>
          </a:p>
        </p:txBody>
      </p:sp>
      <p:sp>
        <p:nvSpPr>
          <p:cNvPr id="38" name="Google Shape;1434;p210">
            <a:extLst>
              <a:ext uri="{FF2B5EF4-FFF2-40B4-BE49-F238E27FC236}">
                <a16:creationId xmlns:a16="http://schemas.microsoft.com/office/drawing/2014/main" id="{EBE94DBD-C20C-4B5A-9E83-746AFBB788C9}"/>
              </a:ext>
            </a:extLst>
          </p:cNvPr>
          <p:cNvSpPr/>
          <p:nvPr/>
        </p:nvSpPr>
        <p:spPr>
          <a:xfrm>
            <a:off x="8040926" y="2178163"/>
            <a:ext cx="3431937" cy="341200"/>
          </a:xfrm>
          <a:prstGeom prst="roundRect">
            <a:avLst>
              <a:gd name="adj" fmla="val 50000"/>
            </a:avLst>
          </a:prstGeom>
          <a:solidFill>
            <a:schemeClr val="bg2"/>
          </a:solidFill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005073"/>
              </a:buClr>
              <a:buSzPts val="1600"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iscoSansTT ExtraLight" panose="020B0303020201020303" pitchFamily="34" charset="0"/>
                <a:ea typeface="Helvetica Neue Light"/>
                <a:cs typeface="CiscoSansTT ExtraLight" panose="020B0303020201020303" pitchFamily="34" charset="0"/>
                <a:sym typeface="Helvetica Neue Light"/>
              </a:rPr>
              <a:t>Projected Outcome</a:t>
            </a:r>
            <a:endParaRPr kumimoji="0" sz="14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iscoSansTT ExtraLight" panose="020B0303020201020303" pitchFamily="34" charset="0"/>
              <a:ea typeface="Helvetica Neue Light"/>
              <a:cs typeface="CiscoSansTT ExtraLight" panose="020B0303020201020303" pitchFamily="34" charset="0"/>
              <a:sym typeface="Helvetica Neue Light"/>
            </a:endParaRPr>
          </a:p>
        </p:txBody>
      </p:sp>
      <p:sp>
        <p:nvSpPr>
          <p:cNvPr id="11" name="Google Shape;791;p99">
            <a:extLst>
              <a:ext uri="{FF2B5EF4-FFF2-40B4-BE49-F238E27FC236}">
                <a16:creationId xmlns:a16="http://schemas.microsoft.com/office/drawing/2014/main" id="{CE6D275C-5E3C-4B82-A3E0-9E1FEABF9B3D}"/>
              </a:ext>
            </a:extLst>
          </p:cNvPr>
          <p:cNvSpPr/>
          <p:nvPr/>
        </p:nvSpPr>
        <p:spPr>
          <a:xfrm>
            <a:off x="1458278" y="2823435"/>
            <a:ext cx="2775600" cy="52927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2F446B"/>
                </a:solidFill>
                <a:effectLst/>
                <a:uLnTx/>
                <a:uFillTx/>
                <a:latin typeface="CiscoSansTT ExtraLight"/>
                <a:ea typeface="CiscoSansTT ExtraLight"/>
                <a:cs typeface="CiscoSansTT ExtraLight"/>
              </a:rPr>
              <a:t>Optimize performance</a:t>
            </a: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2F446B"/>
              </a:solidFill>
              <a:effectLst/>
              <a:uLnTx/>
              <a:uFillTx/>
              <a:latin typeface="CiscoSansTT ExtraLight"/>
              <a:ea typeface="+mn-ea"/>
              <a:cs typeface="+mn-cs"/>
            </a:endParaRP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6691DCEE-624C-46DB-A2D4-E0D3B455DD78}"/>
              </a:ext>
            </a:extLst>
          </p:cNvPr>
          <p:cNvCxnSpPr>
            <a:cxnSpLocks/>
          </p:cNvCxnSpPr>
          <p:nvPr/>
        </p:nvCxnSpPr>
        <p:spPr>
          <a:xfrm flipV="1">
            <a:off x="726759" y="3810617"/>
            <a:ext cx="10753724" cy="1138"/>
          </a:xfrm>
          <a:prstGeom prst="line">
            <a:avLst/>
          </a:prstGeom>
          <a:ln w="12700" cap="rnd">
            <a:solidFill>
              <a:schemeClr val="bg1">
                <a:lumMod val="6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0A311BC4-0A09-46E7-BC3C-6209E2C179FC}"/>
              </a:ext>
            </a:extLst>
          </p:cNvPr>
          <p:cNvCxnSpPr>
            <a:cxnSpLocks/>
          </p:cNvCxnSpPr>
          <p:nvPr/>
        </p:nvCxnSpPr>
        <p:spPr>
          <a:xfrm flipV="1">
            <a:off x="726759" y="4965439"/>
            <a:ext cx="10753724" cy="1138"/>
          </a:xfrm>
          <a:prstGeom prst="line">
            <a:avLst/>
          </a:prstGeom>
          <a:ln w="12700" cap="rnd">
            <a:solidFill>
              <a:schemeClr val="bg1">
                <a:lumMod val="6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6" name="Google Shape;791;p99">
            <a:extLst>
              <a:ext uri="{FF2B5EF4-FFF2-40B4-BE49-F238E27FC236}">
                <a16:creationId xmlns:a16="http://schemas.microsoft.com/office/drawing/2014/main" id="{3583493B-BFC1-4612-A658-4CF2F357BBFC}"/>
              </a:ext>
            </a:extLst>
          </p:cNvPr>
          <p:cNvSpPr/>
          <p:nvPr/>
        </p:nvSpPr>
        <p:spPr>
          <a:xfrm>
            <a:off x="4814880" y="2823435"/>
            <a:ext cx="3071820" cy="52927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2F446B"/>
                </a:solidFill>
                <a:effectLst/>
                <a:uLnTx/>
                <a:uFillTx/>
                <a:latin typeface="CiscoSansTT ExtraLight"/>
                <a:ea typeface="CiscoSansTT ExtraLight"/>
                <a:cs typeface="CiscoSansTT ExtraLight"/>
              </a:rPr>
              <a:t>A Consulting Engineers (CE) who knows your IT environment and works closely with your team will 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2F446B"/>
                </a:solidFill>
                <a:effectLst/>
                <a:uLnTx/>
                <a:uFillTx/>
                <a:latin typeface="CiscoSansTT ExtraLight"/>
                <a:ea typeface="+mn-ea"/>
                <a:cs typeface="+mn-cs"/>
              </a:rPr>
              <a:t>evaluate your installation, identity critical issues, make a remediation plan, and help your team execute.</a:t>
            </a:r>
          </a:p>
        </p:txBody>
      </p:sp>
      <p:sp>
        <p:nvSpPr>
          <p:cNvPr id="58" name="Google Shape;791;p99">
            <a:extLst>
              <a:ext uri="{FF2B5EF4-FFF2-40B4-BE49-F238E27FC236}">
                <a16:creationId xmlns:a16="http://schemas.microsoft.com/office/drawing/2014/main" id="{A2317652-A44A-4340-AF5A-A1D21976309B}"/>
              </a:ext>
            </a:extLst>
          </p:cNvPr>
          <p:cNvSpPr/>
          <p:nvPr/>
        </p:nvSpPr>
        <p:spPr>
          <a:xfrm>
            <a:off x="8480609" y="2823435"/>
            <a:ext cx="2686057" cy="52927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2F446B"/>
                </a:solidFill>
                <a:effectLst/>
                <a:uLnTx/>
                <a:uFillTx/>
                <a:latin typeface="CiscoSansTT ExtraLight"/>
                <a:ea typeface="+mn-ea"/>
                <a:cs typeface="+mn-cs"/>
              </a:rPr>
              <a:t>Improved collaboration within your organization and quality service to your customers</a:t>
            </a:r>
          </a:p>
        </p:txBody>
      </p:sp>
      <p:sp>
        <p:nvSpPr>
          <p:cNvPr id="59" name="Google Shape;791;p99">
            <a:extLst>
              <a:ext uri="{FF2B5EF4-FFF2-40B4-BE49-F238E27FC236}">
                <a16:creationId xmlns:a16="http://schemas.microsoft.com/office/drawing/2014/main" id="{9ED38741-6A68-4353-91A2-3CF4D61C94BD}"/>
              </a:ext>
            </a:extLst>
          </p:cNvPr>
          <p:cNvSpPr/>
          <p:nvPr/>
        </p:nvSpPr>
        <p:spPr>
          <a:xfrm>
            <a:off x="1458278" y="3978257"/>
            <a:ext cx="2125345" cy="52927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2F446B"/>
                </a:solidFill>
                <a:effectLst/>
                <a:uLnTx/>
                <a:uFillTx/>
                <a:latin typeface="CiscoSansTT ExtraLight"/>
                <a:ea typeface="CiscoSansTT ExtraLight"/>
                <a:cs typeface="CiscoSansTT ExtraLight"/>
              </a:rPr>
              <a:t>Avoid disruption during remediation</a:t>
            </a: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2F446B"/>
              </a:solidFill>
              <a:effectLst/>
              <a:uLnTx/>
              <a:uFillTx/>
              <a:latin typeface="CiscoSansTT ExtraLight"/>
              <a:ea typeface="+mn-ea"/>
              <a:cs typeface="+mn-cs"/>
            </a:endParaRPr>
          </a:p>
        </p:txBody>
      </p:sp>
      <p:sp>
        <p:nvSpPr>
          <p:cNvPr id="60" name="Google Shape;791;p99">
            <a:extLst>
              <a:ext uri="{FF2B5EF4-FFF2-40B4-BE49-F238E27FC236}">
                <a16:creationId xmlns:a16="http://schemas.microsoft.com/office/drawing/2014/main" id="{BD709411-0E73-4E7E-9CD0-ED2EE8620E3E}"/>
              </a:ext>
            </a:extLst>
          </p:cNvPr>
          <p:cNvSpPr/>
          <p:nvPr/>
        </p:nvSpPr>
        <p:spPr>
          <a:xfrm>
            <a:off x="4814880" y="3978257"/>
            <a:ext cx="3071820" cy="52927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2F446B"/>
                </a:solidFill>
                <a:effectLst/>
                <a:uLnTx/>
                <a:uFillTx/>
                <a:latin typeface="CiscoSansTT ExtraLight"/>
                <a:ea typeface="CiscoSansTT ExtraLight"/>
                <a:cs typeface="CiscoSansTT ExtraLight"/>
              </a:rPr>
              <a:t>Your CE will identify and avoid potential risks that can be mitigated.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2F446B"/>
              </a:solidFill>
              <a:effectLst/>
              <a:uLnTx/>
              <a:uFillTx/>
              <a:latin typeface="CiscoSansTT ExtraLight"/>
              <a:ea typeface="Calibri"/>
              <a:cs typeface="Calibri"/>
              <a:sym typeface="Calibri"/>
            </a:endParaRPr>
          </a:p>
        </p:txBody>
      </p:sp>
      <p:sp>
        <p:nvSpPr>
          <p:cNvPr id="61" name="Google Shape;791;p99">
            <a:extLst>
              <a:ext uri="{FF2B5EF4-FFF2-40B4-BE49-F238E27FC236}">
                <a16:creationId xmlns:a16="http://schemas.microsoft.com/office/drawing/2014/main" id="{E87C0219-D8E6-4727-B417-70577C4914EE}"/>
              </a:ext>
            </a:extLst>
          </p:cNvPr>
          <p:cNvSpPr/>
          <p:nvPr/>
        </p:nvSpPr>
        <p:spPr>
          <a:xfrm>
            <a:off x="8480609" y="3978257"/>
            <a:ext cx="2929897" cy="52927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2F446B"/>
                </a:solidFill>
                <a:effectLst/>
                <a:uLnTx/>
                <a:uFillTx/>
                <a:latin typeface="CiscoSansTT ExtraLight"/>
                <a:ea typeface="CiscoSansTT ExtraLight"/>
                <a:cs typeface="CiscoSansTT ExtraLight"/>
              </a:rPr>
              <a:t>Uninterrupted flow of business activities</a:t>
            </a: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2F446B"/>
              </a:solidFill>
              <a:effectLst/>
              <a:uLnTx/>
              <a:uFillTx/>
              <a:latin typeface="CiscoSansTT ExtraLight"/>
              <a:ea typeface="+mn-ea"/>
              <a:cs typeface="+mn-cs"/>
            </a:endParaRPr>
          </a:p>
        </p:txBody>
      </p:sp>
      <p:sp>
        <p:nvSpPr>
          <p:cNvPr id="62" name="Google Shape;791;p99">
            <a:extLst>
              <a:ext uri="{FF2B5EF4-FFF2-40B4-BE49-F238E27FC236}">
                <a16:creationId xmlns:a16="http://schemas.microsoft.com/office/drawing/2014/main" id="{23AE0C67-E3FD-47AD-8F92-C1973C3179D8}"/>
              </a:ext>
            </a:extLst>
          </p:cNvPr>
          <p:cNvSpPr/>
          <p:nvPr/>
        </p:nvSpPr>
        <p:spPr>
          <a:xfrm>
            <a:off x="1458278" y="5133079"/>
            <a:ext cx="2626042" cy="52927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2F446B"/>
                </a:solidFill>
                <a:effectLst/>
                <a:uLnTx/>
                <a:uFillTx/>
                <a:latin typeface="CiscoSansTT ExtraLight"/>
                <a:ea typeface="Calibri"/>
                <a:cs typeface="Calibri"/>
                <a:sym typeface="Calibri"/>
              </a:rPr>
              <a:t>Execute quickly</a:t>
            </a: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2F446B"/>
              </a:solidFill>
              <a:effectLst/>
              <a:uLnTx/>
              <a:uFillTx/>
              <a:latin typeface="CiscoSansTT ExtraLight"/>
              <a:ea typeface="CiscoSansTT ExtraLight"/>
              <a:cs typeface="CiscoSansTT ExtraLight"/>
            </a:endParaRPr>
          </a:p>
        </p:txBody>
      </p:sp>
      <p:sp>
        <p:nvSpPr>
          <p:cNvPr id="63" name="Google Shape;791;p99">
            <a:extLst>
              <a:ext uri="{FF2B5EF4-FFF2-40B4-BE49-F238E27FC236}">
                <a16:creationId xmlns:a16="http://schemas.microsoft.com/office/drawing/2014/main" id="{714175C5-A7A1-4A16-9D0F-669C070019F6}"/>
              </a:ext>
            </a:extLst>
          </p:cNvPr>
          <p:cNvSpPr/>
          <p:nvPr/>
        </p:nvSpPr>
        <p:spPr>
          <a:xfrm>
            <a:off x="4814880" y="5133079"/>
            <a:ext cx="2924500" cy="52927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2F446B"/>
                </a:solidFill>
                <a:effectLst/>
                <a:uLnTx/>
                <a:uFillTx/>
                <a:latin typeface="CiscoSansTT ExtraLight"/>
                <a:ea typeface="Calibri"/>
                <a:cs typeface="Calibri"/>
                <a:sym typeface="Calibri"/>
              </a:rPr>
              <a:t>Your CE, employing best practices, will deliver a plan that provides precision, speed, and reduced risk</a:t>
            </a:r>
          </a:p>
        </p:txBody>
      </p:sp>
      <p:sp>
        <p:nvSpPr>
          <p:cNvPr id="64" name="Google Shape;791;p99">
            <a:extLst>
              <a:ext uri="{FF2B5EF4-FFF2-40B4-BE49-F238E27FC236}">
                <a16:creationId xmlns:a16="http://schemas.microsoft.com/office/drawing/2014/main" id="{781288F9-5260-4C84-B5A5-D5CA1EA84700}"/>
              </a:ext>
            </a:extLst>
          </p:cNvPr>
          <p:cNvSpPr/>
          <p:nvPr/>
        </p:nvSpPr>
        <p:spPr>
          <a:xfrm>
            <a:off x="8480609" y="5133079"/>
            <a:ext cx="2819407" cy="52927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2F446B"/>
                </a:solidFill>
                <a:effectLst/>
                <a:uLnTx/>
                <a:uFillTx/>
                <a:latin typeface="CiscoSansTT ExtraLight"/>
                <a:ea typeface="CiscoSansTT ExtraLight"/>
                <a:cs typeface="CiscoSansTT ExtraLight"/>
              </a:rPr>
              <a:t>Enabling you to deploy Collaboration solutions with speed and confidence</a:t>
            </a:r>
          </a:p>
        </p:txBody>
      </p:sp>
      <p:pic>
        <p:nvPicPr>
          <p:cNvPr id="121" name="Google Shape;2812;p68">
            <a:extLst>
              <a:ext uri="{FF2B5EF4-FFF2-40B4-BE49-F238E27FC236}">
                <a16:creationId xmlns:a16="http://schemas.microsoft.com/office/drawing/2014/main" id="{86286453-C574-4178-AB18-C530F21921A2}"/>
              </a:ext>
            </a:extLst>
          </p:cNvPr>
          <p:cNvPicPr preferRelativeResize="0"/>
          <p:nvPr/>
        </p:nvPicPr>
        <p:blipFill rotWithShape="1">
          <a:blip r:embed="rId3" cstate="print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9138" y="2823435"/>
            <a:ext cx="489600" cy="489600"/>
          </a:xfrm>
          <a:prstGeom prst="rect">
            <a:avLst/>
          </a:prstGeom>
          <a:noFill/>
          <a:ln>
            <a:noFill/>
          </a:ln>
        </p:spPr>
      </p:pic>
      <p:pic>
        <p:nvPicPr>
          <p:cNvPr id="125" name="Google Shape;2746;p65">
            <a:extLst>
              <a:ext uri="{FF2B5EF4-FFF2-40B4-BE49-F238E27FC236}">
                <a16:creationId xmlns:a16="http://schemas.microsoft.com/office/drawing/2014/main" id="{922CEC75-B904-411F-BCCB-81F544CE0DC8}"/>
              </a:ext>
            </a:extLst>
          </p:cNvPr>
          <p:cNvPicPr preferRelativeResize="0"/>
          <p:nvPr/>
        </p:nvPicPr>
        <p:blipFill rotWithShape="1">
          <a:blip r:embed="rId4" cstate="print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9262" y="3978257"/>
            <a:ext cx="489600" cy="489600"/>
          </a:xfrm>
          <a:prstGeom prst="rect">
            <a:avLst/>
          </a:prstGeom>
          <a:noFill/>
          <a:ln>
            <a:noFill/>
          </a:ln>
        </p:spPr>
      </p:pic>
      <p:pic>
        <p:nvPicPr>
          <p:cNvPr id="129" name="Google Shape;2787;p67">
            <a:extLst>
              <a:ext uri="{FF2B5EF4-FFF2-40B4-BE49-F238E27FC236}">
                <a16:creationId xmlns:a16="http://schemas.microsoft.com/office/drawing/2014/main" id="{0A95191A-0019-4C9A-B8C6-E02A1BCC28A4}"/>
              </a:ext>
            </a:extLst>
          </p:cNvPr>
          <p:cNvPicPr preferRelativeResize="0"/>
          <p:nvPr/>
        </p:nvPicPr>
        <p:blipFill rotWithShape="1">
          <a:blip r:embed="rId5" cstate="print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9263" y="5133079"/>
            <a:ext cx="489600" cy="489600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139" name="Group 138">
            <a:extLst>
              <a:ext uri="{FF2B5EF4-FFF2-40B4-BE49-F238E27FC236}">
                <a16:creationId xmlns:a16="http://schemas.microsoft.com/office/drawing/2014/main" id="{9C0EE468-8F10-42FD-9C31-C69E56585EB1}"/>
              </a:ext>
            </a:extLst>
          </p:cNvPr>
          <p:cNvGrpSpPr/>
          <p:nvPr/>
        </p:nvGrpSpPr>
        <p:grpSpPr>
          <a:xfrm>
            <a:off x="4318000" y="2872454"/>
            <a:ext cx="58659" cy="379668"/>
            <a:chOff x="2301753" y="2617111"/>
            <a:chExt cx="152146" cy="984760"/>
          </a:xfrm>
          <a:solidFill>
            <a:schemeClr val="accent2"/>
          </a:solidFill>
        </p:grpSpPr>
        <p:sp>
          <p:nvSpPr>
            <p:cNvPr id="140" name="Rectangle: Rounded Corners 139">
              <a:extLst>
                <a:ext uri="{FF2B5EF4-FFF2-40B4-BE49-F238E27FC236}">
                  <a16:creationId xmlns:a16="http://schemas.microsoft.com/office/drawing/2014/main" id="{80C36663-E44C-4173-B09B-9CFE68C106CD}"/>
                </a:ext>
              </a:extLst>
            </p:cNvPr>
            <p:cNvSpPr/>
            <p:nvPr/>
          </p:nvSpPr>
          <p:spPr>
            <a:xfrm rot="2923883">
              <a:off x="2065230" y="2853634"/>
              <a:ext cx="625191" cy="152146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en-AU" sz="11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iscoSansTT ExtraLight"/>
                <a:ea typeface="+mn-ea"/>
                <a:cs typeface="+mn-cs"/>
                <a:sym typeface="Arial"/>
              </a:endParaRPr>
            </a:p>
          </p:txBody>
        </p:sp>
        <p:sp>
          <p:nvSpPr>
            <p:cNvPr id="141" name="Rectangle: Rounded Corners 140">
              <a:extLst>
                <a:ext uri="{FF2B5EF4-FFF2-40B4-BE49-F238E27FC236}">
                  <a16:creationId xmlns:a16="http://schemas.microsoft.com/office/drawing/2014/main" id="{91DDFDC7-BB0D-4205-8BCD-37AB4E682947}"/>
                </a:ext>
              </a:extLst>
            </p:cNvPr>
            <p:cNvSpPr/>
            <p:nvPr/>
          </p:nvSpPr>
          <p:spPr>
            <a:xfrm rot="18676117" flipH="1">
              <a:off x="2065230" y="3213203"/>
              <a:ext cx="625191" cy="152146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en-AU" sz="11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iscoSansTT ExtraLight"/>
                <a:ea typeface="+mn-ea"/>
                <a:cs typeface="+mn-cs"/>
                <a:sym typeface="Arial"/>
              </a:endParaRPr>
            </a:p>
          </p:txBody>
        </p:sp>
      </p:grpSp>
      <p:grpSp>
        <p:nvGrpSpPr>
          <p:cNvPr id="142" name="Group 141">
            <a:extLst>
              <a:ext uri="{FF2B5EF4-FFF2-40B4-BE49-F238E27FC236}">
                <a16:creationId xmlns:a16="http://schemas.microsoft.com/office/drawing/2014/main" id="{2C2F02EF-E4D1-4777-A16F-3CF9BEAD122A}"/>
              </a:ext>
            </a:extLst>
          </p:cNvPr>
          <p:cNvGrpSpPr/>
          <p:nvPr/>
        </p:nvGrpSpPr>
        <p:grpSpPr>
          <a:xfrm>
            <a:off x="4318000" y="4053554"/>
            <a:ext cx="58659" cy="379668"/>
            <a:chOff x="2301753" y="2617111"/>
            <a:chExt cx="152146" cy="984760"/>
          </a:xfrm>
          <a:solidFill>
            <a:schemeClr val="accent2"/>
          </a:solidFill>
        </p:grpSpPr>
        <p:sp>
          <p:nvSpPr>
            <p:cNvPr id="143" name="Rectangle: Rounded Corners 142">
              <a:extLst>
                <a:ext uri="{FF2B5EF4-FFF2-40B4-BE49-F238E27FC236}">
                  <a16:creationId xmlns:a16="http://schemas.microsoft.com/office/drawing/2014/main" id="{89333652-185F-44C4-962E-A6E156556378}"/>
                </a:ext>
              </a:extLst>
            </p:cNvPr>
            <p:cNvSpPr/>
            <p:nvPr/>
          </p:nvSpPr>
          <p:spPr>
            <a:xfrm rot="2923883">
              <a:off x="2065230" y="2853634"/>
              <a:ext cx="625191" cy="152146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en-AU" sz="11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iscoSansTT ExtraLight"/>
                <a:ea typeface="+mn-ea"/>
                <a:cs typeface="+mn-cs"/>
                <a:sym typeface="Arial"/>
              </a:endParaRPr>
            </a:p>
          </p:txBody>
        </p:sp>
        <p:sp>
          <p:nvSpPr>
            <p:cNvPr id="144" name="Rectangle: Rounded Corners 143">
              <a:extLst>
                <a:ext uri="{FF2B5EF4-FFF2-40B4-BE49-F238E27FC236}">
                  <a16:creationId xmlns:a16="http://schemas.microsoft.com/office/drawing/2014/main" id="{7CB4F389-D03B-458A-881C-8126BBF29B15}"/>
                </a:ext>
              </a:extLst>
            </p:cNvPr>
            <p:cNvSpPr/>
            <p:nvPr/>
          </p:nvSpPr>
          <p:spPr>
            <a:xfrm rot="18676117" flipH="1">
              <a:off x="2065230" y="3213203"/>
              <a:ext cx="625191" cy="152146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en-AU" sz="11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iscoSansTT ExtraLight"/>
                <a:ea typeface="+mn-ea"/>
                <a:cs typeface="+mn-cs"/>
                <a:sym typeface="Arial"/>
              </a:endParaRPr>
            </a:p>
          </p:txBody>
        </p:sp>
      </p:grpSp>
      <p:grpSp>
        <p:nvGrpSpPr>
          <p:cNvPr id="145" name="Group 144">
            <a:extLst>
              <a:ext uri="{FF2B5EF4-FFF2-40B4-BE49-F238E27FC236}">
                <a16:creationId xmlns:a16="http://schemas.microsoft.com/office/drawing/2014/main" id="{3810B41B-B378-4F19-879D-1F41D172942B}"/>
              </a:ext>
            </a:extLst>
          </p:cNvPr>
          <p:cNvGrpSpPr/>
          <p:nvPr/>
        </p:nvGrpSpPr>
        <p:grpSpPr>
          <a:xfrm>
            <a:off x="4318000" y="5211763"/>
            <a:ext cx="58659" cy="379668"/>
            <a:chOff x="2301753" y="2617111"/>
            <a:chExt cx="152146" cy="984760"/>
          </a:xfrm>
          <a:solidFill>
            <a:schemeClr val="accent2"/>
          </a:solidFill>
        </p:grpSpPr>
        <p:sp>
          <p:nvSpPr>
            <p:cNvPr id="146" name="Rectangle: Rounded Corners 145">
              <a:extLst>
                <a:ext uri="{FF2B5EF4-FFF2-40B4-BE49-F238E27FC236}">
                  <a16:creationId xmlns:a16="http://schemas.microsoft.com/office/drawing/2014/main" id="{6AD62C7C-6ABF-4BB8-89C2-4712239A0E01}"/>
                </a:ext>
              </a:extLst>
            </p:cNvPr>
            <p:cNvSpPr/>
            <p:nvPr/>
          </p:nvSpPr>
          <p:spPr>
            <a:xfrm rot="2923883">
              <a:off x="2065230" y="2853634"/>
              <a:ext cx="625191" cy="152146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en-AU" sz="11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iscoSansTT ExtraLight"/>
                <a:ea typeface="+mn-ea"/>
                <a:cs typeface="+mn-cs"/>
                <a:sym typeface="Arial"/>
              </a:endParaRPr>
            </a:p>
          </p:txBody>
        </p:sp>
        <p:sp>
          <p:nvSpPr>
            <p:cNvPr id="147" name="Rectangle: Rounded Corners 146">
              <a:extLst>
                <a:ext uri="{FF2B5EF4-FFF2-40B4-BE49-F238E27FC236}">
                  <a16:creationId xmlns:a16="http://schemas.microsoft.com/office/drawing/2014/main" id="{B39D2A4F-4B3F-4FBE-A22D-2CD53AF29397}"/>
                </a:ext>
              </a:extLst>
            </p:cNvPr>
            <p:cNvSpPr/>
            <p:nvPr/>
          </p:nvSpPr>
          <p:spPr>
            <a:xfrm rot="18676117" flipH="1">
              <a:off x="2065230" y="3213203"/>
              <a:ext cx="625191" cy="152146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en-AU" sz="11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iscoSansTT ExtraLight"/>
                <a:ea typeface="+mn-ea"/>
                <a:cs typeface="+mn-cs"/>
                <a:sym typeface="Arial"/>
              </a:endParaRPr>
            </a:p>
          </p:txBody>
        </p:sp>
      </p:grpSp>
      <p:grpSp>
        <p:nvGrpSpPr>
          <p:cNvPr id="148" name="Group 147">
            <a:extLst>
              <a:ext uri="{FF2B5EF4-FFF2-40B4-BE49-F238E27FC236}">
                <a16:creationId xmlns:a16="http://schemas.microsoft.com/office/drawing/2014/main" id="{6F05B876-7AB9-4EC1-ABB8-FE81A4850FE3}"/>
              </a:ext>
            </a:extLst>
          </p:cNvPr>
          <p:cNvGrpSpPr/>
          <p:nvPr/>
        </p:nvGrpSpPr>
        <p:grpSpPr>
          <a:xfrm>
            <a:off x="8020050" y="2872454"/>
            <a:ext cx="58659" cy="379668"/>
            <a:chOff x="2301753" y="2617111"/>
            <a:chExt cx="152146" cy="984760"/>
          </a:xfrm>
          <a:solidFill>
            <a:schemeClr val="accent2"/>
          </a:solidFill>
        </p:grpSpPr>
        <p:sp>
          <p:nvSpPr>
            <p:cNvPr id="149" name="Rectangle: Rounded Corners 148">
              <a:extLst>
                <a:ext uri="{FF2B5EF4-FFF2-40B4-BE49-F238E27FC236}">
                  <a16:creationId xmlns:a16="http://schemas.microsoft.com/office/drawing/2014/main" id="{4B4E578F-2FB1-476C-B9A4-9CCD7353E42A}"/>
                </a:ext>
              </a:extLst>
            </p:cNvPr>
            <p:cNvSpPr/>
            <p:nvPr/>
          </p:nvSpPr>
          <p:spPr>
            <a:xfrm rot="2923883">
              <a:off x="2065230" y="2853634"/>
              <a:ext cx="625191" cy="152146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en-AU" sz="11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iscoSansTT ExtraLight"/>
                <a:ea typeface="+mn-ea"/>
                <a:cs typeface="+mn-cs"/>
                <a:sym typeface="Arial"/>
              </a:endParaRPr>
            </a:p>
          </p:txBody>
        </p:sp>
        <p:sp>
          <p:nvSpPr>
            <p:cNvPr id="150" name="Rectangle: Rounded Corners 149">
              <a:extLst>
                <a:ext uri="{FF2B5EF4-FFF2-40B4-BE49-F238E27FC236}">
                  <a16:creationId xmlns:a16="http://schemas.microsoft.com/office/drawing/2014/main" id="{2C4CE5E1-7D45-42C9-B21B-262B2389FB91}"/>
                </a:ext>
              </a:extLst>
            </p:cNvPr>
            <p:cNvSpPr/>
            <p:nvPr/>
          </p:nvSpPr>
          <p:spPr>
            <a:xfrm rot="18676117" flipH="1">
              <a:off x="2065230" y="3213203"/>
              <a:ext cx="625191" cy="152146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en-AU" sz="11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iscoSansTT ExtraLight"/>
                <a:ea typeface="+mn-ea"/>
                <a:cs typeface="+mn-cs"/>
                <a:sym typeface="Arial"/>
              </a:endParaRPr>
            </a:p>
          </p:txBody>
        </p:sp>
      </p:grpSp>
      <p:grpSp>
        <p:nvGrpSpPr>
          <p:cNvPr id="151" name="Group 150">
            <a:extLst>
              <a:ext uri="{FF2B5EF4-FFF2-40B4-BE49-F238E27FC236}">
                <a16:creationId xmlns:a16="http://schemas.microsoft.com/office/drawing/2014/main" id="{A4F5B424-4B56-414D-ABED-E1F773D77E35}"/>
              </a:ext>
            </a:extLst>
          </p:cNvPr>
          <p:cNvGrpSpPr/>
          <p:nvPr/>
        </p:nvGrpSpPr>
        <p:grpSpPr>
          <a:xfrm>
            <a:off x="8020050" y="4053554"/>
            <a:ext cx="58659" cy="379668"/>
            <a:chOff x="2301753" y="2617111"/>
            <a:chExt cx="152146" cy="984760"/>
          </a:xfrm>
          <a:solidFill>
            <a:schemeClr val="accent2"/>
          </a:solidFill>
        </p:grpSpPr>
        <p:sp>
          <p:nvSpPr>
            <p:cNvPr id="152" name="Rectangle: Rounded Corners 151">
              <a:extLst>
                <a:ext uri="{FF2B5EF4-FFF2-40B4-BE49-F238E27FC236}">
                  <a16:creationId xmlns:a16="http://schemas.microsoft.com/office/drawing/2014/main" id="{8868DC00-16EA-4C37-982E-A65C70ACAA85}"/>
                </a:ext>
              </a:extLst>
            </p:cNvPr>
            <p:cNvSpPr/>
            <p:nvPr/>
          </p:nvSpPr>
          <p:spPr>
            <a:xfrm rot="2923883">
              <a:off x="2065230" y="2853634"/>
              <a:ext cx="625191" cy="152146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en-AU" sz="11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iscoSansTT ExtraLight"/>
                <a:ea typeface="+mn-ea"/>
                <a:cs typeface="+mn-cs"/>
                <a:sym typeface="Arial"/>
              </a:endParaRPr>
            </a:p>
          </p:txBody>
        </p:sp>
        <p:sp>
          <p:nvSpPr>
            <p:cNvPr id="153" name="Rectangle: Rounded Corners 152">
              <a:extLst>
                <a:ext uri="{FF2B5EF4-FFF2-40B4-BE49-F238E27FC236}">
                  <a16:creationId xmlns:a16="http://schemas.microsoft.com/office/drawing/2014/main" id="{43545D96-9AB9-42D9-835A-71A9C665079A}"/>
                </a:ext>
              </a:extLst>
            </p:cNvPr>
            <p:cNvSpPr/>
            <p:nvPr/>
          </p:nvSpPr>
          <p:spPr>
            <a:xfrm rot="18676117" flipH="1">
              <a:off x="2065230" y="3213203"/>
              <a:ext cx="625191" cy="152146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en-AU" sz="11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iscoSansTT ExtraLight"/>
                <a:ea typeface="+mn-ea"/>
                <a:cs typeface="+mn-cs"/>
                <a:sym typeface="Arial"/>
              </a:endParaRPr>
            </a:p>
          </p:txBody>
        </p:sp>
      </p:grpSp>
      <p:grpSp>
        <p:nvGrpSpPr>
          <p:cNvPr id="154" name="Group 153">
            <a:extLst>
              <a:ext uri="{FF2B5EF4-FFF2-40B4-BE49-F238E27FC236}">
                <a16:creationId xmlns:a16="http://schemas.microsoft.com/office/drawing/2014/main" id="{2D6F4A32-1ED0-4BA1-B889-4F5207B394A1}"/>
              </a:ext>
            </a:extLst>
          </p:cNvPr>
          <p:cNvGrpSpPr/>
          <p:nvPr/>
        </p:nvGrpSpPr>
        <p:grpSpPr>
          <a:xfrm>
            <a:off x="8020050" y="5211763"/>
            <a:ext cx="58659" cy="379668"/>
            <a:chOff x="2301753" y="2617111"/>
            <a:chExt cx="152146" cy="984760"/>
          </a:xfrm>
          <a:solidFill>
            <a:schemeClr val="accent2"/>
          </a:solidFill>
        </p:grpSpPr>
        <p:sp>
          <p:nvSpPr>
            <p:cNvPr id="155" name="Rectangle: Rounded Corners 154">
              <a:extLst>
                <a:ext uri="{FF2B5EF4-FFF2-40B4-BE49-F238E27FC236}">
                  <a16:creationId xmlns:a16="http://schemas.microsoft.com/office/drawing/2014/main" id="{198F42CF-470D-4E37-BACD-44226C6F9650}"/>
                </a:ext>
              </a:extLst>
            </p:cNvPr>
            <p:cNvSpPr/>
            <p:nvPr/>
          </p:nvSpPr>
          <p:spPr>
            <a:xfrm rot="2923883">
              <a:off x="2065230" y="2853634"/>
              <a:ext cx="625191" cy="152146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en-AU" sz="11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iscoSansTT ExtraLight"/>
                <a:ea typeface="+mn-ea"/>
                <a:cs typeface="+mn-cs"/>
                <a:sym typeface="Arial"/>
              </a:endParaRPr>
            </a:p>
          </p:txBody>
        </p:sp>
        <p:sp>
          <p:nvSpPr>
            <p:cNvPr id="156" name="Rectangle: Rounded Corners 155">
              <a:extLst>
                <a:ext uri="{FF2B5EF4-FFF2-40B4-BE49-F238E27FC236}">
                  <a16:creationId xmlns:a16="http://schemas.microsoft.com/office/drawing/2014/main" id="{29173640-A4E9-4E95-96F7-D72BC63AA874}"/>
                </a:ext>
              </a:extLst>
            </p:cNvPr>
            <p:cNvSpPr/>
            <p:nvPr/>
          </p:nvSpPr>
          <p:spPr>
            <a:xfrm rot="18676117" flipH="1">
              <a:off x="2065230" y="3213203"/>
              <a:ext cx="625191" cy="152146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en-AU" sz="11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iscoSansTT ExtraLight"/>
                <a:ea typeface="+mn-ea"/>
                <a:cs typeface="+mn-cs"/>
                <a:sym typeface="Arial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63124894"/>
      </p:ext>
    </p:extLst>
  </p:cSld>
  <p:clrMapOvr>
    <a:masterClrMapping/>
  </p:clrMapOvr>
  <p:transition>
    <p:fade/>
  </p:transition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>
            <a:extLst>
              <a:ext uri="{FF2B5EF4-FFF2-40B4-BE49-F238E27FC236}">
                <a16:creationId xmlns:a16="http://schemas.microsoft.com/office/drawing/2014/main" id="{481EE0CC-20FC-B541-9FC6-292ECFD7DB5C}"/>
              </a:ext>
            </a:extLst>
          </p:cNvPr>
          <p:cNvSpPr txBox="1">
            <a:spLocks/>
          </p:cNvSpPr>
          <p:nvPr/>
        </p:nvSpPr>
        <p:spPr>
          <a:xfrm>
            <a:off x="833926" y="779227"/>
            <a:ext cx="6600220" cy="903816"/>
          </a:xfrm>
          <a:prstGeom prst="rect">
            <a:avLst/>
          </a:prstGeom>
        </p:spPr>
        <p:txBody>
          <a:bodyPr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3000" b="0" i="0" u="none" strike="noStrike" cap="none">
                <a:solidFill>
                  <a:schemeClr val="bg2"/>
                </a:solidFill>
                <a:latin typeface="+mj-lt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4000" b="0" i="0" u="none" strike="noStrike" kern="0" cap="none" spc="0" normalizeH="0" baseline="0" noProof="0">
                <a:ln>
                  <a:noFill/>
                </a:ln>
                <a:solidFill>
                  <a:srgbClr val="14284A"/>
                </a:solidFill>
                <a:effectLst/>
                <a:uLnTx/>
                <a:uFillTx/>
                <a:latin typeface="CiscoSansTT ExtraLight"/>
                <a:cs typeface="Arial"/>
                <a:sym typeface="Arial"/>
              </a:rPr>
              <a:t>Create a resilient, adaptive, and transformative IT to achieve higher ROI</a:t>
            </a:r>
            <a:endParaRPr kumimoji="0" lang="en-US" sz="2400" b="0" i="0" u="none" strike="noStrike" kern="0" cap="none" spc="0" normalizeH="0" baseline="0" noProof="0">
              <a:ln>
                <a:noFill/>
              </a:ln>
              <a:solidFill>
                <a:srgbClr val="14284A"/>
              </a:solidFill>
              <a:effectLst/>
              <a:uLnTx/>
              <a:uFillTx/>
              <a:latin typeface="CiscoSansTT ExtraLight"/>
              <a:cs typeface="Arial"/>
              <a:sym typeface="Arial"/>
            </a:endParaRPr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6AA51C71-36D5-1F45-B373-2714B38B815D}"/>
              </a:ext>
            </a:extLst>
          </p:cNvPr>
          <p:cNvSpPr/>
          <p:nvPr/>
        </p:nvSpPr>
        <p:spPr>
          <a:xfrm>
            <a:off x="7609464" y="3079713"/>
            <a:ext cx="1018921" cy="1018921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6095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endParaRPr kumimoji="0" lang="en-US" sz="1467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iscoSansTT ExtraLight"/>
              <a:ea typeface="+mn-ea"/>
              <a:cs typeface="+mn-cs"/>
            </a:endParaRPr>
          </a:p>
        </p:txBody>
      </p:sp>
      <p:sp>
        <p:nvSpPr>
          <p:cNvPr id="15" name="Round Same-side Corner of Rectangle 14">
            <a:extLst>
              <a:ext uri="{FF2B5EF4-FFF2-40B4-BE49-F238E27FC236}">
                <a16:creationId xmlns:a16="http://schemas.microsoft.com/office/drawing/2014/main" id="{2E3A94EE-567E-6C40-BD05-7DEDF3FBA458}"/>
              </a:ext>
            </a:extLst>
          </p:cNvPr>
          <p:cNvSpPr/>
          <p:nvPr/>
        </p:nvSpPr>
        <p:spPr>
          <a:xfrm rot="10800000">
            <a:off x="7950055" y="-3"/>
            <a:ext cx="2869139" cy="4514761"/>
          </a:xfrm>
          <a:prstGeom prst="round2SameRect">
            <a:avLst>
              <a:gd name="adj1" fmla="val 50000"/>
              <a:gd name="adj2" fmla="val 0"/>
            </a:avLst>
          </a:prstGeom>
          <a:blipFill dpi="0" rotWithShape="0"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6095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endParaRPr kumimoji="0" lang="en-US" sz="1467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iscoSansTT ExtraLight"/>
              <a:ea typeface="+mn-ea"/>
              <a:cs typeface="+mn-cs"/>
            </a:endParaRPr>
          </a:p>
        </p:txBody>
      </p:sp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193A7F01-3A8E-C347-AE2E-97960168A0D5}"/>
              </a:ext>
            </a:extLst>
          </p:cNvPr>
          <p:cNvSpPr txBox="1">
            <a:spLocks/>
          </p:cNvSpPr>
          <p:nvPr/>
        </p:nvSpPr>
        <p:spPr>
          <a:xfrm>
            <a:off x="2182628" y="2864744"/>
            <a:ext cx="3706929" cy="1288077"/>
          </a:xfrm>
          <a:prstGeom prst="rect">
            <a:avLst/>
          </a:prstGeom>
          <a:noFill/>
        </p:spPr>
        <p:txBody>
          <a:bodyPr lIns="0" tIns="0" rIns="0" bIns="0" anchor="t"/>
          <a:lstStyle>
            <a:lvl1pPr marL="169863" indent="-169863" algn="l" defTabSz="684213" rtl="0" eaLnBrk="1" fontAlgn="base" hangingPunct="1">
              <a:lnSpc>
                <a:spcPct val="95000"/>
              </a:lnSpc>
              <a:spcBef>
                <a:spcPts val="1075"/>
              </a:spcBef>
              <a:spcAft>
                <a:spcPct val="0"/>
              </a:spcAft>
              <a:buClr>
                <a:schemeClr val="tx2"/>
              </a:buClr>
              <a:buSzPct val="90000"/>
              <a:buFont typeface="Arial" charset="0"/>
              <a:buChar char="•"/>
              <a:defRPr lang="en-US" sz="1500" kern="1200" dirty="0">
                <a:solidFill>
                  <a:schemeClr val="tx1"/>
                </a:solidFill>
                <a:latin typeface="+mn-lt"/>
                <a:ea typeface="ＭＳ Ｐゴシック" charset="0"/>
                <a:cs typeface="CiscoSans"/>
              </a:defRPr>
            </a:lvl1pPr>
            <a:lvl2pPr marL="358775" indent="-215900" algn="l" defTabSz="684213" rtl="0" eaLnBrk="1" fontAlgn="base" hangingPunct="1">
              <a:lnSpc>
                <a:spcPct val="95000"/>
              </a:lnSpc>
              <a:spcBef>
                <a:spcPts val="60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•"/>
              <a:defRPr lang="en-US" sz="1400" kern="1200" dirty="0">
                <a:solidFill>
                  <a:schemeClr val="tx1"/>
                </a:solidFill>
                <a:latin typeface="+mn-lt"/>
                <a:ea typeface="ＭＳ Ｐゴシック" charset="0"/>
                <a:cs typeface="CiscoSans"/>
              </a:defRPr>
            </a:lvl2pPr>
            <a:lvl3pPr marL="431800" indent="-169863" algn="l" defTabSz="684213" rtl="0" eaLnBrk="1" fontAlgn="base" hangingPunct="1">
              <a:lnSpc>
                <a:spcPct val="95000"/>
              </a:lnSpc>
              <a:spcBef>
                <a:spcPts val="625"/>
              </a:spcBef>
              <a:spcAft>
                <a:spcPct val="0"/>
              </a:spcAft>
              <a:buFont typeface="Arial" charset="0"/>
              <a:buChar char="•"/>
              <a:defRPr lang="en-US" sz="1200" kern="1200" dirty="0">
                <a:solidFill>
                  <a:schemeClr val="tx1"/>
                </a:solidFill>
                <a:latin typeface="+mn-lt"/>
                <a:ea typeface="ＭＳ Ｐゴシック" charset="0"/>
                <a:cs typeface="CiscoSans"/>
              </a:defRPr>
            </a:lvl3pPr>
            <a:lvl4pPr marL="503238" indent="-169863" algn="l" defTabSz="684213" rtl="0" eaLnBrk="1" fontAlgn="base" hangingPunct="1">
              <a:lnSpc>
                <a:spcPct val="95000"/>
              </a:lnSpc>
              <a:spcBef>
                <a:spcPts val="625"/>
              </a:spcBef>
              <a:spcAft>
                <a:spcPct val="0"/>
              </a:spcAft>
              <a:buFont typeface="Arial" charset="0"/>
              <a:buChar char="•"/>
              <a:defRPr lang="en-US" sz="1100" kern="1200" dirty="0">
                <a:solidFill>
                  <a:schemeClr val="tx1"/>
                </a:solidFill>
                <a:latin typeface="+mn-lt"/>
                <a:ea typeface="ＭＳ Ｐゴシック" charset="0"/>
                <a:cs typeface="CiscoSans"/>
              </a:defRPr>
            </a:lvl4pPr>
            <a:lvl5pPr marL="574675" indent="-169863" algn="l" defTabSz="684213" rtl="0" eaLnBrk="1" fontAlgn="base" hangingPunct="1">
              <a:lnSpc>
                <a:spcPct val="95000"/>
              </a:lnSpc>
              <a:spcBef>
                <a:spcPts val="625"/>
              </a:spcBef>
              <a:spcAft>
                <a:spcPct val="0"/>
              </a:spcAft>
              <a:buFont typeface="Arial" charset="0"/>
              <a:buChar char="•"/>
              <a:defRPr lang="en-US" sz="1100" kern="1200" dirty="0">
                <a:solidFill>
                  <a:schemeClr val="tx1"/>
                </a:solidFill>
                <a:latin typeface="+mn-lt"/>
                <a:ea typeface="ＭＳ Ｐゴシック" charset="0"/>
                <a:cs typeface="CiscoSans"/>
              </a:defRPr>
            </a:lvl5pPr>
            <a:lvl6pPr marL="863856" indent="-171445" algn="l" defTabSz="685777" rtl="0" eaLnBrk="1" latinLnBrk="0" hangingPunct="1">
              <a:spcBef>
                <a:spcPts val="600"/>
              </a:spcBef>
              <a:buFont typeface="Arial" pitchFamily="34" charset="0"/>
              <a:buChar char="•"/>
              <a:defRPr sz="9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935844" indent="-171422" algn="l" defTabSz="685777" rtl="0" eaLnBrk="1" latinLnBrk="0" hangingPunct="1">
              <a:spcBef>
                <a:spcPts val="600"/>
              </a:spcBef>
              <a:buFont typeface="Arial" pitchFamily="34" charset="0"/>
              <a:buChar char="•"/>
              <a:defRPr sz="8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220" indent="0" algn="l" defTabSz="685777" rtl="0" eaLnBrk="1" latinLnBrk="0" hangingPunct="1">
              <a:spcBef>
                <a:spcPct val="20000"/>
              </a:spcBef>
              <a:buFont typeface="Arial" pitchFamily="34" charset="0"/>
              <a:buNone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53" indent="-171445" algn="l" defTabSz="68577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2216" rtl="0" eaLnBrk="1" fontAlgn="base" latinLnBrk="0" hangingPunct="1">
              <a:lnSpc>
                <a:spcPct val="110000"/>
              </a:lnSpc>
              <a:spcBef>
                <a:spcPts val="0"/>
              </a:spcBef>
              <a:spcAft>
                <a:spcPts val="1600"/>
              </a:spcAft>
              <a:buClr>
                <a:srgbClr val="00BCEB"/>
              </a:buClr>
              <a:buSzPct val="90000"/>
              <a:buFont typeface="Arial" charset="0"/>
              <a:buNone/>
              <a:tabLst/>
              <a:defRPr/>
            </a:pPr>
            <a:r>
              <a:rPr kumimoji="0" lang="en-US" sz="6400" b="0" i="0" u="none" strike="noStrike" kern="1200" cap="none" spc="0" normalizeH="0" baseline="0" noProof="0">
                <a:ln>
                  <a:noFill/>
                </a:ln>
                <a:solidFill>
                  <a:srgbClr val="00BCEB"/>
                </a:solidFill>
                <a:effectLst/>
                <a:uLnTx/>
                <a:uFillTx/>
                <a:latin typeface="CiscoSansTT ExtraLight" panose="020B0303020201020303" pitchFamily="34" charset="0"/>
                <a:ea typeface="ＭＳ Ｐゴシック"/>
                <a:cs typeface="CiscoSansTT ExtraLight" panose="020B0303020201020303" pitchFamily="34" charset="0"/>
              </a:rPr>
              <a:t>262%</a:t>
            </a:r>
          </a:p>
          <a:p>
            <a:pPr marL="0" marR="0" lvl="0" indent="0" algn="l" defTabSz="912216" rtl="0" eaLnBrk="1" fontAlgn="base" latinLnBrk="0" hangingPunct="1">
              <a:lnSpc>
                <a:spcPct val="110000"/>
              </a:lnSpc>
              <a:spcBef>
                <a:spcPts val="0"/>
              </a:spcBef>
              <a:spcAft>
                <a:spcPts val="1600"/>
              </a:spcAft>
              <a:buClr>
                <a:srgbClr val="00BCEB"/>
              </a:buClr>
              <a:buSzPct val="90000"/>
              <a:buFont typeface="Arial" charset="0"/>
              <a:buNone/>
              <a:tabLst/>
              <a:defRPr/>
            </a:pPr>
            <a:r>
              <a:rPr kumimoji="0" lang="en-US" sz="9600" b="0" i="0" u="none" strike="noStrike" kern="1200" cap="none" spc="0" normalizeH="0" baseline="0" noProof="0">
                <a:ln>
                  <a:noFill/>
                </a:ln>
                <a:solidFill>
                  <a:srgbClr val="00BCEB"/>
                </a:solidFill>
                <a:effectLst/>
                <a:uLnTx/>
                <a:uFillTx/>
                <a:latin typeface="CiscoSansTT ExtraLight" panose="020B0303020201020303" pitchFamily="34" charset="0"/>
                <a:ea typeface="ＭＳ Ｐゴシック"/>
                <a:cs typeface="CiscoSansTT ExtraLight" panose="020B0303020201020303" pitchFamily="34" charset="0"/>
              </a:rPr>
              <a:t> </a:t>
            </a:r>
            <a:endParaRPr kumimoji="0" lang="en-US" sz="2133" b="0" i="0" u="none" strike="noStrike" kern="1200" cap="none" spc="0" normalizeH="0" baseline="0" noProof="0">
              <a:ln>
                <a:noFill/>
              </a:ln>
              <a:solidFill>
                <a:srgbClr val="14284A"/>
              </a:solidFill>
              <a:effectLst/>
              <a:uLnTx/>
              <a:uFillTx/>
              <a:latin typeface="CiscoSansTT ExtraLight" panose="020B0303020201020303" pitchFamily="34" charset="0"/>
              <a:ea typeface="ＭＳ Ｐゴシック"/>
              <a:cs typeface="CiscoSansTT ExtraLight" panose="020B0303020201020303" pitchFamily="34" charset="0"/>
            </a:endParaRPr>
          </a:p>
        </p:txBody>
      </p:sp>
      <p:sp>
        <p:nvSpPr>
          <p:cNvPr id="18" name="Google Shape;1123;p207">
            <a:hlinkClick r:id="rId4"/>
            <a:extLst>
              <a:ext uri="{FF2B5EF4-FFF2-40B4-BE49-F238E27FC236}">
                <a16:creationId xmlns:a16="http://schemas.microsoft.com/office/drawing/2014/main" id="{479D8C2F-C1D5-0E4E-98E2-E25143D1EB02}"/>
              </a:ext>
            </a:extLst>
          </p:cNvPr>
          <p:cNvSpPr/>
          <p:nvPr/>
        </p:nvSpPr>
        <p:spPr>
          <a:xfrm>
            <a:off x="2182627" y="4388574"/>
            <a:ext cx="3516452" cy="398964"/>
          </a:xfrm>
          <a:prstGeom prst="roundRect">
            <a:avLst>
              <a:gd name="adj" fmla="val 50000"/>
            </a:avLst>
          </a:prstGeom>
          <a:solidFill>
            <a:srgbClr val="00BDEB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ctr" defTabSz="609555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67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iscoSansTT ExtraLight" panose="020B0303020201020303" pitchFamily="34" charset="0"/>
                <a:ea typeface="ＭＳ Ｐゴシック" charset="0"/>
                <a:cs typeface="+mn-cs"/>
              </a:rPr>
              <a:t>Visit Cisco.com/go/bcs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2A5FECD6-3682-FA4D-9AFE-D9A131DBC1D2}"/>
              </a:ext>
            </a:extLst>
          </p:cNvPr>
          <p:cNvSpPr txBox="1"/>
          <p:nvPr/>
        </p:nvSpPr>
        <p:spPr>
          <a:xfrm>
            <a:off x="13751441" y="5982587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0" marR="0" lvl="0" indent="0" algn="l" defTabSz="60957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ts val="1600"/>
              </a:spcAft>
              <a:buClrTx/>
              <a:buSzTx/>
              <a:buFontTx/>
              <a:buNone/>
              <a:tabLst/>
              <a:defRPr/>
            </a:pPr>
            <a:endParaRPr kumimoji="0" lang="en-US" sz="1467" b="0" i="0" u="none" strike="noStrike" kern="1200" cap="none" spc="0" normalizeH="0" baseline="0" noProof="0">
              <a:ln>
                <a:noFill/>
              </a:ln>
              <a:solidFill>
                <a:srgbClr val="2F446B"/>
              </a:solidFill>
              <a:effectLst/>
              <a:uLnTx/>
              <a:uFillTx/>
              <a:latin typeface="CiscoSansTT ExtraLight"/>
              <a:ea typeface="ＭＳ Ｐゴシック" charset="0"/>
              <a:cs typeface="+mn-cs"/>
            </a:endParaRPr>
          </a:p>
        </p:txBody>
      </p:sp>
      <p:pic>
        <p:nvPicPr>
          <p:cNvPr id="20" name="Google Shape;3763;p588">
            <a:extLst>
              <a:ext uri="{FF2B5EF4-FFF2-40B4-BE49-F238E27FC236}">
                <a16:creationId xmlns:a16="http://schemas.microsoft.com/office/drawing/2014/main" id="{473BE079-EB0C-5247-BD8E-C67A5395295D}"/>
              </a:ext>
            </a:extLst>
          </p:cNvPr>
          <p:cNvPicPr preferRelativeResize="0"/>
          <p:nvPr/>
        </p:nvPicPr>
        <p:blipFill rotWithShape="1">
          <a:blip r:embed="rId5">
            <a:alphaModFix/>
          </a:blip>
          <a:srcRect/>
          <a:stretch/>
        </p:blipFill>
        <p:spPr>
          <a:xfrm rot="10800000">
            <a:off x="10442267" y="676108"/>
            <a:ext cx="555027" cy="1110053"/>
          </a:xfrm>
          <a:prstGeom prst="rect">
            <a:avLst/>
          </a:prstGeom>
          <a:noFill/>
          <a:ln>
            <a:noFill/>
          </a:ln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D9054685-A9D9-3348-A372-E13022D869E6}"/>
              </a:ext>
            </a:extLst>
          </p:cNvPr>
          <p:cNvSpPr txBox="1"/>
          <p:nvPr/>
        </p:nvSpPr>
        <p:spPr>
          <a:xfrm>
            <a:off x="87248" y="6622601"/>
            <a:ext cx="3405037" cy="290156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0" marR="0" lvl="0" indent="0" algn="l" defTabSz="60957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ts val="1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67" b="0" i="0" u="none" strike="noStrike" kern="1200" cap="none" spc="0" normalizeH="0" baseline="0" noProof="0">
                <a:ln>
                  <a:noFill/>
                </a:ln>
                <a:solidFill>
                  <a:srgbClr val="2F446B"/>
                </a:solidFill>
                <a:effectLst/>
                <a:uLnTx/>
                <a:uFillTx/>
                <a:latin typeface="CiscoSansTT ExtraLight"/>
                <a:ea typeface="ＭＳ Ｐゴシック" charset="0"/>
                <a:cs typeface="+mn-cs"/>
              </a:rPr>
              <a:t>Source: 2017 IDC Value of Cisco Optimization Study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288D8EFD-6BE6-4E4E-B6EB-4FB2A5479DC6}"/>
              </a:ext>
            </a:extLst>
          </p:cNvPr>
          <p:cNvSpPr txBox="1"/>
          <p:nvPr/>
        </p:nvSpPr>
        <p:spPr>
          <a:xfrm>
            <a:off x="2853082" y="3751123"/>
            <a:ext cx="2185639" cy="398964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0" marR="0" lvl="0" indent="0" algn="l" defTabSz="60957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ts val="1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00BCEB"/>
                </a:solidFill>
                <a:effectLst/>
                <a:uLnTx/>
                <a:uFillTx/>
                <a:latin typeface="CiscoSansTT ExtraLight" panose="020B0303020201020303" pitchFamily="34" charset="0"/>
                <a:ea typeface="ＭＳ Ｐゴシック"/>
                <a:cs typeface="CiscoSansTT ExtraLight" panose="020B0303020201020303" pitchFamily="34" charset="0"/>
              </a:rPr>
              <a:t>ROI over 5 years</a:t>
            </a: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2F446B"/>
              </a:solidFill>
              <a:effectLst/>
              <a:uLnTx/>
              <a:uFillTx/>
              <a:latin typeface="CiscoSansTT ExtraLight"/>
              <a:ea typeface="ＭＳ Ｐゴシック" charset="0"/>
              <a:cs typeface="+mn-cs"/>
            </a:endParaRP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D33E9DC8-2A0B-A847-9568-6E737ACBF1A9}"/>
              </a:ext>
            </a:extLst>
          </p:cNvPr>
          <p:cNvGrpSpPr/>
          <p:nvPr/>
        </p:nvGrpSpPr>
        <p:grpSpPr>
          <a:xfrm>
            <a:off x="833926" y="5525951"/>
            <a:ext cx="10314871" cy="1204331"/>
            <a:chOff x="303682" y="3918818"/>
            <a:chExt cx="7736153" cy="903248"/>
          </a:xfrm>
        </p:grpSpPr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4241EAB7-F235-D747-9BE5-021B418CC668}"/>
                </a:ext>
              </a:extLst>
            </p:cNvPr>
            <p:cNvSpPr txBox="1"/>
            <p:nvPr/>
          </p:nvSpPr>
          <p:spPr>
            <a:xfrm>
              <a:off x="585881" y="3967973"/>
              <a:ext cx="7453954" cy="854093"/>
            </a:xfrm>
            <a:prstGeom prst="rect">
              <a:avLst/>
            </a:prstGeom>
            <a:noFill/>
          </p:spPr>
          <p:txBody>
            <a:bodyPr wrap="square" lIns="0" tIns="0" rIns="0" bIns="0" rtlCol="0" anchor="t" anchorCtr="0">
              <a:noAutofit/>
            </a:bodyPr>
            <a:lstStyle/>
            <a:p>
              <a:pPr defTabSz="609570" fontAlgn="base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400"/>
                <a:t>We’d traditionally seen our IT partners as there to fix problems. Cisco and their partner proved they could do it with an increase in software compliance of 45%. But we wanted them to go further, to create value. Suppliers just sell you stuff. Partners are invested in your business, and advise you. That’s Cisco.</a:t>
              </a:r>
            </a:p>
            <a:p>
              <a:pPr marL="0" marR="0" lvl="0" indent="0" algn="l" defTabSz="609570" rtl="0" eaLnBrk="1" fontAlgn="base" latinLnBrk="0" hangingPunct="1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14284A"/>
                  </a:solidFill>
                  <a:effectLst/>
                  <a:uLnTx/>
                  <a:uFillTx/>
                  <a:latin typeface="CiscoSansTT ExtraLight"/>
                  <a:ea typeface="ＭＳ Ｐゴシック"/>
                  <a:cs typeface="CiscoSansTT ExtraLight" panose="020B0303020201020303" pitchFamily="34" charset="0"/>
                </a:rPr>
                <a:t>        </a:t>
              </a:r>
              <a:endParaRPr kumimoji="0" lang="en-US" sz="1400" b="0" i="1" u="none" strike="noStrike" kern="1200" cap="none" spc="0" normalizeH="0" baseline="0" noProof="0">
                <a:ln>
                  <a:noFill/>
                </a:ln>
                <a:solidFill>
                  <a:srgbClr val="14284A"/>
                </a:solidFill>
                <a:effectLst/>
                <a:uLnTx/>
                <a:uFillTx/>
                <a:latin typeface="CiscoSansTT ExtraLight"/>
                <a:ea typeface="ＭＳ Ｐゴシック"/>
                <a:cs typeface="CiscoSansTT ExtraLight" panose="020B0303020201020303" pitchFamily="34" charset="0"/>
              </a:endParaRPr>
            </a:p>
          </p:txBody>
        </p:sp>
        <p:sp>
          <p:nvSpPr>
            <p:cNvPr id="13" name="Google Shape;1066;p203">
              <a:extLst>
                <a:ext uri="{FF2B5EF4-FFF2-40B4-BE49-F238E27FC236}">
                  <a16:creationId xmlns:a16="http://schemas.microsoft.com/office/drawing/2014/main" id="{CF7E253A-0C49-FB47-A33B-C07F63540ED5}"/>
                </a:ext>
              </a:extLst>
            </p:cNvPr>
            <p:cNvSpPr txBox="1">
              <a:spLocks/>
            </p:cNvSpPr>
            <p:nvPr/>
          </p:nvSpPr>
          <p:spPr>
            <a:xfrm>
              <a:off x="303682" y="3918818"/>
              <a:ext cx="282199" cy="316857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marR="0" lvl="0" indent="0" algn="l" defTabSz="609570" rtl="0" eaLnBrk="1" fontAlgn="base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r>
                <a:rPr kumimoji="0" lang="en-US" sz="5333" b="1" i="0" u="none" strike="noStrike" kern="1200" cap="none" spc="0" normalizeH="0" baseline="0" noProof="0">
                  <a:ln>
                    <a:noFill/>
                  </a:ln>
                  <a:solidFill>
                    <a:srgbClr val="00BCEB"/>
                  </a:solidFill>
                  <a:effectLst/>
                  <a:uLnTx/>
                  <a:uFillTx/>
                  <a:latin typeface="CiscoSansTT" panose="020B0503020201020303" pitchFamily="34" charset="0"/>
                  <a:ea typeface="Helvetica Neue"/>
                  <a:cs typeface="CiscoSansTT" panose="020B0503020201020303" pitchFamily="34" charset="0"/>
                  <a:sym typeface="Helvetica Neue"/>
                </a:rPr>
                <a:t>“</a:t>
              </a:r>
            </a:p>
          </p:txBody>
        </p:sp>
        <p:sp>
          <p:nvSpPr>
            <p:cNvPr id="16" name="Google Shape;1066;p203">
              <a:extLst>
                <a:ext uri="{FF2B5EF4-FFF2-40B4-BE49-F238E27FC236}">
                  <a16:creationId xmlns:a16="http://schemas.microsoft.com/office/drawing/2014/main" id="{FB1CE6D7-620C-7C46-A619-C9B6C21356F7}"/>
                </a:ext>
              </a:extLst>
            </p:cNvPr>
            <p:cNvSpPr txBox="1">
              <a:spLocks/>
            </p:cNvSpPr>
            <p:nvPr/>
          </p:nvSpPr>
          <p:spPr>
            <a:xfrm flipV="1">
              <a:off x="4687550" y="4179134"/>
              <a:ext cx="282199" cy="316857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ctr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marL="0" marR="0" lvl="0" indent="0" algn="l" defTabSz="609570" rtl="0" eaLnBrk="1" fontAlgn="base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r>
                <a:rPr kumimoji="0" lang="en-US" sz="5333" b="1" i="0" u="none" strike="noStrike" kern="1200" cap="none" spc="0" normalizeH="0" baseline="0" noProof="0">
                  <a:ln>
                    <a:noFill/>
                  </a:ln>
                  <a:solidFill>
                    <a:srgbClr val="00BCEB"/>
                  </a:solidFill>
                  <a:effectLst/>
                  <a:uLnTx/>
                  <a:uFillTx/>
                  <a:latin typeface="CiscoSansTT" panose="020B0503020201020303" pitchFamily="34" charset="0"/>
                  <a:ea typeface="Helvetica Neue"/>
                  <a:cs typeface="CiscoSansTT" panose="020B0503020201020303" pitchFamily="34" charset="0"/>
                  <a:sym typeface="Helvetica Neue"/>
                </a:rPr>
                <a:t>“</a:t>
              </a:r>
            </a:p>
          </p:txBody>
        </p:sp>
        <p:sp>
          <p:nvSpPr>
            <p:cNvPr id="5" name="TextBox 4">
              <a:extLst>
                <a:ext uri="{FF2B5EF4-FFF2-40B4-BE49-F238E27FC236}">
                  <a16:creationId xmlns:a16="http://schemas.microsoft.com/office/drawing/2014/main" id="{19B97A0D-38AB-0E4A-98EF-959BDD1E4BD3}"/>
                </a:ext>
              </a:extLst>
            </p:cNvPr>
            <p:cNvSpPr txBox="1"/>
            <p:nvPr/>
          </p:nvSpPr>
          <p:spPr>
            <a:xfrm>
              <a:off x="5010753" y="4388883"/>
              <a:ext cx="2277545" cy="212631"/>
            </a:xfrm>
            <a:prstGeom prst="rect">
              <a:avLst/>
            </a:prstGeom>
            <a:noFill/>
          </p:spPr>
          <p:txBody>
            <a:bodyPr wrap="none" lIns="0" tIns="0" rIns="0" bIns="0" rtlCol="0">
              <a:noAutofit/>
            </a:bodyPr>
            <a:lstStyle/>
            <a:p>
              <a:pPr marL="0" marR="0" lvl="0" indent="0" algn="l" defTabSz="609570" rtl="0" eaLnBrk="1" fontAlgn="base" latinLnBrk="0" hangingPunct="1">
                <a:lnSpc>
                  <a:spcPct val="110000"/>
                </a:lnSpc>
                <a:spcBef>
                  <a:spcPct val="0"/>
                </a:spcBef>
                <a:spcAft>
                  <a:spcPts val="1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1" u="none" strike="noStrike" kern="1200" cap="none" spc="0" normalizeH="0" baseline="0" noProof="0">
                  <a:ln>
                    <a:noFill/>
                  </a:ln>
                  <a:solidFill>
                    <a:srgbClr val="2F446B"/>
                  </a:solidFill>
                  <a:effectLst/>
                  <a:uLnTx/>
                  <a:uFillTx/>
                  <a:latin typeface="CiscoSansTT ExtraLight"/>
                  <a:ea typeface="+mn-ea"/>
                  <a:cs typeface="+mn-cs"/>
                </a:rPr>
                <a:t>Patrick Misciagna, General Manager </a:t>
              </a:r>
              <a:br>
                <a:rPr kumimoji="0" lang="en-US" sz="1200" b="0" i="1" u="none" strike="noStrike" kern="1200" cap="none" spc="0" normalizeH="0" baseline="0" noProof="0">
                  <a:ln>
                    <a:noFill/>
                  </a:ln>
                  <a:solidFill>
                    <a:srgbClr val="2F446B"/>
                  </a:solidFill>
                  <a:effectLst/>
                  <a:uLnTx/>
                  <a:uFillTx/>
                  <a:latin typeface="CiscoSansTT ExtraLight"/>
                  <a:ea typeface="+mn-ea"/>
                  <a:cs typeface="+mn-cs"/>
                </a:rPr>
              </a:br>
              <a:r>
                <a:rPr kumimoji="0" lang="en-US" sz="1200" b="0" i="1" u="none" strike="noStrike" kern="1200" cap="none" spc="0" normalizeH="0" baseline="0" noProof="0">
                  <a:ln>
                    <a:noFill/>
                  </a:ln>
                  <a:solidFill>
                    <a:srgbClr val="2F446B"/>
                  </a:solidFill>
                  <a:effectLst/>
                  <a:uLnTx/>
                  <a:uFillTx/>
                  <a:latin typeface="CiscoSansTT ExtraLight"/>
                  <a:ea typeface="+mn-ea"/>
                  <a:cs typeface="+mn-cs"/>
                </a:rPr>
                <a:t>IT, Service, Operations &amp; Infrastructure, Woolworths Group</a:t>
              </a:r>
              <a:endParaRPr kumimoji="0" lang="en-US" sz="1200" b="0" i="1" u="none" strike="noStrike" kern="1200" cap="none" spc="0" normalizeH="0" baseline="0" noProof="0">
                <a:ln>
                  <a:noFill/>
                </a:ln>
                <a:solidFill>
                  <a:srgbClr val="2F446B"/>
                </a:solidFill>
                <a:effectLst/>
                <a:uLnTx/>
                <a:uFillTx/>
                <a:latin typeface="CiscoSansTT ExtraLight"/>
                <a:ea typeface="ＭＳ Ｐゴシック" charset="0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708740815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7" name="Rectangle: Top Corners Rounded 166"/>
          <p:cNvSpPr/>
          <p:nvPr/>
        </p:nvSpPr>
        <p:spPr bwMode="auto">
          <a:xfrm>
            <a:off x="2829170" y="1615487"/>
            <a:ext cx="2145444" cy="576000"/>
          </a:xfrm>
          <a:prstGeom prst="round2SameRect">
            <a:avLst>
              <a:gd name="adj1" fmla="val 29853"/>
              <a:gd name="adj2" fmla="val 0"/>
            </a:avLst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3600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1085725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400" kern="0">
                <a:solidFill>
                  <a:srgbClr val="FFFFFF"/>
                </a:solidFill>
                <a:latin typeface="CiscoSansTT ExtraLight"/>
                <a:ea typeface="ＭＳ Ｐゴシック" charset="0"/>
                <a:cs typeface="CiscoSansTT Light" panose="020B0503020201020303" pitchFamily="34" charset="0"/>
              </a:rPr>
              <a:t>High Performance and Resilient IT</a:t>
            </a:r>
          </a:p>
        </p:txBody>
      </p:sp>
      <p:sp>
        <p:nvSpPr>
          <p:cNvPr id="168" name="Rectangle: Top Corners Rounded 167"/>
          <p:cNvSpPr/>
          <p:nvPr/>
        </p:nvSpPr>
        <p:spPr bwMode="auto">
          <a:xfrm>
            <a:off x="5002259" y="1615487"/>
            <a:ext cx="2145444" cy="576000"/>
          </a:xfrm>
          <a:prstGeom prst="round2SameRect">
            <a:avLst>
              <a:gd name="adj1" fmla="val 29853"/>
              <a:gd name="adj2" fmla="val 0"/>
            </a:avLst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3600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1085725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400">
                <a:solidFill>
                  <a:srgbClr val="FFFFFF"/>
                </a:solidFill>
                <a:latin typeface="CiscoSansTT ExtraLight"/>
                <a:ea typeface="ＭＳ Ｐゴシック" charset="0"/>
                <a:cs typeface="CiscoSansTT Light" panose="020B0503020201020303" pitchFamily="34" charset="0"/>
              </a:rPr>
              <a:t>Non-Stop People Connections</a:t>
            </a:r>
            <a:endParaRPr lang="en-US" sz="1400" kern="0">
              <a:solidFill>
                <a:srgbClr val="FFFFFF"/>
              </a:solidFill>
              <a:latin typeface="CiscoSansTT ExtraLight"/>
              <a:ea typeface="ＭＳ Ｐゴシック" charset="0"/>
              <a:cs typeface="CiscoSansTT Light" panose="020B0503020201020303" pitchFamily="34" charset="0"/>
            </a:endParaRPr>
          </a:p>
        </p:txBody>
      </p:sp>
      <p:sp>
        <p:nvSpPr>
          <p:cNvPr id="169" name="Rectangle: Top Corners Rounded 168"/>
          <p:cNvSpPr/>
          <p:nvPr/>
        </p:nvSpPr>
        <p:spPr bwMode="auto">
          <a:xfrm>
            <a:off x="7175350" y="1615487"/>
            <a:ext cx="2145444" cy="576000"/>
          </a:xfrm>
          <a:prstGeom prst="round2SameRect">
            <a:avLst>
              <a:gd name="adj1" fmla="val 29853"/>
              <a:gd name="adj2" fmla="val 0"/>
            </a:avLst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3600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1085725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400" kern="0">
                <a:solidFill>
                  <a:srgbClr val="FFFFFF"/>
                </a:solidFill>
                <a:latin typeface="CiscoSansTT ExtraLight"/>
                <a:ea typeface="ＭＳ Ｐゴシック" charset="0"/>
                <a:cs typeface="CiscoSansTT Light" panose="020B0503020201020303" pitchFamily="34" charset="0"/>
              </a:rPr>
              <a:t>Always-On Protection and Defense</a:t>
            </a:r>
          </a:p>
        </p:txBody>
      </p:sp>
      <p:sp>
        <p:nvSpPr>
          <p:cNvPr id="172" name="Rectangle: Top Corners Rounded 171"/>
          <p:cNvSpPr/>
          <p:nvPr/>
        </p:nvSpPr>
        <p:spPr bwMode="auto">
          <a:xfrm>
            <a:off x="9358951" y="1615487"/>
            <a:ext cx="2145444" cy="576000"/>
          </a:xfrm>
          <a:prstGeom prst="round2SameRect">
            <a:avLst>
              <a:gd name="adj1" fmla="val 29853"/>
              <a:gd name="adj2" fmla="val 0"/>
            </a:avLst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3600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1085725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400" kern="0">
                <a:solidFill>
                  <a:srgbClr val="FFFFFF"/>
                </a:solidFill>
                <a:latin typeface="CiscoSansTT ExtraLight"/>
                <a:ea typeface="ＭＳ Ｐゴシック" charset="0"/>
                <a:cs typeface="CiscoSansTT Light" panose="020B0503020201020303" pitchFamily="34" charset="0"/>
              </a:rPr>
              <a:t>IBN Campus Network Transformation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635060" y="306524"/>
            <a:ext cx="10752667" cy="905875"/>
          </a:xfrm>
        </p:spPr>
        <p:txBody>
          <a:bodyPr/>
          <a:lstStyle/>
          <a:p>
            <a:r>
              <a:rPr lang="en-US" sz="3600"/>
              <a:t>CX Portfolio</a:t>
            </a:r>
            <a:br>
              <a:rPr lang="en-US"/>
            </a:br>
            <a:r>
              <a:rPr lang="en-US" sz="2400"/>
              <a:t>Examples of how we work together to achieve more</a:t>
            </a:r>
          </a:p>
        </p:txBody>
      </p:sp>
      <p:sp>
        <p:nvSpPr>
          <p:cNvPr id="78" name="TextBox 77">
            <a:extLst>
              <a:ext uri="{FF2B5EF4-FFF2-40B4-BE49-F238E27FC236}">
                <a16:creationId xmlns:a16="http://schemas.microsoft.com/office/drawing/2014/main" id="{C96F3D72-AC03-1645-A803-28829458CC22}"/>
              </a:ext>
            </a:extLst>
          </p:cNvPr>
          <p:cNvSpPr txBox="1"/>
          <p:nvPr/>
        </p:nvSpPr>
        <p:spPr>
          <a:xfrm>
            <a:off x="3017693" y="2446731"/>
            <a:ext cx="1886779" cy="937456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noAutofit/>
          </a:bodyPr>
          <a:lstStyle/>
          <a:p>
            <a:pPr defTabSz="609555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1151">
                <a:solidFill>
                  <a:srgbClr val="14284A"/>
                </a:solidFill>
                <a:latin typeface="CiscoSansTT ExtraLight"/>
                <a:ea typeface="ＭＳ Ｐゴシック" charset="0"/>
              </a:rPr>
              <a:t>I need analytics-driven guidance on building and maintaining a resilient and high-performance network and the support to fix things, fast.</a:t>
            </a:r>
          </a:p>
        </p:txBody>
      </p:sp>
      <p:sp>
        <p:nvSpPr>
          <p:cNvPr id="79" name="TextBox 78">
            <a:extLst>
              <a:ext uri="{FF2B5EF4-FFF2-40B4-BE49-F238E27FC236}">
                <a16:creationId xmlns:a16="http://schemas.microsoft.com/office/drawing/2014/main" id="{11563EFF-6D26-5747-9E0F-E67D61232B4B}"/>
              </a:ext>
            </a:extLst>
          </p:cNvPr>
          <p:cNvSpPr txBox="1"/>
          <p:nvPr/>
        </p:nvSpPr>
        <p:spPr>
          <a:xfrm>
            <a:off x="5152612" y="2491546"/>
            <a:ext cx="1886779" cy="1704940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noAutofit/>
          </a:bodyPr>
          <a:lstStyle/>
          <a:p>
            <a:pPr defTabSz="609555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1151">
                <a:solidFill>
                  <a:srgbClr val="14284A"/>
                </a:solidFill>
                <a:latin typeface="CiscoSansTT ExtraLight"/>
                <a:ea typeface="ＭＳ Ｐゴシック" charset="0"/>
              </a:rPr>
              <a:t>I need to ensure all employees are proficient in WebEx and they have a direct connection to a help desk. I want to  track usage and adoption metrics</a:t>
            </a:r>
          </a:p>
        </p:txBody>
      </p:sp>
      <p:sp>
        <p:nvSpPr>
          <p:cNvPr id="81" name="TextBox 80">
            <a:extLst>
              <a:ext uri="{FF2B5EF4-FFF2-40B4-BE49-F238E27FC236}">
                <a16:creationId xmlns:a16="http://schemas.microsoft.com/office/drawing/2014/main" id="{E6C09FA9-35E6-D747-AF8E-B0C954DE05E7}"/>
              </a:ext>
            </a:extLst>
          </p:cNvPr>
          <p:cNvSpPr txBox="1"/>
          <p:nvPr/>
        </p:nvSpPr>
        <p:spPr>
          <a:xfrm>
            <a:off x="7389561" y="2411048"/>
            <a:ext cx="1886779" cy="1307899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noAutofit/>
          </a:bodyPr>
          <a:lstStyle/>
          <a:p>
            <a:pPr defTabSz="609555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1151">
                <a:solidFill>
                  <a:srgbClr val="14284A"/>
                </a:solidFill>
                <a:latin typeface="CiscoSansTT ExtraLight"/>
                <a:ea typeface="ＭＳ Ｐゴシック" charset="0"/>
              </a:rPr>
              <a:t>We are moving to a new security solution and I need expert guidance on the technology and a vendor to prevent or reduce threat impact and support the Cisco security solution.</a:t>
            </a:r>
          </a:p>
        </p:txBody>
      </p:sp>
      <p:sp>
        <p:nvSpPr>
          <p:cNvPr id="82" name="TextBox 81">
            <a:extLst>
              <a:ext uri="{FF2B5EF4-FFF2-40B4-BE49-F238E27FC236}">
                <a16:creationId xmlns:a16="http://schemas.microsoft.com/office/drawing/2014/main" id="{942EF474-7057-8F4B-B23A-C4C8827ABAA3}"/>
              </a:ext>
            </a:extLst>
          </p:cNvPr>
          <p:cNvSpPr txBox="1"/>
          <p:nvPr/>
        </p:nvSpPr>
        <p:spPr>
          <a:xfrm>
            <a:off x="9456753" y="2465332"/>
            <a:ext cx="2145443" cy="1370944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noAutofit/>
          </a:bodyPr>
          <a:lstStyle/>
          <a:p>
            <a:pPr defTabSz="609555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1151">
                <a:solidFill>
                  <a:srgbClr val="14284A"/>
                </a:solidFill>
                <a:latin typeface="CiscoSansTT ExtraLight"/>
                <a:ea typeface="ＭＳ Ｐゴシック" charset="0"/>
              </a:rPr>
              <a:t>We want a holistic services solution that can help us not only navigate the transformation but assist our team in getting up to speed</a:t>
            </a:r>
            <a:r>
              <a:rPr lang="en-US" sz="1151">
                <a:solidFill>
                  <a:srgbClr val="14284A"/>
                </a:solidFill>
                <a:latin typeface="Arial" charset="0"/>
                <a:ea typeface="ＭＳ Ｐゴシック" charset="0"/>
              </a:rPr>
              <a:t>, as well as supporting</a:t>
            </a:r>
            <a:r>
              <a:rPr lang="en-US" sz="1151">
                <a:solidFill>
                  <a:srgbClr val="14284A"/>
                </a:solidFill>
                <a:latin typeface="CiscoSansTT ExtraLight"/>
                <a:ea typeface="ＭＳ Ｐゴシック" charset="0"/>
              </a:rPr>
              <a:t> us in running and optimizing IT for high performance.</a:t>
            </a:r>
          </a:p>
        </p:txBody>
      </p:sp>
      <p:sp>
        <p:nvSpPr>
          <p:cNvPr id="33" name="Google Shape;55;p13">
            <a:extLst>
              <a:ext uri="{FF2B5EF4-FFF2-40B4-BE49-F238E27FC236}">
                <a16:creationId xmlns:a16="http://schemas.microsoft.com/office/drawing/2014/main" id="{F2396B33-7096-4D4C-AD0F-0D3441688AE7}"/>
              </a:ext>
            </a:extLst>
          </p:cNvPr>
          <p:cNvSpPr>
            <a:spLocks noChangeAspect="1"/>
          </p:cNvSpPr>
          <p:nvPr/>
        </p:nvSpPr>
        <p:spPr>
          <a:xfrm>
            <a:off x="3000541" y="2318490"/>
            <a:ext cx="119723" cy="94295"/>
          </a:xfrm>
          <a:custGeom>
            <a:avLst/>
            <a:gdLst/>
            <a:ahLst/>
            <a:cxnLst/>
            <a:rect l="l" t="t" r="r" b="b"/>
            <a:pathLst>
              <a:path w="251906" h="198404" extrusionOk="0">
                <a:moveTo>
                  <a:pt x="81739" y="0"/>
                </a:moveTo>
                <a:cubicBezTo>
                  <a:pt x="63905" y="5945"/>
                  <a:pt x="46814" y="15605"/>
                  <a:pt x="33439" y="28980"/>
                </a:cubicBezTo>
                <a:cubicBezTo>
                  <a:pt x="21549" y="40127"/>
                  <a:pt x="12632" y="54245"/>
                  <a:pt x="7431" y="69850"/>
                </a:cubicBezTo>
                <a:cubicBezTo>
                  <a:pt x="2229" y="90656"/>
                  <a:pt x="0" y="111463"/>
                  <a:pt x="743" y="133012"/>
                </a:cubicBezTo>
                <a:lnTo>
                  <a:pt x="743" y="198404"/>
                </a:lnTo>
                <a:lnTo>
                  <a:pt x="91399" y="198404"/>
                </a:lnTo>
                <a:lnTo>
                  <a:pt x="92143" y="107004"/>
                </a:lnTo>
                <a:lnTo>
                  <a:pt x="47557" y="107004"/>
                </a:lnTo>
                <a:cubicBezTo>
                  <a:pt x="47557" y="91399"/>
                  <a:pt x="52016" y="76538"/>
                  <a:pt x="60190" y="63162"/>
                </a:cubicBezTo>
                <a:cubicBezTo>
                  <a:pt x="70593" y="51273"/>
                  <a:pt x="83969" y="42356"/>
                  <a:pt x="99573" y="37897"/>
                </a:cubicBezTo>
                <a:lnTo>
                  <a:pt x="81739" y="0"/>
                </a:lnTo>
                <a:close/>
                <a:moveTo>
                  <a:pt x="234072" y="0"/>
                </a:moveTo>
                <a:cubicBezTo>
                  <a:pt x="216238" y="5945"/>
                  <a:pt x="199890" y="15605"/>
                  <a:pt x="186514" y="28237"/>
                </a:cubicBezTo>
                <a:cubicBezTo>
                  <a:pt x="173882" y="40127"/>
                  <a:pt x="164965" y="54245"/>
                  <a:pt x="160506" y="69850"/>
                </a:cubicBezTo>
                <a:cubicBezTo>
                  <a:pt x="154562" y="90656"/>
                  <a:pt x="152332" y="111463"/>
                  <a:pt x="153075" y="133012"/>
                </a:cubicBezTo>
                <a:lnTo>
                  <a:pt x="153075" y="198404"/>
                </a:lnTo>
                <a:lnTo>
                  <a:pt x="245218" y="198404"/>
                </a:lnTo>
                <a:lnTo>
                  <a:pt x="244475" y="106261"/>
                </a:lnTo>
                <a:lnTo>
                  <a:pt x="200633" y="106261"/>
                </a:lnTo>
                <a:cubicBezTo>
                  <a:pt x="199890" y="91399"/>
                  <a:pt x="204348" y="75795"/>
                  <a:pt x="213265" y="63162"/>
                </a:cubicBezTo>
                <a:cubicBezTo>
                  <a:pt x="222925" y="50530"/>
                  <a:pt x="237044" y="41613"/>
                  <a:pt x="251906" y="37897"/>
                </a:cubicBezTo>
                <a:lnTo>
                  <a:pt x="234072" y="0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defTabSz="609555" fontAlgn="base"/>
            <a:endParaRPr sz="2400">
              <a:solidFill>
                <a:srgbClr val="2F446B"/>
              </a:solidFill>
              <a:latin typeface="CiscoSansTT Light" panose="020B0503020201020303" pitchFamily="34" charset="0"/>
              <a:ea typeface="ＭＳ Ｐゴシック" charset="0"/>
              <a:cs typeface="CiscoSansTT Light" panose="020B0503020201020303" pitchFamily="34" charset="0"/>
            </a:endParaRPr>
          </a:p>
        </p:txBody>
      </p:sp>
      <p:sp>
        <p:nvSpPr>
          <p:cNvPr id="34" name="Google Shape;55;p13">
            <a:extLst>
              <a:ext uri="{FF2B5EF4-FFF2-40B4-BE49-F238E27FC236}">
                <a16:creationId xmlns:a16="http://schemas.microsoft.com/office/drawing/2014/main" id="{151148C1-2676-4AA2-AF55-97847E110D4E}"/>
              </a:ext>
            </a:extLst>
          </p:cNvPr>
          <p:cNvSpPr>
            <a:spLocks noChangeAspect="1"/>
          </p:cNvSpPr>
          <p:nvPr/>
        </p:nvSpPr>
        <p:spPr>
          <a:xfrm>
            <a:off x="5152613" y="2318490"/>
            <a:ext cx="119723" cy="94295"/>
          </a:xfrm>
          <a:custGeom>
            <a:avLst/>
            <a:gdLst/>
            <a:ahLst/>
            <a:cxnLst/>
            <a:rect l="l" t="t" r="r" b="b"/>
            <a:pathLst>
              <a:path w="251906" h="198404" extrusionOk="0">
                <a:moveTo>
                  <a:pt x="81739" y="0"/>
                </a:moveTo>
                <a:cubicBezTo>
                  <a:pt x="63905" y="5945"/>
                  <a:pt x="46814" y="15605"/>
                  <a:pt x="33439" y="28980"/>
                </a:cubicBezTo>
                <a:cubicBezTo>
                  <a:pt x="21549" y="40127"/>
                  <a:pt x="12632" y="54245"/>
                  <a:pt x="7431" y="69850"/>
                </a:cubicBezTo>
                <a:cubicBezTo>
                  <a:pt x="2229" y="90656"/>
                  <a:pt x="0" y="111463"/>
                  <a:pt x="743" y="133012"/>
                </a:cubicBezTo>
                <a:lnTo>
                  <a:pt x="743" y="198404"/>
                </a:lnTo>
                <a:lnTo>
                  <a:pt x="91399" y="198404"/>
                </a:lnTo>
                <a:lnTo>
                  <a:pt x="92143" y="107004"/>
                </a:lnTo>
                <a:lnTo>
                  <a:pt x="47557" y="107004"/>
                </a:lnTo>
                <a:cubicBezTo>
                  <a:pt x="47557" y="91399"/>
                  <a:pt x="52016" y="76538"/>
                  <a:pt x="60190" y="63162"/>
                </a:cubicBezTo>
                <a:cubicBezTo>
                  <a:pt x="70593" y="51273"/>
                  <a:pt x="83969" y="42356"/>
                  <a:pt x="99573" y="37897"/>
                </a:cubicBezTo>
                <a:lnTo>
                  <a:pt x="81739" y="0"/>
                </a:lnTo>
                <a:close/>
                <a:moveTo>
                  <a:pt x="234072" y="0"/>
                </a:moveTo>
                <a:cubicBezTo>
                  <a:pt x="216238" y="5945"/>
                  <a:pt x="199890" y="15605"/>
                  <a:pt x="186514" y="28237"/>
                </a:cubicBezTo>
                <a:cubicBezTo>
                  <a:pt x="173882" y="40127"/>
                  <a:pt x="164965" y="54245"/>
                  <a:pt x="160506" y="69850"/>
                </a:cubicBezTo>
                <a:cubicBezTo>
                  <a:pt x="154562" y="90656"/>
                  <a:pt x="152332" y="111463"/>
                  <a:pt x="153075" y="133012"/>
                </a:cubicBezTo>
                <a:lnTo>
                  <a:pt x="153075" y="198404"/>
                </a:lnTo>
                <a:lnTo>
                  <a:pt x="245218" y="198404"/>
                </a:lnTo>
                <a:lnTo>
                  <a:pt x="244475" y="106261"/>
                </a:lnTo>
                <a:lnTo>
                  <a:pt x="200633" y="106261"/>
                </a:lnTo>
                <a:cubicBezTo>
                  <a:pt x="199890" y="91399"/>
                  <a:pt x="204348" y="75795"/>
                  <a:pt x="213265" y="63162"/>
                </a:cubicBezTo>
                <a:cubicBezTo>
                  <a:pt x="222925" y="50530"/>
                  <a:pt x="237044" y="41613"/>
                  <a:pt x="251906" y="37897"/>
                </a:cubicBezTo>
                <a:lnTo>
                  <a:pt x="234072" y="0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defTabSz="609555" fontAlgn="base"/>
            <a:endParaRPr sz="2400">
              <a:solidFill>
                <a:srgbClr val="2F446B"/>
              </a:solidFill>
              <a:latin typeface="CiscoSansTT Light" panose="020B0503020201020303" pitchFamily="34" charset="0"/>
              <a:ea typeface="ＭＳ Ｐゴシック" charset="0"/>
              <a:cs typeface="CiscoSansTT Light" panose="020B0503020201020303" pitchFamily="34" charset="0"/>
            </a:endParaRPr>
          </a:p>
        </p:txBody>
      </p:sp>
      <p:sp>
        <p:nvSpPr>
          <p:cNvPr id="35" name="Google Shape;55;p13">
            <a:extLst>
              <a:ext uri="{FF2B5EF4-FFF2-40B4-BE49-F238E27FC236}">
                <a16:creationId xmlns:a16="http://schemas.microsoft.com/office/drawing/2014/main" id="{CF69E400-DF27-49AF-BF86-F4107BDC5318}"/>
              </a:ext>
            </a:extLst>
          </p:cNvPr>
          <p:cNvSpPr>
            <a:spLocks noChangeAspect="1"/>
          </p:cNvSpPr>
          <p:nvPr/>
        </p:nvSpPr>
        <p:spPr>
          <a:xfrm>
            <a:off x="7304681" y="2318490"/>
            <a:ext cx="119723" cy="94295"/>
          </a:xfrm>
          <a:custGeom>
            <a:avLst/>
            <a:gdLst/>
            <a:ahLst/>
            <a:cxnLst/>
            <a:rect l="l" t="t" r="r" b="b"/>
            <a:pathLst>
              <a:path w="251906" h="198404" extrusionOk="0">
                <a:moveTo>
                  <a:pt x="81739" y="0"/>
                </a:moveTo>
                <a:cubicBezTo>
                  <a:pt x="63905" y="5945"/>
                  <a:pt x="46814" y="15605"/>
                  <a:pt x="33439" y="28980"/>
                </a:cubicBezTo>
                <a:cubicBezTo>
                  <a:pt x="21549" y="40127"/>
                  <a:pt x="12632" y="54245"/>
                  <a:pt x="7431" y="69850"/>
                </a:cubicBezTo>
                <a:cubicBezTo>
                  <a:pt x="2229" y="90656"/>
                  <a:pt x="0" y="111463"/>
                  <a:pt x="743" y="133012"/>
                </a:cubicBezTo>
                <a:lnTo>
                  <a:pt x="743" y="198404"/>
                </a:lnTo>
                <a:lnTo>
                  <a:pt x="91399" y="198404"/>
                </a:lnTo>
                <a:lnTo>
                  <a:pt x="92143" y="107004"/>
                </a:lnTo>
                <a:lnTo>
                  <a:pt x="47557" y="107004"/>
                </a:lnTo>
                <a:cubicBezTo>
                  <a:pt x="47557" y="91399"/>
                  <a:pt x="52016" y="76538"/>
                  <a:pt x="60190" y="63162"/>
                </a:cubicBezTo>
                <a:cubicBezTo>
                  <a:pt x="70593" y="51273"/>
                  <a:pt x="83969" y="42356"/>
                  <a:pt x="99573" y="37897"/>
                </a:cubicBezTo>
                <a:lnTo>
                  <a:pt x="81739" y="0"/>
                </a:lnTo>
                <a:close/>
                <a:moveTo>
                  <a:pt x="234072" y="0"/>
                </a:moveTo>
                <a:cubicBezTo>
                  <a:pt x="216238" y="5945"/>
                  <a:pt x="199890" y="15605"/>
                  <a:pt x="186514" y="28237"/>
                </a:cubicBezTo>
                <a:cubicBezTo>
                  <a:pt x="173882" y="40127"/>
                  <a:pt x="164965" y="54245"/>
                  <a:pt x="160506" y="69850"/>
                </a:cubicBezTo>
                <a:cubicBezTo>
                  <a:pt x="154562" y="90656"/>
                  <a:pt x="152332" y="111463"/>
                  <a:pt x="153075" y="133012"/>
                </a:cubicBezTo>
                <a:lnTo>
                  <a:pt x="153075" y="198404"/>
                </a:lnTo>
                <a:lnTo>
                  <a:pt x="245218" y="198404"/>
                </a:lnTo>
                <a:lnTo>
                  <a:pt x="244475" y="106261"/>
                </a:lnTo>
                <a:lnTo>
                  <a:pt x="200633" y="106261"/>
                </a:lnTo>
                <a:cubicBezTo>
                  <a:pt x="199890" y="91399"/>
                  <a:pt x="204348" y="75795"/>
                  <a:pt x="213265" y="63162"/>
                </a:cubicBezTo>
                <a:cubicBezTo>
                  <a:pt x="222925" y="50530"/>
                  <a:pt x="237044" y="41613"/>
                  <a:pt x="251906" y="37897"/>
                </a:cubicBezTo>
                <a:lnTo>
                  <a:pt x="234072" y="0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defTabSz="609555" fontAlgn="base"/>
            <a:endParaRPr sz="2400">
              <a:solidFill>
                <a:srgbClr val="2F446B"/>
              </a:solidFill>
              <a:latin typeface="CiscoSansTT Light" panose="020B0503020201020303" pitchFamily="34" charset="0"/>
              <a:ea typeface="ＭＳ Ｐゴシック" charset="0"/>
              <a:cs typeface="CiscoSansTT Light" panose="020B0503020201020303" pitchFamily="34" charset="0"/>
            </a:endParaRPr>
          </a:p>
        </p:txBody>
      </p:sp>
      <p:sp>
        <p:nvSpPr>
          <p:cNvPr id="36" name="Google Shape;55;p13">
            <a:extLst>
              <a:ext uri="{FF2B5EF4-FFF2-40B4-BE49-F238E27FC236}">
                <a16:creationId xmlns:a16="http://schemas.microsoft.com/office/drawing/2014/main" id="{FFD3EEC3-DA69-416F-9EE0-57C1997AC306}"/>
              </a:ext>
            </a:extLst>
          </p:cNvPr>
          <p:cNvSpPr>
            <a:spLocks noChangeAspect="1"/>
          </p:cNvSpPr>
          <p:nvPr/>
        </p:nvSpPr>
        <p:spPr>
          <a:xfrm>
            <a:off x="9456753" y="2318490"/>
            <a:ext cx="119723" cy="94295"/>
          </a:xfrm>
          <a:custGeom>
            <a:avLst/>
            <a:gdLst/>
            <a:ahLst/>
            <a:cxnLst/>
            <a:rect l="l" t="t" r="r" b="b"/>
            <a:pathLst>
              <a:path w="251906" h="198404" extrusionOk="0">
                <a:moveTo>
                  <a:pt x="81739" y="0"/>
                </a:moveTo>
                <a:cubicBezTo>
                  <a:pt x="63905" y="5945"/>
                  <a:pt x="46814" y="15605"/>
                  <a:pt x="33439" y="28980"/>
                </a:cubicBezTo>
                <a:cubicBezTo>
                  <a:pt x="21549" y="40127"/>
                  <a:pt x="12632" y="54245"/>
                  <a:pt x="7431" y="69850"/>
                </a:cubicBezTo>
                <a:cubicBezTo>
                  <a:pt x="2229" y="90656"/>
                  <a:pt x="0" y="111463"/>
                  <a:pt x="743" y="133012"/>
                </a:cubicBezTo>
                <a:lnTo>
                  <a:pt x="743" y="198404"/>
                </a:lnTo>
                <a:lnTo>
                  <a:pt x="91399" y="198404"/>
                </a:lnTo>
                <a:lnTo>
                  <a:pt x="92143" y="107004"/>
                </a:lnTo>
                <a:lnTo>
                  <a:pt x="47557" y="107004"/>
                </a:lnTo>
                <a:cubicBezTo>
                  <a:pt x="47557" y="91399"/>
                  <a:pt x="52016" y="76538"/>
                  <a:pt x="60190" y="63162"/>
                </a:cubicBezTo>
                <a:cubicBezTo>
                  <a:pt x="70593" y="51273"/>
                  <a:pt x="83969" y="42356"/>
                  <a:pt x="99573" y="37897"/>
                </a:cubicBezTo>
                <a:lnTo>
                  <a:pt x="81739" y="0"/>
                </a:lnTo>
                <a:close/>
                <a:moveTo>
                  <a:pt x="234072" y="0"/>
                </a:moveTo>
                <a:cubicBezTo>
                  <a:pt x="216238" y="5945"/>
                  <a:pt x="199890" y="15605"/>
                  <a:pt x="186514" y="28237"/>
                </a:cubicBezTo>
                <a:cubicBezTo>
                  <a:pt x="173882" y="40127"/>
                  <a:pt x="164965" y="54245"/>
                  <a:pt x="160506" y="69850"/>
                </a:cubicBezTo>
                <a:cubicBezTo>
                  <a:pt x="154562" y="90656"/>
                  <a:pt x="152332" y="111463"/>
                  <a:pt x="153075" y="133012"/>
                </a:cubicBezTo>
                <a:lnTo>
                  <a:pt x="153075" y="198404"/>
                </a:lnTo>
                <a:lnTo>
                  <a:pt x="245218" y="198404"/>
                </a:lnTo>
                <a:lnTo>
                  <a:pt x="244475" y="106261"/>
                </a:lnTo>
                <a:lnTo>
                  <a:pt x="200633" y="106261"/>
                </a:lnTo>
                <a:cubicBezTo>
                  <a:pt x="199890" y="91399"/>
                  <a:pt x="204348" y="75795"/>
                  <a:pt x="213265" y="63162"/>
                </a:cubicBezTo>
                <a:cubicBezTo>
                  <a:pt x="222925" y="50530"/>
                  <a:pt x="237044" y="41613"/>
                  <a:pt x="251906" y="37897"/>
                </a:cubicBezTo>
                <a:lnTo>
                  <a:pt x="234072" y="0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defTabSz="609555" fontAlgn="base"/>
            <a:endParaRPr sz="2400">
              <a:solidFill>
                <a:srgbClr val="2F446B"/>
              </a:solidFill>
              <a:latin typeface="CiscoSansTT Light" panose="020B0503020201020303" pitchFamily="34" charset="0"/>
              <a:ea typeface="ＭＳ Ｐゴシック" charset="0"/>
              <a:cs typeface="CiscoSansTT Light" panose="020B0503020201020303" pitchFamily="34" charset="0"/>
            </a:endParaRPr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8E0A7CEB-CF81-448D-8882-EEA53DE341AC}"/>
              </a:ext>
            </a:extLst>
          </p:cNvPr>
          <p:cNvSpPr/>
          <p:nvPr/>
        </p:nvSpPr>
        <p:spPr>
          <a:xfrm>
            <a:off x="2742561" y="3968875"/>
            <a:ext cx="2192527" cy="2085087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dist="12700" dir="16200000" rotWithShape="0">
              <a:schemeClr val="accent1"/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144000" rIns="72000" bIns="72000" rtlCol="0" anchor="t" anchorCtr="0"/>
          <a:lstStyle/>
          <a:p>
            <a:pPr algn="ctr" defTabSz="1085725" eaLnBrk="0" fontAlgn="base" hangingPunct="0">
              <a:spcBef>
                <a:spcPct val="0"/>
              </a:spcBef>
              <a:spcAft>
                <a:spcPts val="300"/>
              </a:spcAft>
              <a:defRPr/>
            </a:pPr>
            <a:r>
              <a:rPr lang="en-US" sz="1200">
                <a:solidFill>
                  <a:srgbClr val="2F446B"/>
                </a:solidFill>
                <a:latin typeface="CiscoSansTT Light" panose="020B0503020201020303" pitchFamily="34" charset="0"/>
                <a:cs typeface="CiscoSansTT Light" panose="020B0503020201020303" pitchFamily="34" charset="0"/>
              </a:rPr>
              <a:t>Business Critical Services</a:t>
            </a:r>
          </a:p>
          <a:p>
            <a:pPr algn="ctr" defTabSz="1085725" eaLnBrk="0" fontAlgn="base" hangingPunct="0">
              <a:spcBef>
                <a:spcPct val="0"/>
              </a:spcBef>
              <a:spcAft>
                <a:spcPts val="300"/>
              </a:spcAft>
              <a:defRPr/>
            </a:pPr>
            <a:r>
              <a:rPr lang="en-US" sz="1200">
                <a:solidFill>
                  <a:srgbClr val="00BCEB"/>
                </a:solidFill>
                <a:latin typeface="CiscoSansTT Light" panose="020B0503020201020303" pitchFamily="34" charset="0"/>
                <a:cs typeface="CiscoSansTT Light" panose="020B0503020201020303" pitchFamily="34" charset="0"/>
              </a:rPr>
              <a:t>Create resiliency, high performance, and de-risk IT</a:t>
            </a:r>
          </a:p>
          <a:p>
            <a:pPr algn="ctr" defTabSz="1085725" eaLnBrk="0" fontAlgn="base" hangingPunct="0">
              <a:spcBef>
                <a:spcPct val="0"/>
              </a:spcBef>
              <a:spcAft>
                <a:spcPts val="300"/>
              </a:spcAft>
              <a:defRPr/>
            </a:pPr>
            <a:endParaRPr lang="en-US" sz="1200">
              <a:solidFill>
                <a:srgbClr val="2F446B"/>
              </a:solidFill>
              <a:latin typeface="CiscoSansTT Light" panose="020B0503020201020303" pitchFamily="34" charset="0"/>
              <a:cs typeface="CiscoSansTT Light" panose="020B0503020201020303" pitchFamily="34" charset="0"/>
            </a:endParaRPr>
          </a:p>
          <a:p>
            <a:pPr algn="ctr" defTabSz="1085725" eaLnBrk="0" fontAlgn="base" hangingPunct="0">
              <a:spcBef>
                <a:spcPct val="0"/>
              </a:spcBef>
              <a:spcAft>
                <a:spcPts val="300"/>
              </a:spcAft>
              <a:defRPr/>
            </a:pPr>
            <a:r>
              <a:rPr lang="en-US" sz="1200">
                <a:solidFill>
                  <a:srgbClr val="2F446B"/>
                </a:solidFill>
                <a:latin typeface="CiscoSansTT Light" panose="020B0503020201020303" pitchFamily="34" charset="0"/>
                <a:cs typeface="CiscoSansTT Light" panose="020B0503020201020303" pitchFamily="34" charset="0"/>
              </a:rPr>
              <a:t>SNTC</a:t>
            </a:r>
          </a:p>
          <a:p>
            <a:pPr algn="ctr" defTabSz="1085725" eaLnBrk="0" fontAlgn="base" hangingPunct="0">
              <a:spcBef>
                <a:spcPct val="0"/>
              </a:spcBef>
              <a:spcAft>
                <a:spcPts val="300"/>
              </a:spcAft>
              <a:defRPr/>
            </a:pPr>
            <a:r>
              <a:rPr lang="en-US" sz="1200">
                <a:solidFill>
                  <a:srgbClr val="00BCEB"/>
                </a:solidFill>
                <a:latin typeface="CiscoSansTT Light" panose="020B0503020201020303" pitchFamily="34" charset="0"/>
                <a:cs typeface="CiscoSansTT Light" panose="020B0503020201020303" pitchFamily="34" charset="0"/>
              </a:rPr>
              <a:t>Fix hardware fast</a:t>
            </a:r>
          </a:p>
          <a:p>
            <a:pPr algn="ctr" defTabSz="1085725" eaLnBrk="0" fontAlgn="base" hangingPunct="0">
              <a:spcBef>
                <a:spcPct val="0"/>
              </a:spcBef>
              <a:spcAft>
                <a:spcPts val="300"/>
              </a:spcAft>
              <a:defRPr/>
            </a:pPr>
            <a:endParaRPr lang="en-US" sz="1200">
              <a:solidFill>
                <a:srgbClr val="2F446B"/>
              </a:solidFill>
              <a:latin typeface="CiscoSansTT Light" panose="020B0503020201020303" pitchFamily="34" charset="0"/>
              <a:cs typeface="CiscoSansTT Light" panose="020B0503020201020303" pitchFamily="34" charset="0"/>
            </a:endParaRPr>
          </a:p>
          <a:p>
            <a:pPr algn="ctr" defTabSz="1085725" eaLnBrk="0" fontAlgn="base" hangingPunct="0">
              <a:spcBef>
                <a:spcPct val="0"/>
              </a:spcBef>
              <a:spcAft>
                <a:spcPts val="300"/>
              </a:spcAft>
              <a:defRPr/>
            </a:pPr>
            <a:r>
              <a:rPr lang="en-US" sz="1200">
                <a:solidFill>
                  <a:srgbClr val="2F446B"/>
                </a:solidFill>
                <a:latin typeface="CiscoSansTT Light" panose="020B0503020201020303" pitchFamily="34" charset="0"/>
                <a:cs typeface="CiscoSansTT Light" panose="020B0503020201020303" pitchFamily="34" charset="0"/>
              </a:rPr>
              <a:t>Cisco Certifications</a:t>
            </a:r>
          </a:p>
          <a:p>
            <a:pPr algn="ctr" defTabSz="1085725" eaLnBrk="0" fontAlgn="base" hangingPunct="0">
              <a:spcBef>
                <a:spcPct val="0"/>
              </a:spcBef>
              <a:spcAft>
                <a:spcPts val="300"/>
              </a:spcAft>
              <a:defRPr/>
            </a:pPr>
            <a:r>
              <a:rPr lang="en-US" sz="1200">
                <a:solidFill>
                  <a:srgbClr val="00BCEB"/>
                </a:solidFill>
                <a:latin typeface="CiscoSansTT Light" panose="020B0503020201020303" pitchFamily="34" charset="0"/>
                <a:cs typeface="CiscoSansTT Light" panose="020B0503020201020303" pitchFamily="34" charset="0"/>
              </a:rPr>
              <a:t>increase staff competency</a:t>
            </a:r>
          </a:p>
          <a:p>
            <a:pPr algn="ctr" defTabSz="1085725" eaLnBrk="0" fontAlgn="base" hangingPunct="0">
              <a:spcBef>
                <a:spcPct val="0"/>
              </a:spcBef>
              <a:spcAft>
                <a:spcPts val="1200"/>
              </a:spcAft>
              <a:defRPr/>
            </a:pPr>
            <a:endParaRPr lang="en-US" sz="1200">
              <a:solidFill>
                <a:srgbClr val="00BCEB"/>
              </a:solidFill>
              <a:latin typeface="CiscoSansTT Light" panose="020B0503020201020303" pitchFamily="34" charset="0"/>
              <a:cs typeface="CiscoSansTT Light" panose="020B0503020201020303" pitchFamily="34" charset="0"/>
            </a:endParaRPr>
          </a:p>
        </p:txBody>
      </p:sp>
      <p:sp>
        <p:nvSpPr>
          <p:cNvPr id="24" name="Google Shape;55;p13">
            <a:extLst>
              <a:ext uri="{FF2B5EF4-FFF2-40B4-BE49-F238E27FC236}">
                <a16:creationId xmlns:a16="http://schemas.microsoft.com/office/drawing/2014/main" id="{63FACE84-336F-754A-BD3F-8D2889807CD4}"/>
              </a:ext>
            </a:extLst>
          </p:cNvPr>
          <p:cNvSpPr>
            <a:spLocks noChangeAspect="1"/>
          </p:cNvSpPr>
          <p:nvPr/>
        </p:nvSpPr>
        <p:spPr>
          <a:xfrm rot="10525136">
            <a:off x="4424677" y="3494375"/>
            <a:ext cx="119723" cy="94295"/>
          </a:xfrm>
          <a:custGeom>
            <a:avLst/>
            <a:gdLst/>
            <a:ahLst/>
            <a:cxnLst/>
            <a:rect l="l" t="t" r="r" b="b"/>
            <a:pathLst>
              <a:path w="251906" h="198404" extrusionOk="0">
                <a:moveTo>
                  <a:pt x="81739" y="0"/>
                </a:moveTo>
                <a:cubicBezTo>
                  <a:pt x="63905" y="5945"/>
                  <a:pt x="46814" y="15605"/>
                  <a:pt x="33439" y="28980"/>
                </a:cubicBezTo>
                <a:cubicBezTo>
                  <a:pt x="21549" y="40127"/>
                  <a:pt x="12632" y="54245"/>
                  <a:pt x="7431" y="69850"/>
                </a:cubicBezTo>
                <a:cubicBezTo>
                  <a:pt x="2229" y="90656"/>
                  <a:pt x="0" y="111463"/>
                  <a:pt x="743" y="133012"/>
                </a:cubicBezTo>
                <a:lnTo>
                  <a:pt x="743" y="198404"/>
                </a:lnTo>
                <a:lnTo>
                  <a:pt x="91399" y="198404"/>
                </a:lnTo>
                <a:lnTo>
                  <a:pt x="92143" y="107004"/>
                </a:lnTo>
                <a:lnTo>
                  <a:pt x="47557" y="107004"/>
                </a:lnTo>
                <a:cubicBezTo>
                  <a:pt x="47557" y="91399"/>
                  <a:pt x="52016" y="76538"/>
                  <a:pt x="60190" y="63162"/>
                </a:cubicBezTo>
                <a:cubicBezTo>
                  <a:pt x="70593" y="51273"/>
                  <a:pt x="83969" y="42356"/>
                  <a:pt x="99573" y="37897"/>
                </a:cubicBezTo>
                <a:lnTo>
                  <a:pt x="81739" y="0"/>
                </a:lnTo>
                <a:close/>
                <a:moveTo>
                  <a:pt x="234072" y="0"/>
                </a:moveTo>
                <a:cubicBezTo>
                  <a:pt x="216238" y="5945"/>
                  <a:pt x="199890" y="15605"/>
                  <a:pt x="186514" y="28237"/>
                </a:cubicBezTo>
                <a:cubicBezTo>
                  <a:pt x="173882" y="40127"/>
                  <a:pt x="164965" y="54245"/>
                  <a:pt x="160506" y="69850"/>
                </a:cubicBezTo>
                <a:cubicBezTo>
                  <a:pt x="154562" y="90656"/>
                  <a:pt x="152332" y="111463"/>
                  <a:pt x="153075" y="133012"/>
                </a:cubicBezTo>
                <a:lnTo>
                  <a:pt x="153075" y="198404"/>
                </a:lnTo>
                <a:lnTo>
                  <a:pt x="245218" y="198404"/>
                </a:lnTo>
                <a:lnTo>
                  <a:pt x="244475" y="106261"/>
                </a:lnTo>
                <a:lnTo>
                  <a:pt x="200633" y="106261"/>
                </a:lnTo>
                <a:cubicBezTo>
                  <a:pt x="199890" y="91399"/>
                  <a:pt x="204348" y="75795"/>
                  <a:pt x="213265" y="63162"/>
                </a:cubicBezTo>
                <a:cubicBezTo>
                  <a:pt x="222925" y="50530"/>
                  <a:pt x="237044" y="41613"/>
                  <a:pt x="251906" y="37897"/>
                </a:cubicBezTo>
                <a:lnTo>
                  <a:pt x="234072" y="0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defTabSz="609555" fontAlgn="base"/>
            <a:endParaRPr sz="2400">
              <a:solidFill>
                <a:srgbClr val="2F446B"/>
              </a:solidFill>
              <a:latin typeface="CiscoSansTT Light" panose="020B0503020201020303" pitchFamily="34" charset="0"/>
              <a:ea typeface="ＭＳ Ｐゴシック" charset="0"/>
              <a:cs typeface="CiscoSansTT Light" panose="020B0503020201020303" pitchFamily="34" charset="0"/>
            </a:endParaRPr>
          </a:p>
        </p:txBody>
      </p:sp>
      <p:sp>
        <p:nvSpPr>
          <p:cNvPr id="26" name="Google Shape;55;p13">
            <a:extLst>
              <a:ext uri="{FF2B5EF4-FFF2-40B4-BE49-F238E27FC236}">
                <a16:creationId xmlns:a16="http://schemas.microsoft.com/office/drawing/2014/main" id="{1FDEE843-25C4-B149-A38A-A6A941CC9989}"/>
              </a:ext>
            </a:extLst>
          </p:cNvPr>
          <p:cNvSpPr>
            <a:spLocks noChangeAspect="1"/>
          </p:cNvSpPr>
          <p:nvPr/>
        </p:nvSpPr>
        <p:spPr>
          <a:xfrm rot="10525136">
            <a:off x="6752689" y="3548190"/>
            <a:ext cx="119723" cy="94295"/>
          </a:xfrm>
          <a:custGeom>
            <a:avLst/>
            <a:gdLst/>
            <a:ahLst/>
            <a:cxnLst/>
            <a:rect l="l" t="t" r="r" b="b"/>
            <a:pathLst>
              <a:path w="251906" h="198404" extrusionOk="0">
                <a:moveTo>
                  <a:pt x="81739" y="0"/>
                </a:moveTo>
                <a:cubicBezTo>
                  <a:pt x="63905" y="5945"/>
                  <a:pt x="46814" y="15605"/>
                  <a:pt x="33439" y="28980"/>
                </a:cubicBezTo>
                <a:cubicBezTo>
                  <a:pt x="21549" y="40127"/>
                  <a:pt x="12632" y="54245"/>
                  <a:pt x="7431" y="69850"/>
                </a:cubicBezTo>
                <a:cubicBezTo>
                  <a:pt x="2229" y="90656"/>
                  <a:pt x="0" y="111463"/>
                  <a:pt x="743" y="133012"/>
                </a:cubicBezTo>
                <a:lnTo>
                  <a:pt x="743" y="198404"/>
                </a:lnTo>
                <a:lnTo>
                  <a:pt x="91399" y="198404"/>
                </a:lnTo>
                <a:lnTo>
                  <a:pt x="92143" y="107004"/>
                </a:lnTo>
                <a:lnTo>
                  <a:pt x="47557" y="107004"/>
                </a:lnTo>
                <a:cubicBezTo>
                  <a:pt x="47557" y="91399"/>
                  <a:pt x="52016" y="76538"/>
                  <a:pt x="60190" y="63162"/>
                </a:cubicBezTo>
                <a:cubicBezTo>
                  <a:pt x="70593" y="51273"/>
                  <a:pt x="83969" y="42356"/>
                  <a:pt x="99573" y="37897"/>
                </a:cubicBezTo>
                <a:lnTo>
                  <a:pt x="81739" y="0"/>
                </a:lnTo>
                <a:close/>
                <a:moveTo>
                  <a:pt x="234072" y="0"/>
                </a:moveTo>
                <a:cubicBezTo>
                  <a:pt x="216238" y="5945"/>
                  <a:pt x="199890" y="15605"/>
                  <a:pt x="186514" y="28237"/>
                </a:cubicBezTo>
                <a:cubicBezTo>
                  <a:pt x="173882" y="40127"/>
                  <a:pt x="164965" y="54245"/>
                  <a:pt x="160506" y="69850"/>
                </a:cubicBezTo>
                <a:cubicBezTo>
                  <a:pt x="154562" y="90656"/>
                  <a:pt x="152332" y="111463"/>
                  <a:pt x="153075" y="133012"/>
                </a:cubicBezTo>
                <a:lnTo>
                  <a:pt x="153075" y="198404"/>
                </a:lnTo>
                <a:lnTo>
                  <a:pt x="245218" y="198404"/>
                </a:lnTo>
                <a:lnTo>
                  <a:pt x="244475" y="106261"/>
                </a:lnTo>
                <a:lnTo>
                  <a:pt x="200633" y="106261"/>
                </a:lnTo>
                <a:cubicBezTo>
                  <a:pt x="199890" y="91399"/>
                  <a:pt x="204348" y="75795"/>
                  <a:pt x="213265" y="63162"/>
                </a:cubicBezTo>
                <a:cubicBezTo>
                  <a:pt x="222925" y="50530"/>
                  <a:pt x="237044" y="41613"/>
                  <a:pt x="251906" y="37897"/>
                </a:cubicBezTo>
                <a:lnTo>
                  <a:pt x="234072" y="0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defTabSz="609555" fontAlgn="base"/>
            <a:endParaRPr sz="2400">
              <a:solidFill>
                <a:srgbClr val="2F446B"/>
              </a:solidFill>
              <a:latin typeface="CiscoSansTT Light" panose="020B0503020201020303" pitchFamily="34" charset="0"/>
              <a:ea typeface="ＭＳ Ｐゴシック" charset="0"/>
              <a:cs typeface="CiscoSansTT Light" panose="020B0503020201020303" pitchFamily="34" charset="0"/>
            </a:endParaRPr>
          </a:p>
        </p:txBody>
      </p:sp>
      <p:sp>
        <p:nvSpPr>
          <p:cNvPr id="27" name="Google Shape;55;p13">
            <a:extLst>
              <a:ext uri="{FF2B5EF4-FFF2-40B4-BE49-F238E27FC236}">
                <a16:creationId xmlns:a16="http://schemas.microsoft.com/office/drawing/2014/main" id="{EA21E76E-C8B8-3C4A-A82A-CD3967168E2E}"/>
              </a:ext>
            </a:extLst>
          </p:cNvPr>
          <p:cNvSpPr>
            <a:spLocks noChangeAspect="1"/>
          </p:cNvSpPr>
          <p:nvPr/>
        </p:nvSpPr>
        <p:spPr>
          <a:xfrm rot="10525136">
            <a:off x="9051096" y="3650045"/>
            <a:ext cx="119723" cy="94295"/>
          </a:xfrm>
          <a:custGeom>
            <a:avLst/>
            <a:gdLst/>
            <a:ahLst/>
            <a:cxnLst/>
            <a:rect l="l" t="t" r="r" b="b"/>
            <a:pathLst>
              <a:path w="251906" h="198404" extrusionOk="0">
                <a:moveTo>
                  <a:pt x="81739" y="0"/>
                </a:moveTo>
                <a:cubicBezTo>
                  <a:pt x="63905" y="5945"/>
                  <a:pt x="46814" y="15605"/>
                  <a:pt x="33439" y="28980"/>
                </a:cubicBezTo>
                <a:cubicBezTo>
                  <a:pt x="21549" y="40127"/>
                  <a:pt x="12632" y="54245"/>
                  <a:pt x="7431" y="69850"/>
                </a:cubicBezTo>
                <a:cubicBezTo>
                  <a:pt x="2229" y="90656"/>
                  <a:pt x="0" y="111463"/>
                  <a:pt x="743" y="133012"/>
                </a:cubicBezTo>
                <a:lnTo>
                  <a:pt x="743" y="198404"/>
                </a:lnTo>
                <a:lnTo>
                  <a:pt x="91399" y="198404"/>
                </a:lnTo>
                <a:lnTo>
                  <a:pt x="92143" y="107004"/>
                </a:lnTo>
                <a:lnTo>
                  <a:pt x="47557" y="107004"/>
                </a:lnTo>
                <a:cubicBezTo>
                  <a:pt x="47557" y="91399"/>
                  <a:pt x="52016" y="76538"/>
                  <a:pt x="60190" y="63162"/>
                </a:cubicBezTo>
                <a:cubicBezTo>
                  <a:pt x="70593" y="51273"/>
                  <a:pt x="83969" y="42356"/>
                  <a:pt x="99573" y="37897"/>
                </a:cubicBezTo>
                <a:lnTo>
                  <a:pt x="81739" y="0"/>
                </a:lnTo>
                <a:close/>
                <a:moveTo>
                  <a:pt x="234072" y="0"/>
                </a:moveTo>
                <a:cubicBezTo>
                  <a:pt x="216238" y="5945"/>
                  <a:pt x="199890" y="15605"/>
                  <a:pt x="186514" y="28237"/>
                </a:cubicBezTo>
                <a:cubicBezTo>
                  <a:pt x="173882" y="40127"/>
                  <a:pt x="164965" y="54245"/>
                  <a:pt x="160506" y="69850"/>
                </a:cubicBezTo>
                <a:cubicBezTo>
                  <a:pt x="154562" y="90656"/>
                  <a:pt x="152332" y="111463"/>
                  <a:pt x="153075" y="133012"/>
                </a:cubicBezTo>
                <a:lnTo>
                  <a:pt x="153075" y="198404"/>
                </a:lnTo>
                <a:lnTo>
                  <a:pt x="245218" y="198404"/>
                </a:lnTo>
                <a:lnTo>
                  <a:pt x="244475" y="106261"/>
                </a:lnTo>
                <a:lnTo>
                  <a:pt x="200633" y="106261"/>
                </a:lnTo>
                <a:cubicBezTo>
                  <a:pt x="199890" y="91399"/>
                  <a:pt x="204348" y="75795"/>
                  <a:pt x="213265" y="63162"/>
                </a:cubicBezTo>
                <a:cubicBezTo>
                  <a:pt x="222925" y="50530"/>
                  <a:pt x="237044" y="41613"/>
                  <a:pt x="251906" y="37897"/>
                </a:cubicBezTo>
                <a:lnTo>
                  <a:pt x="234072" y="0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defTabSz="609555" fontAlgn="base"/>
            <a:endParaRPr sz="2400">
              <a:solidFill>
                <a:srgbClr val="2F446B"/>
              </a:solidFill>
              <a:latin typeface="CiscoSansTT Light" panose="020B0503020201020303" pitchFamily="34" charset="0"/>
              <a:ea typeface="ＭＳ Ｐゴシック" charset="0"/>
              <a:cs typeface="CiscoSansTT Light" panose="020B0503020201020303" pitchFamily="34" charset="0"/>
            </a:endParaRPr>
          </a:p>
        </p:txBody>
      </p:sp>
      <p:sp>
        <p:nvSpPr>
          <p:cNvPr id="29" name="Google Shape;55;p13">
            <a:extLst>
              <a:ext uri="{FF2B5EF4-FFF2-40B4-BE49-F238E27FC236}">
                <a16:creationId xmlns:a16="http://schemas.microsoft.com/office/drawing/2014/main" id="{9E86E663-BAE4-9749-85D1-F7B96CDCEA4E}"/>
              </a:ext>
            </a:extLst>
          </p:cNvPr>
          <p:cNvSpPr>
            <a:spLocks noChangeAspect="1"/>
          </p:cNvSpPr>
          <p:nvPr/>
        </p:nvSpPr>
        <p:spPr>
          <a:xfrm rot="10525136">
            <a:off x="11068756" y="3723578"/>
            <a:ext cx="119723" cy="94295"/>
          </a:xfrm>
          <a:custGeom>
            <a:avLst/>
            <a:gdLst/>
            <a:ahLst/>
            <a:cxnLst/>
            <a:rect l="l" t="t" r="r" b="b"/>
            <a:pathLst>
              <a:path w="251906" h="198404" extrusionOk="0">
                <a:moveTo>
                  <a:pt x="81739" y="0"/>
                </a:moveTo>
                <a:cubicBezTo>
                  <a:pt x="63905" y="5945"/>
                  <a:pt x="46814" y="15605"/>
                  <a:pt x="33439" y="28980"/>
                </a:cubicBezTo>
                <a:cubicBezTo>
                  <a:pt x="21549" y="40127"/>
                  <a:pt x="12632" y="54245"/>
                  <a:pt x="7431" y="69850"/>
                </a:cubicBezTo>
                <a:cubicBezTo>
                  <a:pt x="2229" y="90656"/>
                  <a:pt x="0" y="111463"/>
                  <a:pt x="743" y="133012"/>
                </a:cubicBezTo>
                <a:lnTo>
                  <a:pt x="743" y="198404"/>
                </a:lnTo>
                <a:lnTo>
                  <a:pt x="91399" y="198404"/>
                </a:lnTo>
                <a:lnTo>
                  <a:pt x="92143" y="107004"/>
                </a:lnTo>
                <a:lnTo>
                  <a:pt x="47557" y="107004"/>
                </a:lnTo>
                <a:cubicBezTo>
                  <a:pt x="47557" y="91399"/>
                  <a:pt x="52016" y="76538"/>
                  <a:pt x="60190" y="63162"/>
                </a:cubicBezTo>
                <a:cubicBezTo>
                  <a:pt x="70593" y="51273"/>
                  <a:pt x="83969" y="42356"/>
                  <a:pt x="99573" y="37897"/>
                </a:cubicBezTo>
                <a:lnTo>
                  <a:pt x="81739" y="0"/>
                </a:lnTo>
                <a:close/>
                <a:moveTo>
                  <a:pt x="234072" y="0"/>
                </a:moveTo>
                <a:cubicBezTo>
                  <a:pt x="216238" y="5945"/>
                  <a:pt x="199890" y="15605"/>
                  <a:pt x="186514" y="28237"/>
                </a:cubicBezTo>
                <a:cubicBezTo>
                  <a:pt x="173882" y="40127"/>
                  <a:pt x="164965" y="54245"/>
                  <a:pt x="160506" y="69850"/>
                </a:cubicBezTo>
                <a:cubicBezTo>
                  <a:pt x="154562" y="90656"/>
                  <a:pt x="152332" y="111463"/>
                  <a:pt x="153075" y="133012"/>
                </a:cubicBezTo>
                <a:lnTo>
                  <a:pt x="153075" y="198404"/>
                </a:lnTo>
                <a:lnTo>
                  <a:pt x="245218" y="198404"/>
                </a:lnTo>
                <a:lnTo>
                  <a:pt x="244475" y="106261"/>
                </a:lnTo>
                <a:lnTo>
                  <a:pt x="200633" y="106261"/>
                </a:lnTo>
                <a:cubicBezTo>
                  <a:pt x="199890" y="91399"/>
                  <a:pt x="204348" y="75795"/>
                  <a:pt x="213265" y="63162"/>
                </a:cubicBezTo>
                <a:cubicBezTo>
                  <a:pt x="222925" y="50530"/>
                  <a:pt x="237044" y="41613"/>
                  <a:pt x="251906" y="37897"/>
                </a:cubicBezTo>
                <a:lnTo>
                  <a:pt x="234072" y="0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defTabSz="609555" fontAlgn="base"/>
            <a:endParaRPr sz="2400">
              <a:solidFill>
                <a:srgbClr val="2F446B"/>
              </a:solidFill>
              <a:latin typeface="CiscoSansTT Light" panose="020B0503020201020303" pitchFamily="34" charset="0"/>
              <a:ea typeface="ＭＳ Ｐゴシック" charset="0"/>
              <a:cs typeface="CiscoSansTT Light" panose="020B0503020201020303" pitchFamily="34" charset="0"/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97B95A84-E047-6F46-A854-B9C935E18478}"/>
              </a:ext>
            </a:extLst>
          </p:cNvPr>
          <p:cNvSpPr/>
          <p:nvPr/>
        </p:nvSpPr>
        <p:spPr>
          <a:xfrm>
            <a:off x="5052542" y="3952433"/>
            <a:ext cx="2145444" cy="2085087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dist="12700" dir="16200000" rotWithShape="0">
              <a:schemeClr val="accent1"/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144000" rIns="72000" bIns="72000" rtlCol="0" anchor="t" anchorCtr="0"/>
          <a:lstStyle/>
          <a:p>
            <a:pPr algn="ctr" defTabSz="1085725" eaLnBrk="0" fontAlgn="base" hangingPunct="0">
              <a:spcBef>
                <a:spcPct val="0"/>
              </a:spcBef>
              <a:spcAft>
                <a:spcPts val="300"/>
              </a:spcAft>
              <a:defRPr/>
            </a:pPr>
            <a:r>
              <a:rPr lang="en-US" sz="1200">
                <a:solidFill>
                  <a:srgbClr val="2F446B"/>
                </a:solidFill>
                <a:latin typeface="CiscoSansTT Light" panose="020B0503020201020303" pitchFamily="34" charset="0"/>
                <a:cs typeface="CiscoSansTT Light" panose="020B0503020201020303" pitchFamily="34" charset="0"/>
              </a:rPr>
              <a:t>Software Support</a:t>
            </a:r>
          </a:p>
          <a:p>
            <a:pPr algn="ctr" defTabSz="1085725" eaLnBrk="0" fontAlgn="base" hangingPunct="0">
              <a:spcBef>
                <a:spcPct val="0"/>
              </a:spcBef>
              <a:spcAft>
                <a:spcPts val="300"/>
              </a:spcAft>
              <a:defRPr/>
            </a:pPr>
            <a:r>
              <a:rPr lang="en-US" sz="1200">
                <a:solidFill>
                  <a:srgbClr val="00BCEB"/>
                </a:solidFill>
                <a:latin typeface="CiscoSansTT Light" panose="020B0503020201020303" pitchFamily="34" charset="0"/>
                <a:cs typeface="CiscoSansTT Light" panose="020B0503020201020303" pitchFamily="34" charset="0"/>
              </a:rPr>
              <a:t>Fix software fast, end-user helpdesk  - user analytics</a:t>
            </a:r>
            <a:endParaRPr lang="en-US" sz="1200">
              <a:solidFill>
                <a:srgbClr val="2F446B"/>
              </a:solidFill>
              <a:latin typeface="CiscoSansTT Light" panose="020B0503020201020303" pitchFamily="34" charset="0"/>
              <a:cs typeface="CiscoSansTT Light" panose="020B0503020201020303" pitchFamily="34" charset="0"/>
            </a:endParaRPr>
          </a:p>
          <a:p>
            <a:pPr algn="ctr" defTabSz="1085725" eaLnBrk="0" fontAlgn="base" hangingPunct="0">
              <a:spcBef>
                <a:spcPct val="0"/>
              </a:spcBef>
              <a:spcAft>
                <a:spcPts val="300"/>
              </a:spcAft>
              <a:defRPr/>
            </a:pPr>
            <a:endParaRPr lang="en-US" sz="1200">
              <a:solidFill>
                <a:srgbClr val="2F446B"/>
              </a:solidFill>
              <a:latin typeface="CiscoSansTT Light" panose="020B0503020201020303" pitchFamily="34" charset="0"/>
              <a:cs typeface="CiscoSansTT Light" panose="020B0503020201020303" pitchFamily="34" charset="0"/>
            </a:endParaRPr>
          </a:p>
          <a:p>
            <a:pPr algn="ctr" defTabSz="1085725" eaLnBrk="0" fontAlgn="base" hangingPunct="0">
              <a:spcBef>
                <a:spcPct val="0"/>
              </a:spcBef>
              <a:spcAft>
                <a:spcPts val="300"/>
              </a:spcAft>
              <a:defRPr/>
            </a:pPr>
            <a:r>
              <a:rPr lang="en-US" sz="1200">
                <a:solidFill>
                  <a:srgbClr val="2F446B"/>
                </a:solidFill>
                <a:latin typeface="CiscoSansTT Light" panose="020B0503020201020303" pitchFamily="34" charset="0"/>
                <a:cs typeface="CiscoSansTT Light" panose="020B0503020201020303" pitchFamily="34" charset="0"/>
              </a:rPr>
              <a:t>SNTC</a:t>
            </a:r>
          </a:p>
          <a:p>
            <a:pPr algn="ctr" defTabSz="1085725" eaLnBrk="0" fontAlgn="base" hangingPunct="0">
              <a:spcBef>
                <a:spcPct val="0"/>
              </a:spcBef>
              <a:spcAft>
                <a:spcPts val="300"/>
              </a:spcAft>
              <a:defRPr/>
            </a:pPr>
            <a:r>
              <a:rPr lang="en-US" sz="1200">
                <a:solidFill>
                  <a:srgbClr val="00BCEB"/>
                </a:solidFill>
                <a:latin typeface="CiscoSansTT Light" panose="020B0503020201020303" pitchFamily="34" charset="0"/>
                <a:cs typeface="CiscoSansTT Light" panose="020B0503020201020303" pitchFamily="34" charset="0"/>
              </a:rPr>
              <a:t>Fix hardware fast</a:t>
            </a:r>
          </a:p>
          <a:p>
            <a:pPr algn="ctr" defTabSz="1085725" eaLnBrk="0" fontAlgn="base" hangingPunct="0">
              <a:spcBef>
                <a:spcPct val="0"/>
              </a:spcBef>
              <a:spcAft>
                <a:spcPts val="300"/>
              </a:spcAft>
              <a:defRPr/>
            </a:pPr>
            <a:endParaRPr lang="en-US" sz="1200">
              <a:solidFill>
                <a:srgbClr val="2F446B"/>
              </a:solidFill>
              <a:latin typeface="CiscoSansTT Light" panose="020B0503020201020303" pitchFamily="34" charset="0"/>
              <a:cs typeface="CiscoSansTT Light" panose="020B0503020201020303" pitchFamily="34" charset="0"/>
            </a:endParaRPr>
          </a:p>
          <a:p>
            <a:pPr algn="ctr" defTabSz="1085725" eaLnBrk="0" fontAlgn="base" hangingPunct="0">
              <a:spcBef>
                <a:spcPct val="0"/>
              </a:spcBef>
              <a:spcAft>
                <a:spcPts val="300"/>
              </a:spcAft>
              <a:defRPr/>
            </a:pPr>
            <a:r>
              <a:rPr lang="en-US" sz="1200">
                <a:solidFill>
                  <a:srgbClr val="2F446B"/>
                </a:solidFill>
                <a:latin typeface="CiscoSansTT Light" panose="020B0503020201020303" pitchFamily="34" charset="0"/>
                <a:cs typeface="CiscoSansTT Light" panose="020B0503020201020303" pitchFamily="34" charset="0"/>
              </a:rPr>
              <a:t>Cisco Learning</a:t>
            </a:r>
          </a:p>
          <a:p>
            <a:pPr algn="ctr" defTabSz="1085725" eaLnBrk="0" fontAlgn="base" hangingPunct="0">
              <a:spcBef>
                <a:spcPct val="0"/>
              </a:spcBef>
              <a:spcAft>
                <a:spcPts val="300"/>
              </a:spcAft>
              <a:defRPr/>
            </a:pPr>
            <a:r>
              <a:rPr lang="en-US" sz="1200">
                <a:solidFill>
                  <a:srgbClr val="00BCEB"/>
                </a:solidFill>
                <a:latin typeface="CiscoSansTT Light" panose="020B0503020201020303" pitchFamily="34" charset="0"/>
                <a:cs typeface="CiscoSansTT Light" panose="020B0503020201020303" pitchFamily="34" charset="0"/>
              </a:rPr>
              <a:t>Train end-users</a:t>
            </a:r>
          </a:p>
          <a:p>
            <a:pPr algn="ctr" defTabSz="1085725" eaLnBrk="0" fontAlgn="base" hangingPunct="0">
              <a:spcBef>
                <a:spcPct val="0"/>
              </a:spcBef>
              <a:spcAft>
                <a:spcPts val="1200"/>
              </a:spcAft>
              <a:defRPr/>
            </a:pPr>
            <a:endParaRPr lang="en-US" sz="1200">
              <a:solidFill>
                <a:srgbClr val="00BCEB"/>
              </a:solidFill>
              <a:latin typeface="CiscoSansTT Light" panose="020B0503020201020303" pitchFamily="34" charset="0"/>
              <a:cs typeface="CiscoSansTT Light" panose="020B0503020201020303" pitchFamily="34" charset="0"/>
            </a:endParaRP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7495D21E-CFA2-184F-83C8-A3AAB99FE3BC}"/>
              </a:ext>
            </a:extLst>
          </p:cNvPr>
          <p:cNvSpPr/>
          <p:nvPr/>
        </p:nvSpPr>
        <p:spPr>
          <a:xfrm>
            <a:off x="7306949" y="3943861"/>
            <a:ext cx="2052000" cy="2801187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dist="12700" dir="16200000" rotWithShape="0">
              <a:schemeClr val="accent1"/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144000" rIns="72000" bIns="72000" rtlCol="0" anchor="t" anchorCtr="0"/>
          <a:lstStyle/>
          <a:p>
            <a:pPr algn="ctr" defTabSz="1085725" eaLnBrk="0" fontAlgn="base" hangingPunct="0">
              <a:spcBef>
                <a:spcPct val="0"/>
              </a:spcBef>
              <a:spcAft>
                <a:spcPts val="300"/>
              </a:spcAft>
              <a:defRPr/>
            </a:pPr>
            <a:r>
              <a:rPr lang="en-US" sz="1200">
                <a:solidFill>
                  <a:srgbClr val="2F446B"/>
                </a:solidFill>
                <a:latin typeface="CiscoSansTT Light" panose="020B0503020201020303" pitchFamily="34" charset="0"/>
                <a:cs typeface="CiscoSansTT Light" panose="020B0503020201020303" pitchFamily="34" charset="0"/>
              </a:rPr>
              <a:t>Business Critical Services</a:t>
            </a:r>
          </a:p>
          <a:p>
            <a:pPr algn="ctr" defTabSz="1085725" eaLnBrk="0" fontAlgn="base" hangingPunct="0">
              <a:spcBef>
                <a:spcPct val="0"/>
              </a:spcBef>
              <a:spcAft>
                <a:spcPts val="300"/>
              </a:spcAft>
              <a:defRPr/>
            </a:pPr>
            <a:r>
              <a:rPr lang="en-US" sz="1200">
                <a:solidFill>
                  <a:srgbClr val="00BCEB"/>
                </a:solidFill>
                <a:latin typeface="CiscoSansTT Light" panose="020B0503020201020303" pitchFamily="34" charset="0"/>
                <a:cs typeface="CiscoSansTT Light" panose="020B0503020201020303" pitchFamily="34" charset="0"/>
              </a:rPr>
              <a:t>Architect right strategy, design, and test plan </a:t>
            </a:r>
          </a:p>
          <a:p>
            <a:pPr algn="ctr" defTabSz="1085725" eaLnBrk="0" fontAlgn="base" hangingPunct="0">
              <a:spcBef>
                <a:spcPct val="0"/>
              </a:spcBef>
              <a:spcAft>
                <a:spcPts val="300"/>
              </a:spcAft>
              <a:defRPr/>
            </a:pPr>
            <a:endParaRPr lang="en-US" sz="1200">
              <a:solidFill>
                <a:srgbClr val="2F446B"/>
              </a:solidFill>
              <a:latin typeface="CiscoSansTT Light" panose="020B0503020201020303" pitchFamily="34" charset="0"/>
              <a:cs typeface="CiscoSansTT Light" panose="020B0503020201020303" pitchFamily="34" charset="0"/>
            </a:endParaRPr>
          </a:p>
          <a:p>
            <a:pPr algn="ctr" defTabSz="1085725" eaLnBrk="0" fontAlgn="base" hangingPunct="0">
              <a:spcBef>
                <a:spcPct val="0"/>
              </a:spcBef>
              <a:spcAft>
                <a:spcPts val="300"/>
              </a:spcAft>
              <a:defRPr/>
            </a:pPr>
            <a:r>
              <a:rPr lang="en-US" sz="1200">
                <a:solidFill>
                  <a:srgbClr val="2F446B"/>
                </a:solidFill>
                <a:latin typeface="CiscoSansTT Light" panose="020B0503020201020303" pitchFamily="34" charset="0"/>
                <a:cs typeface="CiscoSansTT Light" panose="020B0503020201020303" pitchFamily="34" charset="0"/>
              </a:rPr>
              <a:t>MDR Managed Services</a:t>
            </a:r>
          </a:p>
          <a:p>
            <a:pPr algn="ctr" defTabSz="1085725" eaLnBrk="0" fontAlgn="base" hangingPunct="0">
              <a:spcBef>
                <a:spcPct val="0"/>
              </a:spcBef>
              <a:spcAft>
                <a:spcPts val="300"/>
              </a:spcAft>
              <a:defRPr/>
            </a:pPr>
            <a:r>
              <a:rPr lang="en-US" sz="1200">
                <a:solidFill>
                  <a:srgbClr val="00BCEB"/>
                </a:solidFill>
                <a:latin typeface="CiscoSansTT Light" panose="020B0503020201020303" pitchFamily="34" charset="0"/>
                <a:cs typeface="CiscoSansTT Light" panose="020B0503020201020303" pitchFamily="34" charset="0"/>
              </a:rPr>
              <a:t>Reduce time to detect and contain threats</a:t>
            </a:r>
            <a:endParaRPr lang="en-US" sz="1200">
              <a:solidFill>
                <a:srgbClr val="2F446B"/>
              </a:solidFill>
              <a:latin typeface="CiscoSansTT Light" panose="020B0503020201020303" pitchFamily="34" charset="0"/>
              <a:cs typeface="CiscoSansTT Light" panose="020B0503020201020303" pitchFamily="34" charset="0"/>
            </a:endParaRPr>
          </a:p>
          <a:p>
            <a:pPr algn="ctr" defTabSz="1085725" eaLnBrk="0" fontAlgn="base" hangingPunct="0">
              <a:spcBef>
                <a:spcPct val="0"/>
              </a:spcBef>
              <a:spcAft>
                <a:spcPts val="300"/>
              </a:spcAft>
              <a:defRPr/>
            </a:pPr>
            <a:endParaRPr lang="en-US" sz="1200">
              <a:solidFill>
                <a:srgbClr val="2F446B"/>
              </a:solidFill>
              <a:latin typeface="CiscoSansTT Light" panose="020B0503020201020303" pitchFamily="34" charset="0"/>
              <a:cs typeface="CiscoSansTT Light" panose="020B0503020201020303" pitchFamily="34" charset="0"/>
            </a:endParaRPr>
          </a:p>
          <a:p>
            <a:pPr algn="ctr" defTabSz="1085725" eaLnBrk="0" fontAlgn="base" hangingPunct="0">
              <a:spcBef>
                <a:spcPct val="0"/>
              </a:spcBef>
              <a:spcAft>
                <a:spcPts val="300"/>
              </a:spcAft>
              <a:defRPr/>
            </a:pPr>
            <a:r>
              <a:rPr lang="en-US" sz="1200">
                <a:solidFill>
                  <a:srgbClr val="2F446B"/>
                </a:solidFill>
                <a:latin typeface="CiscoSansTT Light" panose="020B0503020201020303" pitchFamily="34" charset="0"/>
                <a:cs typeface="CiscoSansTT Light" panose="020B0503020201020303" pitchFamily="34" charset="0"/>
              </a:rPr>
              <a:t>Solution Support</a:t>
            </a:r>
          </a:p>
          <a:p>
            <a:pPr algn="ctr" defTabSz="1085725" eaLnBrk="0" fontAlgn="base" hangingPunct="0">
              <a:spcBef>
                <a:spcPct val="0"/>
              </a:spcBef>
              <a:spcAft>
                <a:spcPts val="300"/>
              </a:spcAft>
              <a:defRPr/>
            </a:pPr>
            <a:r>
              <a:rPr lang="en-US" sz="1200">
                <a:solidFill>
                  <a:srgbClr val="00BCEB"/>
                </a:solidFill>
                <a:latin typeface="CiscoSansTT Light" panose="020B0503020201020303" pitchFamily="34" charset="0"/>
                <a:cs typeface="CiscoSansTT Light" panose="020B0503020201020303" pitchFamily="34" charset="0"/>
              </a:rPr>
              <a:t>Resolve issues, manage multi-vendor cases</a:t>
            </a: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01F624C0-54B4-C74A-A1FB-8EA1C027C319}"/>
              </a:ext>
            </a:extLst>
          </p:cNvPr>
          <p:cNvSpPr/>
          <p:nvPr/>
        </p:nvSpPr>
        <p:spPr>
          <a:xfrm>
            <a:off x="9550195" y="3968873"/>
            <a:ext cx="2052000" cy="2801187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dist="12700" dir="16200000" rotWithShape="0">
              <a:schemeClr val="accent1"/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144000" rIns="72000" bIns="72000" rtlCol="0" anchor="t" anchorCtr="0"/>
          <a:lstStyle/>
          <a:p>
            <a:pPr algn="ctr" defTabSz="1085725" eaLnBrk="0" fontAlgn="base" hangingPunct="0">
              <a:spcBef>
                <a:spcPct val="0"/>
              </a:spcBef>
              <a:spcAft>
                <a:spcPts val="300"/>
              </a:spcAft>
              <a:defRPr/>
            </a:pPr>
            <a:r>
              <a:rPr lang="en-US" sz="1200">
                <a:solidFill>
                  <a:srgbClr val="2F446B"/>
                </a:solidFill>
                <a:latin typeface="CiscoSansTT Light" panose="020B0503020201020303" pitchFamily="34" charset="0"/>
                <a:cs typeface="CiscoSansTT Light" panose="020B0503020201020303" pitchFamily="34" charset="0"/>
              </a:rPr>
              <a:t>Advanced Services</a:t>
            </a:r>
          </a:p>
          <a:p>
            <a:pPr algn="ctr" defTabSz="1085725" eaLnBrk="0" fontAlgn="base" hangingPunct="0">
              <a:spcBef>
                <a:spcPct val="0"/>
              </a:spcBef>
              <a:spcAft>
                <a:spcPts val="300"/>
              </a:spcAft>
              <a:defRPr/>
            </a:pPr>
            <a:r>
              <a:rPr lang="en-US" sz="1200">
                <a:solidFill>
                  <a:srgbClr val="00BCEB"/>
                </a:solidFill>
                <a:latin typeface="CiscoSansTT Light" panose="020B0503020201020303" pitchFamily="34" charset="0"/>
                <a:cs typeface="CiscoSansTT Light" panose="020B0503020201020303" pitchFamily="34" charset="0"/>
              </a:rPr>
              <a:t>Plan, Design, and Implement the transition</a:t>
            </a:r>
          </a:p>
          <a:p>
            <a:pPr algn="ctr" defTabSz="1085725" eaLnBrk="0" fontAlgn="base" hangingPunct="0">
              <a:spcBef>
                <a:spcPct val="0"/>
              </a:spcBef>
              <a:spcAft>
                <a:spcPts val="300"/>
              </a:spcAft>
              <a:defRPr/>
            </a:pPr>
            <a:endParaRPr lang="en-US" sz="1200">
              <a:solidFill>
                <a:srgbClr val="2F446B"/>
              </a:solidFill>
              <a:latin typeface="CiscoSansTT Light" panose="020B0503020201020303" pitchFamily="34" charset="0"/>
              <a:cs typeface="CiscoSansTT Light" panose="020B0503020201020303" pitchFamily="34" charset="0"/>
            </a:endParaRPr>
          </a:p>
          <a:p>
            <a:pPr algn="ctr" defTabSz="1085725" eaLnBrk="0" fontAlgn="base" hangingPunct="0">
              <a:spcBef>
                <a:spcPct val="0"/>
              </a:spcBef>
              <a:spcAft>
                <a:spcPts val="300"/>
              </a:spcAft>
              <a:defRPr/>
            </a:pPr>
            <a:r>
              <a:rPr lang="en-US" sz="1200">
                <a:solidFill>
                  <a:srgbClr val="2F446B"/>
                </a:solidFill>
                <a:latin typeface="CiscoSansTT Light" panose="020B0503020201020303" pitchFamily="34" charset="0"/>
                <a:cs typeface="CiscoSansTT Light" panose="020B0503020201020303" pitchFamily="34" charset="0"/>
              </a:rPr>
              <a:t>Success Tracks – Level 2</a:t>
            </a:r>
          </a:p>
          <a:p>
            <a:pPr algn="ctr" defTabSz="1085725" eaLnBrk="0" fontAlgn="base" hangingPunct="0">
              <a:spcBef>
                <a:spcPct val="0"/>
              </a:spcBef>
              <a:spcAft>
                <a:spcPts val="300"/>
              </a:spcAft>
              <a:defRPr/>
            </a:pPr>
            <a:r>
              <a:rPr lang="en-US" sz="1200">
                <a:solidFill>
                  <a:srgbClr val="00BCEB"/>
                </a:solidFill>
                <a:latin typeface="CiscoSansTT Light"/>
                <a:cs typeface="CiscoSansTT Light" panose="020B0503020201020303" pitchFamily="34" charset="0"/>
              </a:rPr>
              <a:t>Expertise and insights at every step of the lifecycle to proactively teach, guide, and support Cisco solutions </a:t>
            </a:r>
            <a:endParaRPr lang="en-US" sz="1200">
              <a:solidFill>
                <a:srgbClr val="00BCEB"/>
              </a:solidFill>
              <a:latin typeface="CiscoSansTT Light" panose="020B0503020201020303" pitchFamily="34" charset="0"/>
              <a:cs typeface="CiscoSansTT Light" panose="020B0503020201020303" pitchFamily="34" charset="0"/>
            </a:endParaRPr>
          </a:p>
          <a:p>
            <a:pPr algn="ctr" defTabSz="1085725" eaLnBrk="0" fontAlgn="base" hangingPunct="0">
              <a:spcBef>
                <a:spcPct val="0"/>
              </a:spcBef>
              <a:spcAft>
                <a:spcPts val="300"/>
              </a:spcAft>
              <a:defRPr/>
            </a:pPr>
            <a:endParaRPr lang="en-US" sz="1200">
              <a:solidFill>
                <a:srgbClr val="2F446B"/>
              </a:solidFill>
              <a:latin typeface="CiscoSansTT Light" panose="020B0503020201020303" pitchFamily="34" charset="0"/>
              <a:cs typeface="CiscoSansTT Light" panose="020B0503020201020303" pitchFamily="34" charset="0"/>
            </a:endParaRPr>
          </a:p>
          <a:p>
            <a:pPr algn="ctr" defTabSz="1085725" eaLnBrk="0" fontAlgn="base" hangingPunct="0">
              <a:spcBef>
                <a:spcPct val="0"/>
              </a:spcBef>
              <a:spcAft>
                <a:spcPts val="300"/>
              </a:spcAft>
              <a:defRPr/>
            </a:pPr>
            <a:endParaRPr lang="en-US" sz="1200">
              <a:solidFill>
                <a:srgbClr val="00BCEB"/>
              </a:solidFill>
              <a:latin typeface="CiscoSansTT Light" panose="020B0503020201020303" pitchFamily="34" charset="0"/>
              <a:cs typeface="CiscoSansTT Light" panose="020B0503020201020303" pitchFamily="34" charset="0"/>
            </a:endParaRPr>
          </a:p>
        </p:txBody>
      </p:sp>
      <p:sp>
        <p:nvSpPr>
          <p:cNvPr id="2" name="Rounded Rectangle 1">
            <a:extLst>
              <a:ext uri="{FF2B5EF4-FFF2-40B4-BE49-F238E27FC236}">
                <a16:creationId xmlns:a16="http://schemas.microsoft.com/office/drawing/2014/main" id="{F0C6C719-8BD7-C645-A00A-631C76719FF7}"/>
              </a:ext>
            </a:extLst>
          </p:cNvPr>
          <p:cNvSpPr/>
          <p:nvPr/>
        </p:nvSpPr>
        <p:spPr>
          <a:xfrm>
            <a:off x="223882" y="1558628"/>
            <a:ext cx="2409713" cy="4526373"/>
          </a:xfrm>
          <a:prstGeom prst="roundRect">
            <a:avLst/>
          </a:prstGeom>
          <a:solidFill>
            <a:schemeClr val="tx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609555" fontAlgn="base">
              <a:spcBef>
                <a:spcPct val="0"/>
              </a:spcBef>
              <a:spcAft>
                <a:spcPts val="600"/>
              </a:spcAft>
            </a:pPr>
            <a:endParaRPr lang="en-US" sz="1100" err="1">
              <a:solidFill>
                <a:srgbClr val="FFFFFF"/>
              </a:solidFill>
              <a:latin typeface="CiscoSansTT ExtraLight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F7FAF31A-5296-5142-B570-757740DBFA2B}"/>
              </a:ext>
            </a:extLst>
          </p:cNvPr>
          <p:cNvSpPr txBox="1"/>
          <p:nvPr/>
        </p:nvSpPr>
        <p:spPr>
          <a:xfrm>
            <a:off x="491731" y="3297140"/>
            <a:ext cx="1982636" cy="179869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285737" indent="-285737" defTabSz="609555" fontAlgn="base">
              <a:lnSpc>
                <a:spcPct val="110000"/>
              </a:lnSpc>
              <a:spcBef>
                <a:spcPct val="0"/>
              </a:spcBef>
              <a:spcAft>
                <a:spcPts val="1200"/>
              </a:spcAft>
              <a:buClr>
                <a:srgbClr val="FFFFFF"/>
              </a:buClr>
              <a:buFont typeface="Arial" panose="020B0604020202020204" pitchFamily="34" charset="0"/>
              <a:buChar char="•"/>
            </a:pPr>
            <a:r>
              <a:rPr lang="en-US" sz="1600">
                <a:solidFill>
                  <a:srgbClr val="FFFFFF"/>
                </a:solidFill>
                <a:latin typeface="CiscoSansTT ExtraLight"/>
                <a:ea typeface="ＭＳ Ｐゴシック" charset="0"/>
              </a:rPr>
              <a:t>Speed Transformation</a:t>
            </a:r>
          </a:p>
          <a:p>
            <a:pPr marL="285737" indent="-285737" defTabSz="609555" fontAlgn="base">
              <a:lnSpc>
                <a:spcPct val="110000"/>
              </a:lnSpc>
              <a:spcBef>
                <a:spcPct val="0"/>
              </a:spcBef>
              <a:spcAft>
                <a:spcPts val="1200"/>
              </a:spcAft>
              <a:buClr>
                <a:srgbClr val="FFFFFF"/>
              </a:buClr>
              <a:buFont typeface="Arial" panose="020B0604020202020204" pitchFamily="34" charset="0"/>
              <a:buChar char="•"/>
            </a:pPr>
            <a:r>
              <a:rPr lang="en-US" sz="1600">
                <a:solidFill>
                  <a:srgbClr val="FFFFFF"/>
                </a:solidFill>
                <a:latin typeface="CiscoSansTT ExtraLight"/>
                <a:ea typeface="ＭＳ Ｐゴシック" charset="0"/>
              </a:rPr>
              <a:t>De-risk IT</a:t>
            </a:r>
          </a:p>
          <a:p>
            <a:pPr marL="285737" indent="-285737" defTabSz="609555" fontAlgn="base">
              <a:lnSpc>
                <a:spcPct val="110000"/>
              </a:lnSpc>
              <a:spcBef>
                <a:spcPct val="0"/>
              </a:spcBef>
              <a:spcAft>
                <a:spcPts val="1200"/>
              </a:spcAft>
              <a:buClr>
                <a:srgbClr val="FFFFFF"/>
              </a:buClr>
              <a:buFont typeface="Arial" panose="020B0604020202020204" pitchFamily="34" charset="0"/>
              <a:buChar char="•"/>
            </a:pPr>
            <a:r>
              <a:rPr lang="en-US" sz="1600">
                <a:solidFill>
                  <a:srgbClr val="FFFFFF"/>
                </a:solidFill>
                <a:latin typeface="CiscoSansTT ExtraLight"/>
                <a:ea typeface="ＭＳ Ｐゴシック" charset="0"/>
              </a:rPr>
              <a:t>Achieve Business Continuity</a:t>
            </a:r>
          </a:p>
          <a:p>
            <a:pPr defTabSz="609555" fontAlgn="base">
              <a:lnSpc>
                <a:spcPct val="110000"/>
              </a:lnSpc>
              <a:spcBef>
                <a:spcPct val="0"/>
              </a:spcBef>
              <a:spcAft>
                <a:spcPts val="1200"/>
              </a:spcAft>
            </a:pPr>
            <a:endParaRPr lang="en-US" sz="1100" err="1">
              <a:solidFill>
                <a:srgbClr val="14284A"/>
              </a:solidFill>
              <a:latin typeface="CiscoSansTT ExtraLight"/>
              <a:ea typeface="ＭＳ Ｐゴシック" charset="0"/>
            </a:endParaRP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407ADB5F-6E8F-A441-BD0A-1FA1FF2A6E77}"/>
              </a:ext>
            </a:extLst>
          </p:cNvPr>
          <p:cNvSpPr txBox="1"/>
          <p:nvPr/>
        </p:nvSpPr>
        <p:spPr>
          <a:xfrm>
            <a:off x="494631" y="2019957"/>
            <a:ext cx="2069247" cy="69135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609555" fontAlgn="base">
              <a:lnSpc>
                <a:spcPct val="110000"/>
              </a:lnSpc>
              <a:spcBef>
                <a:spcPct val="0"/>
              </a:spcBef>
              <a:spcAft>
                <a:spcPts val="1200"/>
              </a:spcAft>
            </a:pPr>
            <a:r>
              <a:rPr lang="en-US" sz="2000">
                <a:solidFill>
                  <a:srgbClr val="FFFFFF"/>
                </a:solidFill>
                <a:latin typeface="CiscoSansTT ExtraLight"/>
                <a:ea typeface="ＭＳ Ｐゴシック" charset="0"/>
              </a:rPr>
              <a:t>Get more value from technology, faster to:</a:t>
            </a:r>
          </a:p>
          <a:p>
            <a:pPr defTabSz="609555" fontAlgn="base">
              <a:lnSpc>
                <a:spcPct val="110000"/>
              </a:lnSpc>
              <a:spcBef>
                <a:spcPct val="0"/>
              </a:spcBef>
              <a:spcAft>
                <a:spcPts val="1200"/>
              </a:spcAft>
            </a:pPr>
            <a:endParaRPr lang="en-US" sz="1600">
              <a:solidFill>
                <a:srgbClr val="FFFFFF"/>
              </a:solidFill>
              <a:latin typeface="CiscoSansTT ExtraLight"/>
              <a:ea typeface="ＭＳ Ｐゴシック" charset="0"/>
            </a:endParaRPr>
          </a:p>
          <a:p>
            <a:pPr defTabSz="609555" fontAlgn="base">
              <a:lnSpc>
                <a:spcPct val="110000"/>
              </a:lnSpc>
              <a:spcBef>
                <a:spcPct val="0"/>
              </a:spcBef>
              <a:spcAft>
                <a:spcPts val="1200"/>
              </a:spcAft>
            </a:pPr>
            <a:endParaRPr lang="en-US" sz="1100" err="1">
              <a:solidFill>
                <a:srgbClr val="14284A"/>
              </a:solidFill>
              <a:latin typeface="CiscoSansTT ExtraLight"/>
              <a:ea typeface="ＭＳ Ｐゴシック" charset="0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D4609C0B-F6B9-9B4D-BE72-5AAB62463D7B}"/>
              </a:ext>
            </a:extLst>
          </p:cNvPr>
          <p:cNvSpPr txBox="1"/>
          <p:nvPr/>
        </p:nvSpPr>
        <p:spPr>
          <a:xfrm>
            <a:off x="4078015" y="1212397"/>
            <a:ext cx="914400" cy="9144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defTabSz="609555" fontAlgn="base">
              <a:lnSpc>
                <a:spcPct val="110000"/>
              </a:lnSpc>
              <a:spcBef>
                <a:spcPct val="0"/>
              </a:spcBef>
              <a:spcAft>
                <a:spcPts val="1200"/>
              </a:spcAft>
            </a:pPr>
            <a:endParaRPr lang="en-US" sz="1100" err="1">
              <a:solidFill>
                <a:srgbClr val="2F446B"/>
              </a:solidFill>
              <a:latin typeface="CiscoSansTT ExtraLight"/>
              <a:ea typeface="ＭＳ Ｐゴシック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75326008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rgbClr val="0D274D"/>
        </a:solidFill>
        <a:effectLst/>
      </p:bgPr>
    </p:bg>
    <p:spTree>
      <p:nvGrpSpPr>
        <p:cNvPr id="1" name="Shape 244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2446;p283">
            <a:extLst>
              <a:ext uri="{FF2B5EF4-FFF2-40B4-BE49-F238E27FC236}">
                <a16:creationId xmlns:a16="http://schemas.microsoft.com/office/drawing/2014/main" id="{D4FA487E-F28C-48CC-AB5D-1A539E95C3F5}"/>
              </a:ext>
            </a:extLst>
          </p:cNvPr>
          <p:cNvSpPr/>
          <p:nvPr/>
        </p:nvSpPr>
        <p:spPr>
          <a:xfrm>
            <a:off x="5168267" y="2918967"/>
            <a:ext cx="1855469" cy="985701"/>
          </a:xfrm>
          <a:custGeom>
            <a:avLst/>
            <a:gdLst/>
            <a:ahLst/>
            <a:cxnLst/>
            <a:rect l="l" t="t" r="r" b="b"/>
            <a:pathLst>
              <a:path w="3456" h="1834" extrusionOk="0">
                <a:moveTo>
                  <a:pt x="2828" y="1362"/>
                </a:moveTo>
                <a:lnTo>
                  <a:pt x="2798" y="1364"/>
                </a:lnTo>
                <a:lnTo>
                  <a:pt x="2771" y="1371"/>
                </a:lnTo>
                <a:lnTo>
                  <a:pt x="2747" y="1384"/>
                </a:lnTo>
                <a:lnTo>
                  <a:pt x="2725" y="1400"/>
                </a:lnTo>
                <a:lnTo>
                  <a:pt x="2706" y="1419"/>
                </a:lnTo>
                <a:lnTo>
                  <a:pt x="2691" y="1441"/>
                </a:lnTo>
                <a:lnTo>
                  <a:pt x="2680" y="1465"/>
                </a:lnTo>
                <a:lnTo>
                  <a:pt x="2674" y="1492"/>
                </a:lnTo>
                <a:lnTo>
                  <a:pt x="2671" y="1521"/>
                </a:lnTo>
                <a:lnTo>
                  <a:pt x="2674" y="1549"/>
                </a:lnTo>
                <a:lnTo>
                  <a:pt x="2680" y="1577"/>
                </a:lnTo>
                <a:lnTo>
                  <a:pt x="2691" y="1601"/>
                </a:lnTo>
                <a:lnTo>
                  <a:pt x="2706" y="1623"/>
                </a:lnTo>
                <a:lnTo>
                  <a:pt x="2725" y="1642"/>
                </a:lnTo>
                <a:lnTo>
                  <a:pt x="2747" y="1658"/>
                </a:lnTo>
                <a:lnTo>
                  <a:pt x="2771" y="1669"/>
                </a:lnTo>
                <a:lnTo>
                  <a:pt x="2798" y="1677"/>
                </a:lnTo>
                <a:lnTo>
                  <a:pt x="2828" y="1680"/>
                </a:lnTo>
                <a:lnTo>
                  <a:pt x="2857" y="1677"/>
                </a:lnTo>
                <a:lnTo>
                  <a:pt x="2883" y="1669"/>
                </a:lnTo>
                <a:lnTo>
                  <a:pt x="2908" y="1658"/>
                </a:lnTo>
                <a:lnTo>
                  <a:pt x="2930" y="1642"/>
                </a:lnTo>
                <a:lnTo>
                  <a:pt x="2948" y="1623"/>
                </a:lnTo>
                <a:lnTo>
                  <a:pt x="2964" y="1601"/>
                </a:lnTo>
                <a:lnTo>
                  <a:pt x="2975" y="1577"/>
                </a:lnTo>
                <a:lnTo>
                  <a:pt x="2982" y="1549"/>
                </a:lnTo>
                <a:lnTo>
                  <a:pt x="2985" y="1521"/>
                </a:lnTo>
                <a:lnTo>
                  <a:pt x="2982" y="1492"/>
                </a:lnTo>
                <a:lnTo>
                  <a:pt x="2975" y="1465"/>
                </a:lnTo>
                <a:lnTo>
                  <a:pt x="2964" y="1441"/>
                </a:lnTo>
                <a:lnTo>
                  <a:pt x="2948" y="1419"/>
                </a:lnTo>
                <a:lnTo>
                  <a:pt x="2930" y="1400"/>
                </a:lnTo>
                <a:lnTo>
                  <a:pt x="2908" y="1384"/>
                </a:lnTo>
                <a:lnTo>
                  <a:pt x="2883" y="1371"/>
                </a:lnTo>
                <a:lnTo>
                  <a:pt x="2857" y="1364"/>
                </a:lnTo>
                <a:lnTo>
                  <a:pt x="2828" y="1362"/>
                </a:lnTo>
                <a:close/>
                <a:moveTo>
                  <a:pt x="977" y="1218"/>
                </a:moveTo>
                <a:lnTo>
                  <a:pt x="1129" y="1218"/>
                </a:lnTo>
                <a:lnTo>
                  <a:pt x="1129" y="1823"/>
                </a:lnTo>
                <a:lnTo>
                  <a:pt x="977" y="1823"/>
                </a:lnTo>
                <a:lnTo>
                  <a:pt x="977" y="1218"/>
                </a:lnTo>
                <a:close/>
                <a:moveTo>
                  <a:pt x="2828" y="1208"/>
                </a:moveTo>
                <a:lnTo>
                  <a:pt x="2873" y="1211"/>
                </a:lnTo>
                <a:lnTo>
                  <a:pt x="2916" y="1219"/>
                </a:lnTo>
                <a:lnTo>
                  <a:pt x="2955" y="1232"/>
                </a:lnTo>
                <a:lnTo>
                  <a:pt x="2992" y="1251"/>
                </a:lnTo>
                <a:lnTo>
                  <a:pt x="3026" y="1273"/>
                </a:lnTo>
                <a:lnTo>
                  <a:pt x="3056" y="1299"/>
                </a:lnTo>
                <a:lnTo>
                  <a:pt x="3082" y="1330"/>
                </a:lnTo>
                <a:lnTo>
                  <a:pt x="3104" y="1363"/>
                </a:lnTo>
                <a:lnTo>
                  <a:pt x="3121" y="1398"/>
                </a:lnTo>
                <a:lnTo>
                  <a:pt x="3134" y="1437"/>
                </a:lnTo>
                <a:lnTo>
                  <a:pt x="3142" y="1479"/>
                </a:lnTo>
                <a:lnTo>
                  <a:pt x="3145" y="1521"/>
                </a:lnTo>
                <a:lnTo>
                  <a:pt x="3142" y="1563"/>
                </a:lnTo>
                <a:lnTo>
                  <a:pt x="3134" y="1604"/>
                </a:lnTo>
                <a:lnTo>
                  <a:pt x="3121" y="1642"/>
                </a:lnTo>
                <a:lnTo>
                  <a:pt x="3104" y="1679"/>
                </a:lnTo>
                <a:lnTo>
                  <a:pt x="3082" y="1712"/>
                </a:lnTo>
                <a:lnTo>
                  <a:pt x="3056" y="1742"/>
                </a:lnTo>
                <a:lnTo>
                  <a:pt x="3026" y="1769"/>
                </a:lnTo>
                <a:lnTo>
                  <a:pt x="2992" y="1791"/>
                </a:lnTo>
                <a:lnTo>
                  <a:pt x="2955" y="1809"/>
                </a:lnTo>
                <a:lnTo>
                  <a:pt x="2916" y="1822"/>
                </a:lnTo>
                <a:lnTo>
                  <a:pt x="2873" y="1831"/>
                </a:lnTo>
                <a:lnTo>
                  <a:pt x="2828" y="1834"/>
                </a:lnTo>
                <a:lnTo>
                  <a:pt x="2783" y="1831"/>
                </a:lnTo>
                <a:lnTo>
                  <a:pt x="2740" y="1822"/>
                </a:lnTo>
                <a:lnTo>
                  <a:pt x="2700" y="1809"/>
                </a:lnTo>
                <a:lnTo>
                  <a:pt x="2663" y="1791"/>
                </a:lnTo>
                <a:lnTo>
                  <a:pt x="2630" y="1769"/>
                </a:lnTo>
                <a:lnTo>
                  <a:pt x="2599" y="1742"/>
                </a:lnTo>
                <a:lnTo>
                  <a:pt x="2573" y="1712"/>
                </a:lnTo>
                <a:lnTo>
                  <a:pt x="2551" y="1679"/>
                </a:lnTo>
                <a:lnTo>
                  <a:pt x="2534" y="1642"/>
                </a:lnTo>
                <a:lnTo>
                  <a:pt x="2521" y="1604"/>
                </a:lnTo>
                <a:lnTo>
                  <a:pt x="2513" y="1563"/>
                </a:lnTo>
                <a:lnTo>
                  <a:pt x="2510" y="1521"/>
                </a:lnTo>
                <a:lnTo>
                  <a:pt x="2513" y="1479"/>
                </a:lnTo>
                <a:lnTo>
                  <a:pt x="2521" y="1437"/>
                </a:lnTo>
                <a:lnTo>
                  <a:pt x="2534" y="1398"/>
                </a:lnTo>
                <a:lnTo>
                  <a:pt x="2551" y="1363"/>
                </a:lnTo>
                <a:lnTo>
                  <a:pt x="2573" y="1330"/>
                </a:lnTo>
                <a:lnTo>
                  <a:pt x="2599" y="1299"/>
                </a:lnTo>
                <a:lnTo>
                  <a:pt x="2630" y="1273"/>
                </a:lnTo>
                <a:lnTo>
                  <a:pt x="2663" y="1251"/>
                </a:lnTo>
                <a:lnTo>
                  <a:pt x="2700" y="1232"/>
                </a:lnTo>
                <a:lnTo>
                  <a:pt x="2740" y="1219"/>
                </a:lnTo>
                <a:lnTo>
                  <a:pt x="2783" y="1211"/>
                </a:lnTo>
                <a:lnTo>
                  <a:pt x="2828" y="1208"/>
                </a:lnTo>
                <a:close/>
                <a:moveTo>
                  <a:pt x="2213" y="1208"/>
                </a:moveTo>
                <a:lnTo>
                  <a:pt x="2242" y="1209"/>
                </a:lnTo>
                <a:lnTo>
                  <a:pt x="2268" y="1211"/>
                </a:lnTo>
                <a:lnTo>
                  <a:pt x="2292" y="1215"/>
                </a:lnTo>
                <a:lnTo>
                  <a:pt x="2312" y="1219"/>
                </a:lnTo>
                <a:lnTo>
                  <a:pt x="2329" y="1223"/>
                </a:lnTo>
                <a:lnTo>
                  <a:pt x="2343" y="1227"/>
                </a:lnTo>
                <a:lnTo>
                  <a:pt x="2351" y="1230"/>
                </a:lnTo>
                <a:lnTo>
                  <a:pt x="2351" y="1392"/>
                </a:lnTo>
                <a:lnTo>
                  <a:pt x="2346" y="1389"/>
                </a:lnTo>
                <a:lnTo>
                  <a:pt x="2335" y="1384"/>
                </a:lnTo>
                <a:lnTo>
                  <a:pt x="2321" y="1377"/>
                </a:lnTo>
                <a:lnTo>
                  <a:pt x="2302" y="1371"/>
                </a:lnTo>
                <a:lnTo>
                  <a:pt x="2279" y="1365"/>
                </a:lnTo>
                <a:lnTo>
                  <a:pt x="2253" y="1360"/>
                </a:lnTo>
                <a:lnTo>
                  <a:pt x="2223" y="1359"/>
                </a:lnTo>
                <a:lnTo>
                  <a:pt x="2192" y="1362"/>
                </a:lnTo>
                <a:lnTo>
                  <a:pt x="2163" y="1369"/>
                </a:lnTo>
                <a:lnTo>
                  <a:pt x="2136" y="1381"/>
                </a:lnTo>
                <a:lnTo>
                  <a:pt x="2113" y="1396"/>
                </a:lnTo>
                <a:lnTo>
                  <a:pt x="2095" y="1415"/>
                </a:lnTo>
                <a:lnTo>
                  <a:pt x="2079" y="1437"/>
                </a:lnTo>
                <a:lnTo>
                  <a:pt x="2067" y="1463"/>
                </a:lnTo>
                <a:lnTo>
                  <a:pt x="2060" y="1490"/>
                </a:lnTo>
                <a:lnTo>
                  <a:pt x="2058" y="1521"/>
                </a:lnTo>
                <a:lnTo>
                  <a:pt x="2060" y="1550"/>
                </a:lnTo>
                <a:lnTo>
                  <a:pt x="2066" y="1578"/>
                </a:lnTo>
                <a:lnTo>
                  <a:pt x="2078" y="1602"/>
                </a:lnTo>
                <a:lnTo>
                  <a:pt x="2093" y="1625"/>
                </a:lnTo>
                <a:lnTo>
                  <a:pt x="2112" y="1644"/>
                </a:lnTo>
                <a:lnTo>
                  <a:pt x="2135" y="1660"/>
                </a:lnTo>
                <a:lnTo>
                  <a:pt x="2162" y="1672"/>
                </a:lnTo>
                <a:lnTo>
                  <a:pt x="2191" y="1679"/>
                </a:lnTo>
                <a:lnTo>
                  <a:pt x="2223" y="1682"/>
                </a:lnTo>
                <a:lnTo>
                  <a:pt x="2253" y="1680"/>
                </a:lnTo>
                <a:lnTo>
                  <a:pt x="2279" y="1676"/>
                </a:lnTo>
                <a:lnTo>
                  <a:pt x="2301" y="1671"/>
                </a:lnTo>
                <a:lnTo>
                  <a:pt x="2321" y="1664"/>
                </a:lnTo>
                <a:lnTo>
                  <a:pt x="2335" y="1658"/>
                </a:lnTo>
                <a:lnTo>
                  <a:pt x="2346" y="1653"/>
                </a:lnTo>
                <a:lnTo>
                  <a:pt x="2351" y="1649"/>
                </a:lnTo>
                <a:lnTo>
                  <a:pt x="2351" y="1812"/>
                </a:lnTo>
                <a:lnTo>
                  <a:pt x="2339" y="1816"/>
                </a:lnTo>
                <a:lnTo>
                  <a:pt x="2322" y="1820"/>
                </a:lnTo>
                <a:lnTo>
                  <a:pt x="2300" y="1826"/>
                </a:lnTo>
                <a:lnTo>
                  <a:pt x="2275" y="1830"/>
                </a:lnTo>
                <a:lnTo>
                  <a:pt x="2245" y="1833"/>
                </a:lnTo>
                <a:lnTo>
                  <a:pt x="2213" y="1834"/>
                </a:lnTo>
                <a:lnTo>
                  <a:pt x="2174" y="1832"/>
                </a:lnTo>
                <a:lnTo>
                  <a:pt x="2136" y="1826"/>
                </a:lnTo>
                <a:lnTo>
                  <a:pt x="2100" y="1815"/>
                </a:lnTo>
                <a:lnTo>
                  <a:pt x="2065" y="1801"/>
                </a:lnTo>
                <a:lnTo>
                  <a:pt x="2033" y="1783"/>
                </a:lnTo>
                <a:lnTo>
                  <a:pt x="2002" y="1762"/>
                </a:lnTo>
                <a:lnTo>
                  <a:pt x="1975" y="1737"/>
                </a:lnTo>
                <a:lnTo>
                  <a:pt x="1952" y="1710"/>
                </a:lnTo>
                <a:lnTo>
                  <a:pt x="1931" y="1678"/>
                </a:lnTo>
                <a:lnTo>
                  <a:pt x="1915" y="1643"/>
                </a:lnTo>
                <a:lnTo>
                  <a:pt x="1903" y="1605"/>
                </a:lnTo>
                <a:lnTo>
                  <a:pt x="1896" y="1564"/>
                </a:lnTo>
                <a:lnTo>
                  <a:pt x="1892" y="1521"/>
                </a:lnTo>
                <a:lnTo>
                  <a:pt x="1896" y="1477"/>
                </a:lnTo>
                <a:lnTo>
                  <a:pt x="1904" y="1434"/>
                </a:lnTo>
                <a:lnTo>
                  <a:pt x="1917" y="1395"/>
                </a:lnTo>
                <a:lnTo>
                  <a:pt x="1934" y="1359"/>
                </a:lnTo>
                <a:lnTo>
                  <a:pt x="1957" y="1326"/>
                </a:lnTo>
                <a:lnTo>
                  <a:pt x="1984" y="1296"/>
                </a:lnTo>
                <a:lnTo>
                  <a:pt x="2014" y="1271"/>
                </a:lnTo>
                <a:lnTo>
                  <a:pt x="2047" y="1249"/>
                </a:lnTo>
                <a:lnTo>
                  <a:pt x="2085" y="1231"/>
                </a:lnTo>
                <a:lnTo>
                  <a:pt x="2125" y="1218"/>
                </a:lnTo>
                <a:lnTo>
                  <a:pt x="2168" y="1211"/>
                </a:lnTo>
                <a:lnTo>
                  <a:pt x="2213" y="1208"/>
                </a:lnTo>
                <a:close/>
                <a:moveTo>
                  <a:pt x="630" y="1208"/>
                </a:moveTo>
                <a:lnTo>
                  <a:pt x="660" y="1209"/>
                </a:lnTo>
                <a:lnTo>
                  <a:pt x="687" y="1211"/>
                </a:lnTo>
                <a:lnTo>
                  <a:pt x="711" y="1215"/>
                </a:lnTo>
                <a:lnTo>
                  <a:pt x="731" y="1219"/>
                </a:lnTo>
                <a:lnTo>
                  <a:pt x="748" y="1223"/>
                </a:lnTo>
                <a:lnTo>
                  <a:pt x="760" y="1227"/>
                </a:lnTo>
                <a:lnTo>
                  <a:pt x="769" y="1230"/>
                </a:lnTo>
                <a:lnTo>
                  <a:pt x="769" y="1392"/>
                </a:lnTo>
                <a:lnTo>
                  <a:pt x="763" y="1389"/>
                </a:lnTo>
                <a:lnTo>
                  <a:pt x="754" y="1384"/>
                </a:lnTo>
                <a:lnTo>
                  <a:pt x="739" y="1377"/>
                </a:lnTo>
                <a:lnTo>
                  <a:pt x="721" y="1371"/>
                </a:lnTo>
                <a:lnTo>
                  <a:pt x="697" y="1365"/>
                </a:lnTo>
                <a:lnTo>
                  <a:pt x="671" y="1360"/>
                </a:lnTo>
                <a:lnTo>
                  <a:pt x="642" y="1359"/>
                </a:lnTo>
                <a:lnTo>
                  <a:pt x="611" y="1362"/>
                </a:lnTo>
                <a:lnTo>
                  <a:pt x="581" y="1369"/>
                </a:lnTo>
                <a:lnTo>
                  <a:pt x="555" y="1381"/>
                </a:lnTo>
                <a:lnTo>
                  <a:pt x="532" y="1396"/>
                </a:lnTo>
                <a:lnTo>
                  <a:pt x="513" y="1415"/>
                </a:lnTo>
                <a:lnTo>
                  <a:pt x="497" y="1437"/>
                </a:lnTo>
                <a:lnTo>
                  <a:pt x="485" y="1463"/>
                </a:lnTo>
                <a:lnTo>
                  <a:pt x="479" y="1490"/>
                </a:lnTo>
                <a:lnTo>
                  <a:pt x="475" y="1521"/>
                </a:lnTo>
                <a:lnTo>
                  <a:pt x="479" y="1550"/>
                </a:lnTo>
                <a:lnTo>
                  <a:pt x="485" y="1578"/>
                </a:lnTo>
                <a:lnTo>
                  <a:pt x="496" y="1602"/>
                </a:lnTo>
                <a:lnTo>
                  <a:pt x="512" y="1625"/>
                </a:lnTo>
                <a:lnTo>
                  <a:pt x="531" y="1644"/>
                </a:lnTo>
                <a:lnTo>
                  <a:pt x="554" y="1660"/>
                </a:lnTo>
                <a:lnTo>
                  <a:pt x="580" y="1672"/>
                </a:lnTo>
                <a:lnTo>
                  <a:pt x="610" y="1679"/>
                </a:lnTo>
                <a:lnTo>
                  <a:pt x="642" y="1682"/>
                </a:lnTo>
                <a:lnTo>
                  <a:pt x="671" y="1680"/>
                </a:lnTo>
                <a:lnTo>
                  <a:pt x="697" y="1676"/>
                </a:lnTo>
                <a:lnTo>
                  <a:pt x="719" y="1671"/>
                </a:lnTo>
                <a:lnTo>
                  <a:pt x="738" y="1664"/>
                </a:lnTo>
                <a:lnTo>
                  <a:pt x="753" y="1658"/>
                </a:lnTo>
                <a:lnTo>
                  <a:pt x="763" y="1653"/>
                </a:lnTo>
                <a:lnTo>
                  <a:pt x="769" y="1649"/>
                </a:lnTo>
                <a:lnTo>
                  <a:pt x="769" y="1812"/>
                </a:lnTo>
                <a:lnTo>
                  <a:pt x="757" y="1816"/>
                </a:lnTo>
                <a:lnTo>
                  <a:pt x="740" y="1820"/>
                </a:lnTo>
                <a:lnTo>
                  <a:pt x="718" y="1826"/>
                </a:lnTo>
                <a:lnTo>
                  <a:pt x="692" y="1830"/>
                </a:lnTo>
                <a:lnTo>
                  <a:pt x="663" y="1833"/>
                </a:lnTo>
                <a:lnTo>
                  <a:pt x="630" y="1834"/>
                </a:lnTo>
                <a:lnTo>
                  <a:pt x="592" y="1832"/>
                </a:lnTo>
                <a:lnTo>
                  <a:pt x="554" y="1826"/>
                </a:lnTo>
                <a:lnTo>
                  <a:pt x="518" y="1815"/>
                </a:lnTo>
                <a:lnTo>
                  <a:pt x="484" y="1801"/>
                </a:lnTo>
                <a:lnTo>
                  <a:pt x="451" y="1783"/>
                </a:lnTo>
                <a:lnTo>
                  <a:pt x="421" y="1762"/>
                </a:lnTo>
                <a:lnTo>
                  <a:pt x="394" y="1737"/>
                </a:lnTo>
                <a:lnTo>
                  <a:pt x="370" y="1710"/>
                </a:lnTo>
                <a:lnTo>
                  <a:pt x="350" y="1678"/>
                </a:lnTo>
                <a:lnTo>
                  <a:pt x="333" y="1643"/>
                </a:lnTo>
                <a:lnTo>
                  <a:pt x="322" y="1605"/>
                </a:lnTo>
                <a:lnTo>
                  <a:pt x="314" y="1564"/>
                </a:lnTo>
                <a:lnTo>
                  <a:pt x="311" y="1521"/>
                </a:lnTo>
                <a:lnTo>
                  <a:pt x="314" y="1477"/>
                </a:lnTo>
                <a:lnTo>
                  <a:pt x="323" y="1434"/>
                </a:lnTo>
                <a:lnTo>
                  <a:pt x="335" y="1395"/>
                </a:lnTo>
                <a:lnTo>
                  <a:pt x="353" y="1359"/>
                </a:lnTo>
                <a:lnTo>
                  <a:pt x="375" y="1326"/>
                </a:lnTo>
                <a:lnTo>
                  <a:pt x="402" y="1296"/>
                </a:lnTo>
                <a:lnTo>
                  <a:pt x="433" y="1271"/>
                </a:lnTo>
                <a:lnTo>
                  <a:pt x="466" y="1249"/>
                </a:lnTo>
                <a:lnTo>
                  <a:pt x="503" y="1231"/>
                </a:lnTo>
                <a:lnTo>
                  <a:pt x="544" y="1218"/>
                </a:lnTo>
                <a:lnTo>
                  <a:pt x="585" y="1211"/>
                </a:lnTo>
                <a:lnTo>
                  <a:pt x="630" y="1208"/>
                </a:lnTo>
                <a:close/>
                <a:moveTo>
                  <a:pt x="1556" y="1208"/>
                </a:moveTo>
                <a:lnTo>
                  <a:pt x="1583" y="1209"/>
                </a:lnTo>
                <a:lnTo>
                  <a:pt x="1610" y="1211"/>
                </a:lnTo>
                <a:lnTo>
                  <a:pt x="1634" y="1213"/>
                </a:lnTo>
                <a:lnTo>
                  <a:pt x="1656" y="1217"/>
                </a:lnTo>
                <a:lnTo>
                  <a:pt x="1675" y="1220"/>
                </a:lnTo>
                <a:lnTo>
                  <a:pt x="1689" y="1223"/>
                </a:lnTo>
                <a:lnTo>
                  <a:pt x="1699" y="1226"/>
                </a:lnTo>
                <a:lnTo>
                  <a:pt x="1704" y="1227"/>
                </a:lnTo>
                <a:lnTo>
                  <a:pt x="1704" y="1356"/>
                </a:lnTo>
                <a:lnTo>
                  <a:pt x="1700" y="1355"/>
                </a:lnTo>
                <a:lnTo>
                  <a:pt x="1691" y="1353"/>
                </a:lnTo>
                <a:lnTo>
                  <a:pt x="1679" y="1350"/>
                </a:lnTo>
                <a:lnTo>
                  <a:pt x="1663" y="1347"/>
                </a:lnTo>
                <a:lnTo>
                  <a:pt x="1645" y="1343"/>
                </a:lnTo>
                <a:lnTo>
                  <a:pt x="1625" y="1340"/>
                </a:lnTo>
                <a:lnTo>
                  <a:pt x="1605" y="1338"/>
                </a:lnTo>
                <a:lnTo>
                  <a:pt x="1586" y="1337"/>
                </a:lnTo>
                <a:lnTo>
                  <a:pt x="1557" y="1339"/>
                </a:lnTo>
                <a:lnTo>
                  <a:pt x="1534" y="1344"/>
                </a:lnTo>
                <a:lnTo>
                  <a:pt x="1515" y="1351"/>
                </a:lnTo>
                <a:lnTo>
                  <a:pt x="1502" y="1362"/>
                </a:lnTo>
                <a:lnTo>
                  <a:pt x="1494" y="1373"/>
                </a:lnTo>
                <a:lnTo>
                  <a:pt x="1491" y="1387"/>
                </a:lnTo>
                <a:lnTo>
                  <a:pt x="1494" y="1402"/>
                </a:lnTo>
                <a:lnTo>
                  <a:pt x="1501" y="1413"/>
                </a:lnTo>
                <a:lnTo>
                  <a:pt x="1511" y="1423"/>
                </a:lnTo>
                <a:lnTo>
                  <a:pt x="1523" y="1430"/>
                </a:lnTo>
                <a:lnTo>
                  <a:pt x="1536" y="1436"/>
                </a:lnTo>
                <a:lnTo>
                  <a:pt x="1549" y="1441"/>
                </a:lnTo>
                <a:lnTo>
                  <a:pt x="1560" y="1445"/>
                </a:lnTo>
                <a:lnTo>
                  <a:pt x="1602" y="1458"/>
                </a:lnTo>
                <a:lnTo>
                  <a:pt x="1634" y="1470"/>
                </a:lnTo>
                <a:lnTo>
                  <a:pt x="1661" y="1484"/>
                </a:lnTo>
                <a:lnTo>
                  <a:pt x="1684" y="1501"/>
                </a:lnTo>
                <a:lnTo>
                  <a:pt x="1703" y="1519"/>
                </a:lnTo>
                <a:lnTo>
                  <a:pt x="1719" y="1539"/>
                </a:lnTo>
                <a:lnTo>
                  <a:pt x="1731" y="1560"/>
                </a:lnTo>
                <a:lnTo>
                  <a:pt x="1740" y="1583"/>
                </a:lnTo>
                <a:lnTo>
                  <a:pt x="1745" y="1606"/>
                </a:lnTo>
                <a:lnTo>
                  <a:pt x="1746" y="1630"/>
                </a:lnTo>
                <a:lnTo>
                  <a:pt x="1744" y="1664"/>
                </a:lnTo>
                <a:lnTo>
                  <a:pt x="1737" y="1694"/>
                </a:lnTo>
                <a:lnTo>
                  <a:pt x="1727" y="1720"/>
                </a:lnTo>
                <a:lnTo>
                  <a:pt x="1712" y="1744"/>
                </a:lnTo>
                <a:lnTo>
                  <a:pt x="1696" y="1764"/>
                </a:lnTo>
                <a:lnTo>
                  <a:pt x="1676" y="1781"/>
                </a:lnTo>
                <a:lnTo>
                  <a:pt x="1654" y="1796"/>
                </a:lnTo>
                <a:lnTo>
                  <a:pt x="1630" y="1809"/>
                </a:lnTo>
                <a:lnTo>
                  <a:pt x="1604" y="1818"/>
                </a:lnTo>
                <a:lnTo>
                  <a:pt x="1578" y="1826"/>
                </a:lnTo>
                <a:lnTo>
                  <a:pt x="1551" y="1830"/>
                </a:lnTo>
                <a:lnTo>
                  <a:pt x="1524" y="1833"/>
                </a:lnTo>
                <a:lnTo>
                  <a:pt x="1498" y="1834"/>
                </a:lnTo>
                <a:lnTo>
                  <a:pt x="1467" y="1833"/>
                </a:lnTo>
                <a:lnTo>
                  <a:pt x="1439" y="1832"/>
                </a:lnTo>
                <a:lnTo>
                  <a:pt x="1412" y="1829"/>
                </a:lnTo>
                <a:lnTo>
                  <a:pt x="1388" y="1827"/>
                </a:lnTo>
                <a:lnTo>
                  <a:pt x="1368" y="1823"/>
                </a:lnTo>
                <a:lnTo>
                  <a:pt x="1351" y="1820"/>
                </a:lnTo>
                <a:lnTo>
                  <a:pt x="1339" y="1818"/>
                </a:lnTo>
                <a:lnTo>
                  <a:pt x="1334" y="1817"/>
                </a:lnTo>
                <a:lnTo>
                  <a:pt x="1334" y="1678"/>
                </a:lnTo>
                <a:lnTo>
                  <a:pt x="1343" y="1680"/>
                </a:lnTo>
                <a:lnTo>
                  <a:pt x="1356" y="1684"/>
                </a:lnTo>
                <a:lnTo>
                  <a:pt x="1375" y="1688"/>
                </a:lnTo>
                <a:lnTo>
                  <a:pt x="1397" y="1693"/>
                </a:lnTo>
                <a:lnTo>
                  <a:pt x="1422" y="1697"/>
                </a:lnTo>
                <a:lnTo>
                  <a:pt x="1448" y="1700"/>
                </a:lnTo>
                <a:lnTo>
                  <a:pt x="1477" y="1701"/>
                </a:lnTo>
                <a:lnTo>
                  <a:pt x="1507" y="1699"/>
                </a:lnTo>
                <a:lnTo>
                  <a:pt x="1531" y="1696"/>
                </a:lnTo>
                <a:lnTo>
                  <a:pt x="1552" y="1690"/>
                </a:lnTo>
                <a:lnTo>
                  <a:pt x="1568" y="1681"/>
                </a:lnTo>
                <a:lnTo>
                  <a:pt x="1578" y="1671"/>
                </a:lnTo>
                <a:lnTo>
                  <a:pt x="1585" y="1658"/>
                </a:lnTo>
                <a:lnTo>
                  <a:pt x="1587" y="1644"/>
                </a:lnTo>
                <a:lnTo>
                  <a:pt x="1585" y="1629"/>
                </a:lnTo>
                <a:lnTo>
                  <a:pt x="1578" y="1618"/>
                </a:lnTo>
                <a:lnTo>
                  <a:pt x="1567" y="1607"/>
                </a:lnTo>
                <a:lnTo>
                  <a:pt x="1553" y="1598"/>
                </a:lnTo>
                <a:lnTo>
                  <a:pt x="1537" y="1590"/>
                </a:lnTo>
                <a:lnTo>
                  <a:pt x="1520" y="1584"/>
                </a:lnTo>
                <a:lnTo>
                  <a:pt x="1509" y="1581"/>
                </a:lnTo>
                <a:lnTo>
                  <a:pt x="1498" y="1577"/>
                </a:lnTo>
                <a:lnTo>
                  <a:pt x="1487" y="1574"/>
                </a:lnTo>
                <a:lnTo>
                  <a:pt x="1462" y="1565"/>
                </a:lnTo>
                <a:lnTo>
                  <a:pt x="1439" y="1555"/>
                </a:lnTo>
                <a:lnTo>
                  <a:pt x="1416" y="1542"/>
                </a:lnTo>
                <a:lnTo>
                  <a:pt x="1396" y="1528"/>
                </a:lnTo>
                <a:lnTo>
                  <a:pt x="1378" y="1512"/>
                </a:lnTo>
                <a:lnTo>
                  <a:pt x="1363" y="1494"/>
                </a:lnTo>
                <a:lnTo>
                  <a:pt x="1350" y="1473"/>
                </a:lnTo>
                <a:lnTo>
                  <a:pt x="1341" y="1451"/>
                </a:lnTo>
                <a:lnTo>
                  <a:pt x="1334" y="1425"/>
                </a:lnTo>
                <a:lnTo>
                  <a:pt x="1332" y="1396"/>
                </a:lnTo>
                <a:lnTo>
                  <a:pt x="1334" y="1364"/>
                </a:lnTo>
                <a:lnTo>
                  <a:pt x="1342" y="1333"/>
                </a:lnTo>
                <a:lnTo>
                  <a:pt x="1354" y="1306"/>
                </a:lnTo>
                <a:lnTo>
                  <a:pt x="1371" y="1281"/>
                </a:lnTo>
                <a:lnTo>
                  <a:pt x="1392" y="1259"/>
                </a:lnTo>
                <a:lnTo>
                  <a:pt x="1417" y="1241"/>
                </a:lnTo>
                <a:lnTo>
                  <a:pt x="1446" y="1227"/>
                </a:lnTo>
                <a:lnTo>
                  <a:pt x="1479" y="1216"/>
                </a:lnTo>
                <a:lnTo>
                  <a:pt x="1515" y="1210"/>
                </a:lnTo>
                <a:lnTo>
                  <a:pt x="1556" y="1208"/>
                </a:lnTo>
                <a:close/>
                <a:moveTo>
                  <a:pt x="3381" y="493"/>
                </a:moveTo>
                <a:lnTo>
                  <a:pt x="3400" y="496"/>
                </a:lnTo>
                <a:lnTo>
                  <a:pt x="3418" y="503"/>
                </a:lnTo>
                <a:lnTo>
                  <a:pt x="3434" y="515"/>
                </a:lnTo>
                <a:lnTo>
                  <a:pt x="3446" y="531"/>
                </a:lnTo>
                <a:lnTo>
                  <a:pt x="3453" y="548"/>
                </a:lnTo>
                <a:lnTo>
                  <a:pt x="3456" y="569"/>
                </a:lnTo>
                <a:lnTo>
                  <a:pt x="3456" y="727"/>
                </a:lnTo>
                <a:lnTo>
                  <a:pt x="3453" y="748"/>
                </a:lnTo>
                <a:lnTo>
                  <a:pt x="3446" y="766"/>
                </a:lnTo>
                <a:lnTo>
                  <a:pt x="3434" y="780"/>
                </a:lnTo>
                <a:lnTo>
                  <a:pt x="3418" y="793"/>
                </a:lnTo>
                <a:lnTo>
                  <a:pt x="3400" y="801"/>
                </a:lnTo>
                <a:lnTo>
                  <a:pt x="3381" y="803"/>
                </a:lnTo>
                <a:lnTo>
                  <a:pt x="3361" y="801"/>
                </a:lnTo>
                <a:lnTo>
                  <a:pt x="3343" y="793"/>
                </a:lnTo>
                <a:lnTo>
                  <a:pt x="3328" y="780"/>
                </a:lnTo>
                <a:lnTo>
                  <a:pt x="3316" y="766"/>
                </a:lnTo>
                <a:lnTo>
                  <a:pt x="3308" y="748"/>
                </a:lnTo>
                <a:lnTo>
                  <a:pt x="3306" y="727"/>
                </a:lnTo>
                <a:lnTo>
                  <a:pt x="3306" y="569"/>
                </a:lnTo>
                <a:lnTo>
                  <a:pt x="3308" y="548"/>
                </a:lnTo>
                <a:lnTo>
                  <a:pt x="3316" y="531"/>
                </a:lnTo>
                <a:lnTo>
                  <a:pt x="3328" y="515"/>
                </a:lnTo>
                <a:lnTo>
                  <a:pt x="3343" y="503"/>
                </a:lnTo>
                <a:lnTo>
                  <a:pt x="3361" y="496"/>
                </a:lnTo>
                <a:lnTo>
                  <a:pt x="3381" y="493"/>
                </a:lnTo>
                <a:close/>
                <a:moveTo>
                  <a:pt x="1728" y="493"/>
                </a:moveTo>
                <a:lnTo>
                  <a:pt x="1748" y="496"/>
                </a:lnTo>
                <a:lnTo>
                  <a:pt x="1766" y="503"/>
                </a:lnTo>
                <a:lnTo>
                  <a:pt x="1781" y="515"/>
                </a:lnTo>
                <a:lnTo>
                  <a:pt x="1793" y="531"/>
                </a:lnTo>
                <a:lnTo>
                  <a:pt x="1800" y="548"/>
                </a:lnTo>
                <a:lnTo>
                  <a:pt x="1803" y="569"/>
                </a:lnTo>
                <a:lnTo>
                  <a:pt x="1803" y="727"/>
                </a:lnTo>
                <a:lnTo>
                  <a:pt x="1800" y="748"/>
                </a:lnTo>
                <a:lnTo>
                  <a:pt x="1793" y="766"/>
                </a:lnTo>
                <a:lnTo>
                  <a:pt x="1781" y="780"/>
                </a:lnTo>
                <a:lnTo>
                  <a:pt x="1766" y="793"/>
                </a:lnTo>
                <a:lnTo>
                  <a:pt x="1748" y="801"/>
                </a:lnTo>
                <a:lnTo>
                  <a:pt x="1728" y="803"/>
                </a:lnTo>
                <a:lnTo>
                  <a:pt x="1708" y="801"/>
                </a:lnTo>
                <a:lnTo>
                  <a:pt x="1690" y="793"/>
                </a:lnTo>
                <a:lnTo>
                  <a:pt x="1675" y="780"/>
                </a:lnTo>
                <a:lnTo>
                  <a:pt x="1663" y="766"/>
                </a:lnTo>
                <a:lnTo>
                  <a:pt x="1656" y="748"/>
                </a:lnTo>
                <a:lnTo>
                  <a:pt x="1653" y="727"/>
                </a:lnTo>
                <a:lnTo>
                  <a:pt x="1653" y="569"/>
                </a:lnTo>
                <a:lnTo>
                  <a:pt x="1656" y="548"/>
                </a:lnTo>
                <a:lnTo>
                  <a:pt x="1663" y="531"/>
                </a:lnTo>
                <a:lnTo>
                  <a:pt x="1675" y="515"/>
                </a:lnTo>
                <a:lnTo>
                  <a:pt x="1690" y="503"/>
                </a:lnTo>
                <a:lnTo>
                  <a:pt x="1708" y="496"/>
                </a:lnTo>
                <a:lnTo>
                  <a:pt x="1728" y="493"/>
                </a:lnTo>
                <a:close/>
                <a:moveTo>
                  <a:pt x="75" y="493"/>
                </a:moveTo>
                <a:lnTo>
                  <a:pt x="95" y="496"/>
                </a:lnTo>
                <a:lnTo>
                  <a:pt x="113" y="503"/>
                </a:lnTo>
                <a:lnTo>
                  <a:pt x="129" y="515"/>
                </a:lnTo>
                <a:lnTo>
                  <a:pt x="140" y="531"/>
                </a:lnTo>
                <a:lnTo>
                  <a:pt x="148" y="548"/>
                </a:lnTo>
                <a:lnTo>
                  <a:pt x="151" y="569"/>
                </a:lnTo>
                <a:lnTo>
                  <a:pt x="151" y="727"/>
                </a:lnTo>
                <a:lnTo>
                  <a:pt x="148" y="748"/>
                </a:lnTo>
                <a:lnTo>
                  <a:pt x="140" y="766"/>
                </a:lnTo>
                <a:lnTo>
                  <a:pt x="129" y="780"/>
                </a:lnTo>
                <a:lnTo>
                  <a:pt x="113" y="793"/>
                </a:lnTo>
                <a:lnTo>
                  <a:pt x="95" y="801"/>
                </a:lnTo>
                <a:lnTo>
                  <a:pt x="75" y="803"/>
                </a:lnTo>
                <a:lnTo>
                  <a:pt x="56" y="801"/>
                </a:lnTo>
                <a:lnTo>
                  <a:pt x="38" y="793"/>
                </a:lnTo>
                <a:lnTo>
                  <a:pt x="22" y="780"/>
                </a:lnTo>
                <a:lnTo>
                  <a:pt x="10" y="766"/>
                </a:lnTo>
                <a:lnTo>
                  <a:pt x="3" y="748"/>
                </a:lnTo>
                <a:lnTo>
                  <a:pt x="0" y="727"/>
                </a:lnTo>
                <a:lnTo>
                  <a:pt x="0" y="569"/>
                </a:lnTo>
                <a:lnTo>
                  <a:pt x="3" y="548"/>
                </a:lnTo>
                <a:lnTo>
                  <a:pt x="10" y="531"/>
                </a:lnTo>
                <a:lnTo>
                  <a:pt x="22" y="515"/>
                </a:lnTo>
                <a:lnTo>
                  <a:pt x="38" y="503"/>
                </a:lnTo>
                <a:lnTo>
                  <a:pt x="56" y="496"/>
                </a:lnTo>
                <a:lnTo>
                  <a:pt x="75" y="493"/>
                </a:lnTo>
                <a:close/>
                <a:moveTo>
                  <a:pt x="2968" y="285"/>
                </a:moveTo>
                <a:lnTo>
                  <a:pt x="2988" y="287"/>
                </a:lnTo>
                <a:lnTo>
                  <a:pt x="3006" y="295"/>
                </a:lnTo>
                <a:lnTo>
                  <a:pt x="3021" y="307"/>
                </a:lnTo>
                <a:lnTo>
                  <a:pt x="3033" y="322"/>
                </a:lnTo>
                <a:lnTo>
                  <a:pt x="3040" y="340"/>
                </a:lnTo>
                <a:lnTo>
                  <a:pt x="3043" y="360"/>
                </a:lnTo>
                <a:lnTo>
                  <a:pt x="3043" y="727"/>
                </a:lnTo>
                <a:lnTo>
                  <a:pt x="3040" y="748"/>
                </a:lnTo>
                <a:lnTo>
                  <a:pt x="3033" y="766"/>
                </a:lnTo>
                <a:lnTo>
                  <a:pt x="3021" y="780"/>
                </a:lnTo>
                <a:lnTo>
                  <a:pt x="3006" y="793"/>
                </a:lnTo>
                <a:lnTo>
                  <a:pt x="2988" y="801"/>
                </a:lnTo>
                <a:lnTo>
                  <a:pt x="2968" y="803"/>
                </a:lnTo>
                <a:lnTo>
                  <a:pt x="2947" y="801"/>
                </a:lnTo>
                <a:lnTo>
                  <a:pt x="2929" y="793"/>
                </a:lnTo>
                <a:lnTo>
                  <a:pt x="2915" y="780"/>
                </a:lnTo>
                <a:lnTo>
                  <a:pt x="2903" y="766"/>
                </a:lnTo>
                <a:lnTo>
                  <a:pt x="2895" y="748"/>
                </a:lnTo>
                <a:lnTo>
                  <a:pt x="2893" y="727"/>
                </a:lnTo>
                <a:lnTo>
                  <a:pt x="2893" y="360"/>
                </a:lnTo>
                <a:lnTo>
                  <a:pt x="2895" y="340"/>
                </a:lnTo>
                <a:lnTo>
                  <a:pt x="2903" y="322"/>
                </a:lnTo>
                <a:lnTo>
                  <a:pt x="2915" y="307"/>
                </a:lnTo>
                <a:lnTo>
                  <a:pt x="2929" y="295"/>
                </a:lnTo>
                <a:lnTo>
                  <a:pt x="2947" y="287"/>
                </a:lnTo>
                <a:lnTo>
                  <a:pt x="2968" y="285"/>
                </a:lnTo>
                <a:close/>
                <a:moveTo>
                  <a:pt x="2142" y="285"/>
                </a:moveTo>
                <a:lnTo>
                  <a:pt x="2162" y="287"/>
                </a:lnTo>
                <a:lnTo>
                  <a:pt x="2179" y="295"/>
                </a:lnTo>
                <a:lnTo>
                  <a:pt x="2194" y="307"/>
                </a:lnTo>
                <a:lnTo>
                  <a:pt x="2207" y="322"/>
                </a:lnTo>
                <a:lnTo>
                  <a:pt x="2214" y="340"/>
                </a:lnTo>
                <a:lnTo>
                  <a:pt x="2216" y="360"/>
                </a:lnTo>
                <a:lnTo>
                  <a:pt x="2216" y="727"/>
                </a:lnTo>
                <a:lnTo>
                  <a:pt x="2214" y="748"/>
                </a:lnTo>
                <a:lnTo>
                  <a:pt x="2207" y="766"/>
                </a:lnTo>
                <a:lnTo>
                  <a:pt x="2194" y="780"/>
                </a:lnTo>
                <a:lnTo>
                  <a:pt x="2179" y="793"/>
                </a:lnTo>
                <a:lnTo>
                  <a:pt x="2162" y="801"/>
                </a:lnTo>
                <a:lnTo>
                  <a:pt x="2142" y="803"/>
                </a:lnTo>
                <a:lnTo>
                  <a:pt x="2122" y="801"/>
                </a:lnTo>
                <a:lnTo>
                  <a:pt x="2104" y="793"/>
                </a:lnTo>
                <a:lnTo>
                  <a:pt x="2088" y="780"/>
                </a:lnTo>
                <a:lnTo>
                  <a:pt x="2077" y="766"/>
                </a:lnTo>
                <a:lnTo>
                  <a:pt x="2069" y="748"/>
                </a:lnTo>
                <a:lnTo>
                  <a:pt x="2066" y="727"/>
                </a:lnTo>
                <a:lnTo>
                  <a:pt x="2066" y="360"/>
                </a:lnTo>
                <a:lnTo>
                  <a:pt x="2069" y="340"/>
                </a:lnTo>
                <a:lnTo>
                  <a:pt x="2077" y="322"/>
                </a:lnTo>
                <a:lnTo>
                  <a:pt x="2088" y="307"/>
                </a:lnTo>
                <a:lnTo>
                  <a:pt x="2104" y="295"/>
                </a:lnTo>
                <a:lnTo>
                  <a:pt x="2122" y="287"/>
                </a:lnTo>
                <a:lnTo>
                  <a:pt x="2142" y="285"/>
                </a:lnTo>
                <a:close/>
                <a:moveTo>
                  <a:pt x="1315" y="285"/>
                </a:moveTo>
                <a:lnTo>
                  <a:pt x="1335" y="287"/>
                </a:lnTo>
                <a:lnTo>
                  <a:pt x="1353" y="295"/>
                </a:lnTo>
                <a:lnTo>
                  <a:pt x="1368" y="307"/>
                </a:lnTo>
                <a:lnTo>
                  <a:pt x="1380" y="322"/>
                </a:lnTo>
                <a:lnTo>
                  <a:pt x="1388" y="340"/>
                </a:lnTo>
                <a:lnTo>
                  <a:pt x="1390" y="360"/>
                </a:lnTo>
                <a:lnTo>
                  <a:pt x="1390" y="727"/>
                </a:lnTo>
                <a:lnTo>
                  <a:pt x="1388" y="748"/>
                </a:lnTo>
                <a:lnTo>
                  <a:pt x="1380" y="766"/>
                </a:lnTo>
                <a:lnTo>
                  <a:pt x="1368" y="780"/>
                </a:lnTo>
                <a:lnTo>
                  <a:pt x="1353" y="793"/>
                </a:lnTo>
                <a:lnTo>
                  <a:pt x="1335" y="801"/>
                </a:lnTo>
                <a:lnTo>
                  <a:pt x="1315" y="803"/>
                </a:lnTo>
                <a:lnTo>
                  <a:pt x="1295" y="801"/>
                </a:lnTo>
                <a:lnTo>
                  <a:pt x="1277" y="793"/>
                </a:lnTo>
                <a:lnTo>
                  <a:pt x="1262" y="780"/>
                </a:lnTo>
                <a:lnTo>
                  <a:pt x="1250" y="766"/>
                </a:lnTo>
                <a:lnTo>
                  <a:pt x="1242" y="748"/>
                </a:lnTo>
                <a:lnTo>
                  <a:pt x="1240" y="727"/>
                </a:lnTo>
                <a:lnTo>
                  <a:pt x="1240" y="360"/>
                </a:lnTo>
                <a:lnTo>
                  <a:pt x="1242" y="340"/>
                </a:lnTo>
                <a:lnTo>
                  <a:pt x="1250" y="322"/>
                </a:lnTo>
                <a:lnTo>
                  <a:pt x="1262" y="307"/>
                </a:lnTo>
                <a:lnTo>
                  <a:pt x="1277" y="295"/>
                </a:lnTo>
                <a:lnTo>
                  <a:pt x="1295" y="287"/>
                </a:lnTo>
                <a:lnTo>
                  <a:pt x="1315" y="285"/>
                </a:lnTo>
                <a:close/>
                <a:moveTo>
                  <a:pt x="488" y="285"/>
                </a:moveTo>
                <a:lnTo>
                  <a:pt x="508" y="287"/>
                </a:lnTo>
                <a:lnTo>
                  <a:pt x="527" y="295"/>
                </a:lnTo>
                <a:lnTo>
                  <a:pt x="541" y="307"/>
                </a:lnTo>
                <a:lnTo>
                  <a:pt x="553" y="322"/>
                </a:lnTo>
                <a:lnTo>
                  <a:pt x="561" y="340"/>
                </a:lnTo>
                <a:lnTo>
                  <a:pt x="563" y="360"/>
                </a:lnTo>
                <a:lnTo>
                  <a:pt x="563" y="727"/>
                </a:lnTo>
                <a:lnTo>
                  <a:pt x="561" y="748"/>
                </a:lnTo>
                <a:lnTo>
                  <a:pt x="553" y="766"/>
                </a:lnTo>
                <a:lnTo>
                  <a:pt x="541" y="780"/>
                </a:lnTo>
                <a:lnTo>
                  <a:pt x="527" y="793"/>
                </a:lnTo>
                <a:lnTo>
                  <a:pt x="508" y="801"/>
                </a:lnTo>
                <a:lnTo>
                  <a:pt x="488" y="803"/>
                </a:lnTo>
                <a:lnTo>
                  <a:pt x="468" y="801"/>
                </a:lnTo>
                <a:lnTo>
                  <a:pt x="450" y="793"/>
                </a:lnTo>
                <a:lnTo>
                  <a:pt x="436" y="780"/>
                </a:lnTo>
                <a:lnTo>
                  <a:pt x="423" y="766"/>
                </a:lnTo>
                <a:lnTo>
                  <a:pt x="416" y="748"/>
                </a:lnTo>
                <a:lnTo>
                  <a:pt x="414" y="727"/>
                </a:lnTo>
                <a:lnTo>
                  <a:pt x="414" y="360"/>
                </a:lnTo>
                <a:lnTo>
                  <a:pt x="416" y="340"/>
                </a:lnTo>
                <a:lnTo>
                  <a:pt x="423" y="322"/>
                </a:lnTo>
                <a:lnTo>
                  <a:pt x="436" y="307"/>
                </a:lnTo>
                <a:lnTo>
                  <a:pt x="450" y="295"/>
                </a:lnTo>
                <a:lnTo>
                  <a:pt x="468" y="287"/>
                </a:lnTo>
                <a:lnTo>
                  <a:pt x="488" y="285"/>
                </a:lnTo>
                <a:close/>
                <a:moveTo>
                  <a:pt x="2555" y="0"/>
                </a:moveTo>
                <a:lnTo>
                  <a:pt x="2575" y="2"/>
                </a:lnTo>
                <a:lnTo>
                  <a:pt x="2593" y="10"/>
                </a:lnTo>
                <a:lnTo>
                  <a:pt x="2608" y="22"/>
                </a:lnTo>
                <a:lnTo>
                  <a:pt x="2619" y="37"/>
                </a:lnTo>
                <a:lnTo>
                  <a:pt x="2628" y="55"/>
                </a:lnTo>
                <a:lnTo>
                  <a:pt x="2630" y="75"/>
                </a:lnTo>
                <a:lnTo>
                  <a:pt x="2630" y="879"/>
                </a:lnTo>
                <a:lnTo>
                  <a:pt x="2628" y="899"/>
                </a:lnTo>
                <a:lnTo>
                  <a:pt x="2619" y="917"/>
                </a:lnTo>
                <a:lnTo>
                  <a:pt x="2608" y="931"/>
                </a:lnTo>
                <a:lnTo>
                  <a:pt x="2593" y="944"/>
                </a:lnTo>
                <a:lnTo>
                  <a:pt x="2575" y="951"/>
                </a:lnTo>
                <a:lnTo>
                  <a:pt x="2555" y="953"/>
                </a:lnTo>
                <a:lnTo>
                  <a:pt x="2535" y="951"/>
                </a:lnTo>
                <a:lnTo>
                  <a:pt x="2517" y="944"/>
                </a:lnTo>
                <a:lnTo>
                  <a:pt x="2502" y="931"/>
                </a:lnTo>
                <a:lnTo>
                  <a:pt x="2490" y="917"/>
                </a:lnTo>
                <a:lnTo>
                  <a:pt x="2483" y="899"/>
                </a:lnTo>
                <a:lnTo>
                  <a:pt x="2480" y="879"/>
                </a:lnTo>
                <a:lnTo>
                  <a:pt x="2480" y="75"/>
                </a:lnTo>
                <a:lnTo>
                  <a:pt x="2483" y="55"/>
                </a:lnTo>
                <a:lnTo>
                  <a:pt x="2490" y="37"/>
                </a:lnTo>
                <a:lnTo>
                  <a:pt x="2502" y="22"/>
                </a:lnTo>
                <a:lnTo>
                  <a:pt x="2517" y="10"/>
                </a:lnTo>
                <a:lnTo>
                  <a:pt x="2535" y="2"/>
                </a:lnTo>
                <a:lnTo>
                  <a:pt x="2555" y="0"/>
                </a:lnTo>
                <a:close/>
                <a:moveTo>
                  <a:pt x="902" y="0"/>
                </a:moveTo>
                <a:lnTo>
                  <a:pt x="922" y="2"/>
                </a:lnTo>
                <a:lnTo>
                  <a:pt x="939" y="10"/>
                </a:lnTo>
                <a:lnTo>
                  <a:pt x="955" y="22"/>
                </a:lnTo>
                <a:lnTo>
                  <a:pt x="967" y="37"/>
                </a:lnTo>
                <a:lnTo>
                  <a:pt x="974" y="55"/>
                </a:lnTo>
                <a:lnTo>
                  <a:pt x="977" y="75"/>
                </a:lnTo>
                <a:lnTo>
                  <a:pt x="977" y="879"/>
                </a:lnTo>
                <a:lnTo>
                  <a:pt x="974" y="899"/>
                </a:lnTo>
                <a:lnTo>
                  <a:pt x="967" y="917"/>
                </a:lnTo>
                <a:lnTo>
                  <a:pt x="955" y="931"/>
                </a:lnTo>
                <a:lnTo>
                  <a:pt x="939" y="944"/>
                </a:lnTo>
                <a:lnTo>
                  <a:pt x="922" y="951"/>
                </a:lnTo>
                <a:lnTo>
                  <a:pt x="902" y="953"/>
                </a:lnTo>
                <a:lnTo>
                  <a:pt x="882" y="951"/>
                </a:lnTo>
                <a:lnTo>
                  <a:pt x="864" y="944"/>
                </a:lnTo>
                <a:lnTo>
                  <a:pt x="848" y="931"/>
                </a:lnTo>
                <a:lnTo>
                  <a:pt x="837" y="917"/>
                </a:lnTo>
                <a:lnTo>
                  <a:pt x="829" y="899"/>
                </a:lnTo>
                <a:lnTo>
                  <a:pt x="826" y="879"/>
                </a:lnTo>
                <a:lnTo>
                  <a:pt x="826" y="75"/>
                </a:lnTo>
                <a:lnTo>
                  <a:pt x="829" y="55"/>
                </a:lnTo>
                <a:lnTo>
                  <a:pt x="837" y="37"/>
                </a:lnTo>
                <a:lnTo>
                  <a:pt x="848" y="22"/>
                </a:lnTo>
                <a:lnTo>
                  <a:pt x="864" y="10"/>
                </a:lnTo>
                <a:lnTo>
                  <a:pt x="882" y="2"/>
                </a:lnTo>
                <a:lnTo>
                  <a:pt x="902" y="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spcFirstLastPara="1" wrap="square" lIns="121900" tIns="60933" rIns="121900" bIns="60933" anchor="t" anchorCtr="0">
            <a:no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Tx/>
              <a:buNone/>
              <a:tabLst/>
              <a:defRPr/>
            </a:pPr>
            <a:endParaRPr kumimoji="0" sz="2400" b="0" i="0" u="none" strike="noStrike" kern="0" cap="none" spc="0" normalizeH="0" baseline="0" noProof="0">
              <a:ln>
                <a:noFill/>
              </a:ln>
              <a:solidFill>
                <a:srgbClr val="005073"/>
              </a:solidFill>
              <a:effectLst/>
              <a:uLnTx/>
              <a:uFillTx/>
              <a:latin typeface="CiscoSansTT ExtraLight" panose="020B0303020201020303" pitchFamily="34" charset="0"/>
              <a:ea typeface="+mn-ea"/>
              <a:cs typeface="CiscoSansTT ExtraLight" panose="020B0303020201020303" pitchFamily="34" charset="0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50256640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F2463F92-7F8B-D443-90F0-F6EE58D4CBE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667" y="709084"/>
            <a:ext cx="10752667" cy="903816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/>
              <a:t>Proactive steps to success: </a:t>
            </a:r>
            <a:br>
              <a:rPr lang="en-US"/>
            </a:br>
            <a:r>
              <a:rPr lang="en-US" sz="2400">
                <a:solidFill>
                  <a:schemeClr val="accent1"/>
                </a:solidFill>
              </a:rPr>
              <a:t>Four critical factors</a:t>
            </a:r>
            <a:endParaRPr lang="en-US" sz="1800">
              <a:solidFill>
                <a:schemeClr val="accent1"/>
              </a:solidFill>
            </a:endParaRPr>
          </a:p>
        </p:txBody>
      </p:sp>
      <p:sp>
        <p:nvSpPr>
          <p:cNvPr id="39" name="Text Box 56" descr="© INSCALE GmbH, 26.05.2010&#10;http://www.presentationload.com/">
            <a:extLst>
              <a:ext uri="{FF2B5EF4-FFF2-40B4-BE49-F238E27FC236}">
                <a16:creationId xmlns:a16="http://schemas.microsoft.com/office/drawing/2014/main" id="{2265CB41-66F7-CB49-916E-6523505ED961}"/>
              </a:ext>
            </a:extLst>
          </p:cNvPr>
          <p:cNvSpPr txBox="1">
            <a:spLocks noChangeArrowheads="1"/>
          </p:cNvSpPr>
          <p:nvPr/>
        </p:nvSpPr>
        <p:spPr bwMode="gray">
          <a:xfrm>
            <a:off x="725805" y="4749523"/>
            <a:ext cx="2278652" cy="139939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anchor="t" anchorCtr="0">
            <a:noAutofit/>
          </a:bodyPr>
          <a:lstStyle/>
          <a:p>
            <a:pPr marL="0" marR="0" lvl="0" indent="0" algn="l" defTabSz="609585" rtl="0" eaLnBrk="1" fontAlgn="base" latinLnBrk="0" hangingPunct="1">
              <a:lnSpc>
                <a:spcPct val="110000"/>
              </a:lnSpc>
              <a:spcBef>
                <a:spcPts val="0"/>
              </a:spcBef>
              <a:spcAft>
                <a:spcPts val="9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000" b="0" i="0" u="none" strike="noStrike" kern="0" cap="none" spc="0" normalizeH="0" baseline="0" noProof="1">
                <a:ln>
                  <a:noFill/>
                </a:ln>
                <a:solidFill>
                  <a:srgbClr val="00BCEB"/>
                </a:solidFill>
                <a:effectLst/>
                <a:uLnTx/>
                <a:uFillTx/>
                <a:latin typeface="CiscoSansTT ExtraLight"/>
                <a:ea typeface="ＭＳ Ｐゴシック" charset="0"/>
                <a:cs typeface="Calibri" pitchFamily="34" charset="0"/>
              </a:rPr>
              <a:t>Address Risks</a:t>
            </a:r>
          </a:p>
          <a:p>
            <a:pPr marL="0" marR="0" lvl="0" indent="0" algn="l" defTabSz="914400" rtl="0" eaLnBrk="1" fontAlgn="base" latinLnBrk="0" hangingPunct="1">
              <a:lnSpc>
                <a:spcPct val="110000"/>
              </a:lnSpc>
              <a:spcBef>
                <a:spcPts val="0"/>
              </a:spcBef>
              <a:spcAft>
                <a:spcPts val="9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14284A"/>
                </a:solidFill>
                <a:effectLst/>
                <a:uLnTx/>
                <a:uFillTx/>
                <a:latin typeface="CiscoSansTT ExtraLight"/>
                <a:ea typeface="+mn-ea"/>
                <a:cs typeface="+mn-cs"/>
              </a:rPr>
              <a:t>Identify risk factors with expert insights to pre-empt or resolve more quickly</a:t>
            </a:r>
          </a:p>
        </p:txBody>
      </p:sp>
      <p:sp>
        <p:nvSpPr>
          <p:cNvPr id="42" name="Text Box 56" descr="© INSCALE GmbH, 26.05.2010&#10;http://www.presentationload.com/">
            <a:extLst>
              <a:ext uri="{FF2B5EF4-FFF2-40B4-BE49-F238E27FC236}">
                <a16:creationId xmlns:a16="http://schemas.microsoft.com/office/drawing/2014/main" id="{03A072DA-8B18-7E4E-BCAF-D7CD9B2F4523}"/>
              </a:ext>
            </a:extLst>
          </p:cNvPr>
          <p:cNvSpPr txBox="1">
            <a:spLocks noChangeArrowheads="1"/>
          </p:cNvSpPr>
          <p:nvPr/>
        </p:nvSpPr>
        <p:spPr bwMode="gray">
          <a:xfrm>
            <a:off x="8788586" y="2920023"/>
            <a:ext cx="2108013" cy="18005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anchor="t" anchorCtr="0">
            <a:noAutofit/>
          </a:bodyPr>
          <a:lstStyle/>
          <a:p>
            <a:pPr marL="0" marR="0" lvl="0" indent="0" algn="l" defTabSz="609585" rtl="0" eaLnBrk="1" fontAlgn="base" latinLnBrk="0" hangingPunct="1">
              <a:lnSpc>
                <a:spcPct val="110000"/>
              </a:lnSpc>
              <a:spcBef>
                <a:spcPts val="0"/>
              </a:spcBef>
              <a:spcAft>
                <a:spcPts val="9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000" b="0" i="0" u="none" strike="noStrike" kern="0" cap="none" spc="0" normalizeH="0" baseline="0" noProof="1">
                <a:ln>
                  <a:noFill/>
                </a:ln>
                <a:solidFill>
                  <a:srgbClr val="FBAB18"/>
                </a:solidFill>
                <a:effectLst/>
                <a:uLnTx/>
                <a:uFillTx/>
                <a:latin typeface="CiscoSansTT ExtraLight"/>
                <a:ea typeface="ＭＳ Ｐゴシック" charset="0"/>
                <a:cs typeface="Calibri" pitchFamily="34" charset="0"/>
              </a:rPr>
              <a:t>Speed Transformation</a:t>
            </a:r>
          </a:p>
          <a:p>
            <a:pPr marL="0" marR="0" lvl="0" indent="0" algn="l" defTabSz="609585" rtl="0" eaLnBrk="1" fontAlgn="base" latinLnBrk="0" hangingPunct="1">
              <a:lnSpc>
                <a:spcPct val="110000"/>
              </a:lnSpc>
              <a:spcBef>
                <a:spcPts val="0"/>
              </a:spcBef>
              <a:spcAft>
                <a:spcPts val="9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14284A"/>
                </a:solidFill>
                <a:effectLst/>
                <a:uLnTx/>
                <a:uFillTx/>
                <a:latin typeface="CiscoSansTT ExtraLight"/>
                <a:ea typeface="+mn-ea"/>
                <a:cs typeface="+mn-cs"/>
              </a:rPr>
              <a:t>Implement expert guidance to facilitate strategy, planning, deployment, and adoption</a:t>
            </a:r>
          </a:p>
          <a:p>
            <a:pPr marL="0" marR="0" lvl="0" indent="0" algn="l" defTabSz="609585" rtl="0" eaLnBrk="1" fontAlgn="base" latinLnBrk="0" hangingPunct="1">
              <a:lnSpc>
                <a:spcPct val="110000"/>
              </a:lnSpc>
              <a:spcBef>
                <a:spcPts val="0"/>
              </a:spcBef>
              <a:spcAft>
                <a:spcPts val="90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0" cap="none" spc="0" normalizeH="0" baseline="0" noProof="1">
              <a:ln>
                <a:noFill/>
              </a:ln>
              <a:solidFill>
                <a:srgbClr val="14284A"/>
              </a:solidFill>
              <a:effectLst/>
              <a:uLnTx/>
              <a:uFillTx/>
              <a:latin typeface="CiscoSansTT ExtraLight"/>
              <a:ea typeface="ＭＳ Ｐゴシック" charset="0"/>
              <a:cs typeface="Calibri" pitchFamily="34" charset="0"/>
            </a:endParaRPr>
          </a:p>
          <a:p>
            <a:pPr marL="0" marR="0" lvl="0" indent="0" algn="l" defTabSz="609585" rtl="0" eaLnBrk="1" fontAlgn="base" latinLnBrk="0" hangingPunct="1">
              <a:lnSpc>
                <a:spcPct val="110000"/>
              </a:lnSpc>
              <a:spcBef>
                <a:spcPts val="0"/>
              </a:spcBef>
              <a:spcAft>
                <a:spcPts val="90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0" cap="none" spc="0" normalizeH="0" baseline="0" noProof="1">
              <a:ln>
                <a:noFill/>
              </a:ln>
              <a:solidFill>
                <a:srgbClr val="FBAB18"/>
              </a:solidFill>
              <a:effectLst/>
              <a:uLnTx/>
              <a:uFillTx/>
              <a:latin typeface="CiscoSansTT ExtraLight"/>
              <a:ea typeface="ＭＳ Ｐゴシック" charset="0"/>
              <a:cs typeface="Calibri" pitchFamily="34" charset="0"/>
            </a:endParaRPr>
          </a:p>
        </p:txBody>
      </p:sp>
      <p:sp>
        <p:nvSpPr>
          <p:cNvPr id="40" name="Text Box 56" descr="© INSCALE GmbH, 26.05.2010&#10;http://www.presentationload.com/">
            <a:extLst>
              <a:ext uri="{FF2B5EF4-FFF2-40B4-BE49-F238E27FC236}">
                <a16:creationId xmlns:a16="http://schemas.microsoft.com/office/drawing/2014/main" id="{CBFB11B2-F4AB-C74B-B63B-C7D3281830FF}"/>
              </a:ext>
            </a:extLst>
          </p:cNvPr>
          <p:cNvSpPr txBox="1">
            <a:spLocks noChangeArrowheads="1"/>
          </p:cNvSpPr>
          <p:nvPr/>
        </p:nvSpPr>
        <p:spPr bwMode="gray">
          <a:xfrm>
            <a:off x="3417378" y="4185272"/>
            <a:ext cx="1980000" cy="139939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anchor="t" anchorCtr="0">
            <a:noAutofit/>
          </a:bodyPr>
          <a:lstStyle/>
          <a:p>
            <a:pPr marL="0" marR="0" lvl="0" indent="0" algn="l" defTabSz="609585" rtl="0" eaLnBrk="1" fontAlgn="base" latinLnBrk="0" hangingPunct="1">
              <a:lnSpc>
                <a:spcPct val="110000"/>
              </a:lnSpc>
              <a:spcBef>
                <a:spcPts val="0"/>
              </a:spcBef>
              <a:spcAft>
                <a:spcPts val="9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000" b="0" i="0" u="none" strike="noStrike" kern="0" cap="none" spc="0" normalizeH="0" baseline="0" noProof="1">
                <a:ln>
                  <a:noFill/>
                </a:ln>
                <a:solidFill>
                  <a:srgbClr val="14284A"/>
                </a:solidFill>
                <a:effectLst/>
                <a:uLnTx/>
                <a:uFillTx/>
                <a:latin typeface="CiscoSansTT ExtraLight" panose="020B0303020201020303" pitchFamily="34" charset="0"/>
                <a:ea typeface="ＭＳ Ｐゴシック" charset="0"/>
                <a:cs typeface="CiscoSansTT ExtraLight" panose="020B0303020201020303" pitchFamily="34" charset="0"/>
              </a:rPr>
              <a:t>Analyze </a:t>
            </a:r>
            <a:br>
              <a:rPr kumimoji="0" lang="en-GB" sz="2000" b="0" i="0" u="none" strike="noStrike" kern="0" cap="none" spc="0" normalizeH="0" baseline="0" noProof="1">
                <a:ln>
                  <a:noFill/>
                </a:ln>
                <a:solidFill>
                  <a:srgbClr val="14284A"/>
                </a:solidFill>
                <a:effectLst/>
                <a:uLnTx/>
                <a:uFillTx/>
                <a:latin typeface="CiscoSansTT ExtraLight" panose="020B0303020201020303" pitchFamily="34" charset="0"/>
                <a:ea typeface="ＭＳ Ｐゴシック" charset="0"/>
                <a:cs typeface="CiscoSansTT ExtraLight" panose="020B0303020201020303" pitchFamily="34" charset="0"/>
              </a:rPr>
            </a:br>
            <a:r>
              <a:rPr kumimoji="0" lang="en-GB" sz="2000" b="0" i="0" u="none" strike="noStrike" kern="0" cap="none" spc="0" normalizeH="0" baseline="0" noProof="1">
                <a:ln>
                  <a:noFill/>
                </a:ln>
                <a:solidFill>
                  <a:srgbClr val="14284A"/>
                </a:solidFill>
                <a:effectLst/>
                <a:uLnTx/>
                <a:uFillTx/>
                <a:latin typeface="CiscoSansTT ExtraLight" panose="020B0303020201020303" pitchFamily="34" charset="0"/>
                <a:ea typeface="ＭＳ Ｐゴシック" charset="0"/>
                <a:cs typeface="CiscoSansTT ExtraLight" panose="020B0303020201020303" pitchFamily="34" charset="0"/>
              </a:rPr>
              <a:t>and Prioritize</a:t>
            </a:r>
          </a:p>
          <a:p>
            <a:pPr marL="0" marR="0" lvl="0" indent="0" algn="l" defTabSz="914400" rtl="0" eaLnBrk="1" fontAlgn="base" latinLnBrk="0" hangingPunct="1">
              <a:lnSpc>
                <a:spcPct val="110000"/>
              </a:lnSpc>
              <a:spcBef>
                <a:spcPts val="0"/>
              </a:spcBef>
              <a:spcAft>
                <a:spcPts val="9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14284A"/>
                </a:solidFill>
                <a:effectLst/>
                <a:uLnTx/>
                <a:uFillTx/>
                <a:latin typeface="CiscoSansTT ExtraLight"/>
                <a:ea typeface="+mn-ea"/>
                <a:cs typeface="+mn-cs"/>
              </a:rPr>
              <a:t>Enable informed and focused performance decisions</a:t>
            </a:r>
          </a:p>
        </p:txBody>
      </p:sp>
      <p:sp>
        <p:nvSpPr>
          <p:cNvPr id="41" name="Text Box 56" descr="© INSCALE GmbH, 26.05.2010&#10;http://www.presentationload.com/">
            <a:extLst>
              <a:ext uri="{FF2B5EF4-FFF2-40B4-BE49-F238E27FC236}">
                <a16:creationId xmlns:a16="http://schemas.microsoft.com/office/drawing/2014/main" id="{EF6A51E5-131A-F943-9115-3543C89DA10A}"/>
              </a:ext>
            </a:extLst>
          </p:cNvPr>
          <p:cNvSpPr txBox="1">
            <a:spLocks noChangeArrowheads="1"/>
          </p:cNvSpPr>
          <p:nvPr/>
        </p:nvSpPr>
        <p:spPr bwMode="gray">
          <a:xfrm>
            <a:off x="6094528" y="3581572"/>
            <a:ext cx="2298838" cy="200309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anchor="t" anchorCtr="0">
            <a:noAutofit/>
          </a:bodyPr>
          <a:lstStyle/>
          <a:p>
            <a:pPr marL="0" marR="0" lvl="0" indent="0" algn="l" defTabSz="609585" rtl="0" eaLnBrk="1" fontAlgn="base" latinLnBrk="0" hangingPunct="1">
              <a:lnSpc>
                <a:spcPct val="110000"/>
              </a:lnSpc>
              <a:spcBef>
                <a:spcPts val="0"/>
              </a:spcBef>
              <a:spcAft>
                <a:spcPts val="9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000" b="0" i="0" u="none" strike="noStrike" kern="0" cap="none" spc="0" normalizeH="0" baseline="0" noProof="1">
                <a:ln>
                  <a:noFill/>
                </a:ln>
                <a:solidFill>
                  <a:srgbClr val="6EBE4A"/>
                </a:solidFill>
                <a:effectLst/>
                <a:uLnTx/>
                <a:uFillTx/>
                <a:latin typeface="CiscoSansTT ExtraLight"/>
                <a:ea typeface="ＭＳ Ｐゴシック" charset="0"/>
                <a:cs typeface="Calibri" pitchFamily="34" charset="0"/>
              </a:rPr>
              <a:t>Enable </a:t>
            </a:r>
            <a:br>
              <a:rPr kumimoji="0" lang="en-GB" sz="2000" b="0" i="0" u="none" strike="noStrike" kern="0" cap="none" spc="0" normalizeH="0" baseline="0" noProof="1">
                <a:ln>
                  <a:noFill/>
                </a:ln>
                <a:solidFill>
                  <a:srgbClr val="6EBE4A"/>
                </a:solidFill>
                <a:effectLst/>
                <a:uLnTx/>
                <a:uFillTx/>
                <a:latin typeface="CiscoSansTT ExtraLight"/>
                <a:ea typeface="ＭＳ Ｐゴシック" charset="0"/>
                <a:cs typeface="Calibri" pitchFamily="34" charset="0"/>
              </a:rPr>
            </a:br>
            <a:r>
              <a:rPr kumimoji="0" lang="en-GB" sz="2000" b="0" i="0" u="none" strike="noStrike" kern="0" cap="none" spc="0" normalizeH="0" baseline="0" noProof="1">
                <a:ln>
                  <a:noFill/>
                </a:ln>
                <a:solidFill>
                  <a:srgbClr val="6EBE4A"/>
                </a:solidFill>
                <a:effectLst/>
                <a:uLnTx/>
                <a:uFillTx/>
                <a:latin typeface="CiscoSansTT ExtraLight"/>
                <a:ea typeface="ＭＳ Ｐゴシック" charset="0"/>
                <a:cs typeface="Calibri" pitchFamily="34" charset="0"/>
              </a:rPr>
              <a:t>Your Teams</a:t>
            </a:r>
          </a:p>
          <a:p>
            <a:pPr marL="0" marR="0" lvl="0" indent="0" algn="l" defTabSz="609585" rtl="0" eaLnBrk="1" fontAlgn="base" latinLnBrk="0" hangingPunct="1">
              <a:lnSpc>
                <a:spcPct val="110000"/>
              </a:lnSpc>
              <a:spcBef>
                <a:spcPts val="0"/>
              </a:spcBef>
              <a:spcAft>
                <a:spcPts val="9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14284A"/>
                </a:solidFill>
                <a:effectLst/>
                <a:uLnTx/>
                <a:uFillTx/>
                <a:latin typeface="CiscoSansTT ExtraLight" panose="020B0303020201020303" pitchFamily="34" charset="0"/>
                <a:ea typeface="+mn-ea"/>
                <a:cs typeface="CiscoSansTT ExtraLight" panose="020B0303020201020303" pitchFamily="34" charset="0"/>
              </a:rPr>
              <a:t>Use best practices and expert coaching to drive high performance and accelerate transformation</a:t>
            </a:r>
            <a:endParaRPr kumimoji="0" lang="en-GB" sz="1400" b="0" i="0" u="none" strike="noStrike" kern="0" cap="none" spc="0" normalizeH="0" baseline="0" noProof="1">
              <a:ln>
                <a:noFill/>
              </a:ln>
              <a:solidFill>
                <a:srgbClr val="14284A"/>
              </a:solidFill>
              <a:effectLst/>
              <a:uLnTx/>
              <a:uFillTx/>
              <a:latin typeface="CiscoSansTT ExtraLight"/>
              <a:ea typeface="ＭＳ Ｐゴシック" charset="0"/>
              <a:cs typeface="Calibri" pitchFamily="34" charset="0"/>
            </a:endParaRPr>
          </a:p>
        </p:txBody>
      </p:sp>
      <p:sp>
        <p:nvSpPr>
          <p:cNvPr id="3" name="Rectangle: Rounded Corners 2">
            <a:extLst>
              <a:ext uri="{FF2B5EF4-FFF2-40B4-BE49-F238E27FC236}">
                <a16:creationId xmlns:a16="http://schemas.microsoft.com/office/drawing/2014/main" id="{0343ABA1-21DF-3C47-80BC-7551D15F33A2}"/>
              </a:ext>
            </a:extLst>
          </p:cNvPr>
          <p:cNvSpPr/>
          <p:nvPr/>
        </p:nvSpPr>
        <p:spPr>
          <a:xfrm>
            <a:off x="581025" y="4547402"/>
            <a:ext cx="2520000" cy="95298"/>
          </a:xfrm>
          <a:prstGeom prst="roundRect">
            <a:avLst>
              <a:gd name="adj" fmla="val 50000"/>
            </a:avLst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iscoSansTT ExtraLight"/>
              <a:ea typeface="+mn-ea"/>
              <a:cs typeface="+mn-cs"/>
            </a:endParaRPr>
          </a:p>
        </p:txBody>
      </p:sp>
      <p:sp>
        <p:nvSpPr>
          <p:cNvPr id="47" name="Rectangle: Rounded Corners 46">
            <a:extLst>
              <a:ext uri="{FF2B5EF4-FFF2-40B4-BE49-F238E27FC236}">
                <a16:creationId xmlns:a16="http://schemas.microsoft.com/office/drawing/2014/main" id="{BC5CACDB-E7CA-F342-BBDC-AA8EAD158D05}"/>
              </a:ext>
            </a:extLst>
          </p:cNvPr>
          <p:cNvSpPr/>
          <p:nvPr/>
        </p:nvSpPr>
        <p:spPr>
          <a:xfrm>
            <a:off x="3272598" y="3995786"/>
            <a:ext cx="2520000" cy="95298"/>
          </a:xfrm>
          <a:prstGeom prst="roundRect">
            <a:avLst>
              <a:gd name="adj" fmla="val 50000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iscoSansTT ExtraLight"/>
              <a:ea typeface="+mn-ea"/>
              <a:cs typeface="+mn-cs"/>
            </a:endParaRPr>
          </a:p>
        </p:txBody>
      </p:sp>
      <p:sp>
        <p:nvSpPr>
          <p:cNvPr id="48" name="Rectangle: Rounded Corners 47">
            <a:extLst>
              <a:ext uri="{FF2B5EF4-FFF2-40B4-BE49-F238E27FC236}">
                <a16:creationId xmlns:a16="http://schemas.microsoft.com/office/drawing/2014/main" id="{E44211C9-FF0E-1542-9951-C8694F6D0A2F}"/>
              </a:ext>
            </a:extLst>
          </p:cNvPr>
          <p:cNvSpPr/>
          <p:nvPr/>
        </p:nvSpPr>
        <p:spPr>
          <a:xfrm>
            <a:off x="5949748" y="3393842"/>
            <a:ext cx="2520000" cy="95298"/>
          </a:xfrm>
          <a:prstGeom prst="roundRect">
            <a:avLst>
              <a:gd name="adj" fmla="val 50000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iscoSansTT ExtraLight"/>
              <a:ea typeface="+mn-ea"/>
              <a:cs typeface="+mn-cs"/>
            </a:endParaRPr>
          </a:p>
        </p:txBody>
      </p:sp>
      <p:sp>
        <p:nvSpPr>
          <p:cNvPr id="49" name="Rectangle: Rounded Corners 48">
            <a:extLst>
              <a:ext uri="{FF2B5EF4-FFF2-40B4-BE49-F238E27FC236}">
                <a16:creationId xmlns:a16="http://schemas.microsoft.com/office/drawing/2014/main" id="{CB11F0B8-B8F3-464B-80F7-2510BCE12320}"/>
              </a:ext>
            </a:extLst>
          </p:cNvPr>
          <p:cNvSpPr/>
          <p:nvPr/>
        </p:nvSpPr>
        <p:spPr>
          <a:xfrm>
            <a:off x="8643807" y="2791898"/>
            <a:ext cx="2520000" cy="95298"/>
          </a:xfrm>
          <a:prstGeom prst="roundRect">
            <a:avLst>
              <a:gd name="adj" fmla="val 50000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iscoSansTT ExtraLight"/>
              <a:ea typeface="+mn-ea"/>
              <a:cs typeface="+mn-cs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DD96FF8C-795E-4DF4-AAA7-4F5AF9D4F163}"/>
              </a:ext>
            </a:extLst>
          </p:cNvPr>
          <p:cNvSpPr txBox="1"/>
          <p:nvPr/>
        </p:nvSpPr>
        <p:spPr>
          <a:xfrm>
            <a:off x="725805" y="3669368"/>
            <a:ext cx="1485901" cy="86500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0" b="0" i="0" u="none" strike="noStrike" kern="1200" cap="none" spc="0" normalizeH="0" baseline="0" noProof="0">
                <a:ln>
                  <a:noFill/>
                </a:ln>
                <a:solidFill>
                  <a:srgbClr val="00BCEB"/>
                </a:solidFill>
                <a:effectLst/>
                <a:uLnTx/>
                <a:uFillTx/>
                <a:latin typeface="CiscoSansTT ExtraLight"/>
                <a:ea typeface="+mn-ea"/>
                <a:cs typeface="+mn-cs"/>
              </a:rPr>
              <a:t>01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132401FD-1EBB-45EE-BDCA-46D23E3B609D}"/>
              </a:ext>
            </a:extLst>
          </p:cNvPr>
          <p:cNvSpPr txBox="1"/>
          <p:nvPr/>
        </p:nvSpPr>
        <p:spPr>
          <a:xfrm>
            <a:off x="3417378" y="3130783"/>
            <a:ext cx="1485901" cy="86500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0" b="0" i="0" u="none" strike="noStrike" kern="1200" cap="none" spc="0" normalizeH="0" baseline="0" noProof="0">
                <a:ln>
                  <a:noFill/>
                </a:ln>
                <a:solidFill>
                  <a:srgbClr val="14284A"/>
                </a:solidFill>
                <a:effectLst/>
                <a:uLnTx/>
                <a:uFillTx/>
                <a:latin typeface="CiscoSansTT ExtraLight"/>
                <a:ea typeface="+mn-ea"/>
                <a:cs typeface="+mn-cs"/>
              </a:rPr>
              <a:t>02</a:t>
            </a: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6BE11BEA-FAAE-405E-A086-DACB1AB55886}"/>
              </a:ext>
            </a:extLst>
          </p:cNvPr>
          <p:cNvSpPr txBox="1"/>
          <p:nvPr/>
        </p:nvSpPr>
        <p:spPr>
          <a:xfrm>
            <a:off x="6094528" y="2534536"/>
            <a:ext cx="1485901" cy="86500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0" b="0" i="0" u="none" strike="noStrike" kern="1200" cap="none" spc="0" normalizeH="0" baseline="0" noProof="0">
                <a:ln>
                  <a:noFill/>
                </a:ln>
                <a:solidFill>
                  <a:srgbClr val="6EBE4A"/>
                </a:solidFill>
                <a:effectLst/>
                <a:uLnTx/>
                <a:uFillTx/>
                <a:latin typeface="CiscoSansTT ExtraLight"/>
                <a:ea typeface="+mn-ea"/>
                <a:cs typeface="+mn-cs"/>
              </a:rPr>
              <a:t>03</a:t>
            </a:r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65E3F09E-CF04-4E65-907C-B639004F3C63}"/>
              </a:ext>
            </a:extLst>
          </p:cNvPr>
          <p:cNvSpPr txBox="1"/>
          <p:nvPr/>
        </p:nvSpPr>
        <p:spPr>
          <a:xfrm>
            <a:off x="8689814" y="1926895"/>
            <a:ext cx="1485901" cy="86500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0" b="0" i="0" u="none" strike="noStrike" kern="1200" cap="none" spc="0" normalizeH="0" baseline="0" noProof="0">
                <a:ln>
                  <a:noFill/>
                </a:ln>
                <a:solidFill>
                  <a:srgbClr val="FBAB18"/>
                </a:solidFill>
                <a:effectLst/>
                <a:uLnTx/>
                <a:uFillTx/>
                <a:latin typeface="CiscoSansTT ExtraLight"/>
                <a:ea typeface="+mn-ea"/>
                <a:cs typeface="+mn-cs"/>
              </a:rPr>
              <a:t>04</a:t>
            </a:r>
          </a:p>
        </p:txBody>
      </p:sp>
    </p:spTree>
    <p:extLst>
      <p:ext uri="{BB962C8B-B14F-4D97-AF65-F5344CB8AC3E}">
        <p14:creationId xmlns:p14="http://schemas.microsoft.com/office/powerpoint/2010/main" val="45948953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Rounded Rectangle 25">
            <a:extLst>
              <a:ext uri="{FF2B5EF4-FFF2-40B4-BE49-F238E27FC236}">
                <a16:creationId xmlns:a16="http://schemas.microsoft.com/office/drawing/2014/main" id="{E9B67DE5-B840-8A4F-827C-6AC21C347D68}"/>
              </a:ext>
            </a:extLst>
          </p:cNvPr>
          <p:cNvSpPr/>
          <p:nvPr/>
        </p:nvSpPr>
        <p:spPr>
          <a:xfrm>
            <a:off x="995354" y="2718536"/>
            <a:ext cx="5995996" cy="697976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 w="127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iscoSansTT ExtraLight"/>
              <a:ea typeface="+mn-ea"/>
              <a:cs typeface="+mn-cs"/>
            </a:endParaRPr>
          </a:p>
        </p:txBody>
      </p:sp>
      <p:sp>
        <p:nvSpPr>
          <p:cNvPr id="25" name="Rounded Rectangle 24">
            <a:extLst>
              <a:ext uri="{FF2B5EF4-FFF2-40B4-BE49-F238E27FC236}">
                <a16:creationId xmlns:a16="http://schemas.microsoft.com/office/drawing/2014/main" id="{37C6535C-3878-C942-B4EE-C02242B3A90F}"/>
              </a:ext>
            </a:extLst>
          </p:cNvPr>
          <p:cNvSpPr/>
          <p:nvPr/>
        </p:nvSpPr>
        <p:spPr>
          <a:xfrm>
            <a:off x="5787227" y="2718324"/>
            <a:ext cx="5409418" cy="698400"/>
          </a:xfrm>
          <a:prstGeom prst="roundRect">
            <a:avLst>
              <a:gd name="adj" fmla="val 50000"/>
            </a:avLst>
          </a:prstGeom>
          <a:solidFill>
            <a:schemeClr val="tx2"/>
          </a:solidFill>
          <a:ln w="127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BCEB"/>
              </a:solidFill>
              <a:effectLst/>
              <a:uLnTx/>
              <a:uFillTx/>
              <a:latin typeface="CiscoSansTT ExtraLight"/>
              <a:ea typeface="+mn-ea"/>
              <a:cs typeface="+mn-cs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B6E97656-DD93-E34F-AD32-950D973F4BE1}"/>
              </a:ext>
            </a:extLst>
          </p:cNvPr>
          <p:cNvSpPr/>
          <p:nvPr/>
        </p:nvSpPr>
        <p:spPr>
          <a:xfrm>
            <a:off x="2178155" y="2898247"/>
            <a:ext cx="2735044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iscoSansTT ExtraLight" panose="020B0303020201020303" pitchFamily="34" charset="0"/>
                <a:ea typeface="+mn-ea"/>
                <a:cs typeface="CiscoSansTT ExtraLight" panose="020B0303020201020303" pitchFamily="34" charset="0"/>
              </a:rPr>
              <a:t>Regular Business disruption</a:t>
            </a:r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066226F1-4C41-7A4A-BAD6-0099150464E1}"/>
              </a:ext>
            </a:extLst>
          </p:cNvPr>
          <p:cNvSpPr/>
          <p:nvPr/>
        </p:nvSpPr>
        <p:spPr>
          <a:xfrm>
            <a:off x="7583675" y="2867469"/>
            <a:ext cx="1816523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609585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000" b="0" i="0" u="none" strike="noStrike" kern="0" cap="none" spc="0" normalizeH="0" baseline="0" noProof="1">
                <a:ln>
                  <a:noFill/>
                </a:ln>
                <a:solidFill>
                  <a:srgbClr val="00BCEB"/>
                </a:solidFill>
                <a:effectLst/>
                <a:uLnTx/>
                <a:uFillTx/>
                <a:latin typeface="CiscoSansTT ExtraLight"/>
                <a:ea typeface="ＭＳ Ｐゴシック" charset="0"/>
                <a:cs typeface="Calibri" pitchFamily="34" charset="0"/>
              </a:rPr>
              <a:t>Address Risks</a:t>
            </a:r>
          </a:p>
        </p:txBody>
      </p:sp>
      <p:sp>
        <p:nvSpPr>
          <p:cNvPr id="29" name="Rounded Rectangle 28">
            <a:extLst>
              <a:ext uri="{FF2B5EF4-FFF2-40B4-BE49-F238E27FC236}">
                <a16:creationId xmlns:a16="http://schemas.microsoft.com/office/drawing/2014/main" id="{D9315E16-2352-B044-9448-D9724489A805}"/>
              </a:ext>
            </a:extLst>
          </p:cNvPr>
          <p:cNvSpPr/>
          <p:nvPr/>
        </p:nvSpPr>
        <p:spPr>
          <a:xfrm>
            <a:off x="995354" y="3476232"/>
            <a:ext cx="5995996" cy="697976"/>
          </a:xfrm>
          <a:prstGeom prst="roundRect">
            <a:avLst>
              <a:gd name="adj" fmla="val 50000"/>
            </a:avLst>
          </a:prstGeom>
          <a:solidFill>
            <a:schemeClr val="bg2"/>
          </a:solidFill>
          <a:ln w="1270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iscoSansTT ExtraLight"/>
              <a:ea typeface="+mn-ea"/>
              <a:cs typeface="+mn-cs"/>
            </a:endParaRPr>
          </a:p>
        </p:txBody>
      </p:sp>
      <p:sp>
        <p:nvSpPr>
          <p:cNvPr id="30" name="Rounded Rectangle 29">
            <a:extLst>
              <a:ext uri="{FF2B5EF4-FFF2-40B4-BE49-F238E27FC236}">
                <a16:creationId xmlns:a16="http://schemas.microsoft.com/office/drawing/2014/main" id="{E4C89070-0B5C-CC4D-BEA3-A260F3E203A5}"/>
              </a:ext>
            </a:extLst>
          </p:cNvPr>
          <p:cNvSpPr/>
          <p:nvPr/>
        </p:nvSpPr>
        <p:spPr>
          <a:xfrm>
            <a:off x="5787227" y="3476020"/>
            <a:ext cx="5409418" cy="698400"/>
          </a:xfrm>
          <a:prstGeom prst="roundRect">
            <a:avLst>
              <a:gd name="adj" fmla="val 50000"/>
            </a:avLst>
          </a:prstGeom>
          <a:solidFill>
            <a:schemeClr val="tx2"/>
          </a:solidFill>
          <a:ln w="1270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iscoSansTT ExtraLight"/>
              <a:ea typeface="+mn-ea"/>
              <a:cs typeface="+mn-cs"/>
            </a:endParaRP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25584376-7089-284B-BF1E-5F5B9BCE3190}"/>
              </a:ext>
            </a:extLst>
          </p:cNvPr>
          <p:cNvSpPr/>
          <p:nvPr/>
        </p:nvSpPr>
        <p:spPr>
          <a:xfrm>
            <a:off x="1746146" y="3655943"/>
            <a:ext cx="3599062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iscoSansTT ExtraLight"/>
                <a:ea typeface="+mn-ea"/>
                <a:cs typeface="+mn-cs"/>
              </a:rPr>
              <a:t>Data deluge masks underlying issues​</a:t>
            </a:r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4AB67B4A-7A9E-974F-8478-E69A97DEC61F}"/>
              </a:ext>
            </a:extLst>
          </p:cNvPr>
          <p:cNvSpPr/>
          <p:nvPr/>
        </p:nvSpPr>
        <p:spPr>
          <a:xfrm>
            <a:off x="7166092" y="3625165"/>
            <a:ext cx="2651688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609585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000" b="0" i="0" u="none" strike="noStrike" kern="0" cap="none" spc="0" normalizeH="0" baseline="0" noProof="1">
                <a:ln>
                  <a:noFill/>
                </a:ln>
                <a:solidFill>
                  <a:srgbClr val="14284A"/>
                </a:solidFill>
                <a:effectLst/>
                <a:uLnTx/>
                <a:uFillTx/>
                <a:latin typeface="CiscoSansTT ExtraLight"/>
                <a:ea typeface="ＭＳ Ｐゴシック" charset="0"/>
                <a:cs typeface="CiscoSansTT ExtraLight" panose="020B0303020201020303" pitchFamily="34" charset="0"/>
              </a:rPr>
              <a:t>Analyze and Prioritize</a:t>
            </a:r>
          </a:p>
        </p:txBody>
      </p:sp>
      <p:sp>
        <p:nvSpPr>
          <p:cNvPr id="31" name="Rounded Rectangle 30">
            <a:extLst>
              <a:ext uri="{FF2B5EF4-FFF2-40B4-BE49-F238E27FC236}">
                <a16:creationId xmlns:a16="http://schemas.microsoft.com/office/drawing/2014/main" id="{25DE692A-E650-5E48-A357-428FFF9A011A}"/>
              </a:ext>
            </a:extLst>
          </p:cNvPr>
          <p:cNvSpPr/>
          <p:nvPr/>
        </p:nvSpPr>
        <p:spPr>
          <a:xfrm>
            <a:off x="995354" y="4233504"/>
            <a:ext cx="5995996" cy="697976"/>
          </a:xfrm>
          <a:prstGeom prst="roundRect">
            <a:avLst>
              <a:gd name="adj" fmla="val 50000"/>
            </a:avLst>
          </a:prstGeom>
          <a:solidFill>
            <a:schemeClr val="accent2"/>
          </a:solidFill>
          <a:ln w="127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iscoSansTT ExtraLight"/>
              <a:ea typeface="+mn-ea"/>
              <a:cs typeface="+mn-cs"/>
            </a:endParaRPr>
          </a:p>
        </p:txBody>
      </p:sp>
      <p:sp>
        <p:nvSpPr>
          <p:cNvPr id="32" name="Rounded Rectangle 31">
            <a:extLst>
              <a:ext uri="{FF2B5EF4-FFF2-40B4-BE49-F238E27FC236}">
                <a16:creationId xmlns:a16="http://schemas.microsoft.com/office/drawing/2014/main" id="{EB7BBA93-C26E-2642-8BA5-CFCCF631DC13}"/>
              </a:ext>
            </a:extLst>
          </p:cNvPr>
          <p:cNvSpPr/>
          <p:nvPr/>
        </p:nvSpPr>
        <p:spPr>
          <a:xfrm>
            <a:off x="5787227" y="4233292"/>
            <a:ext cx="5409418" cy="698400"/>
          </a:xfrm>
          <a:prstGeom prst="roundRect">
            <a:avLst>
              <a:gd name="adj" fmla="val 50000"/>
            </a:avLst>
          </a:prstGeom>
          <a:solidFill>
            <a:schemeClr val="tx2"/>
          </a:solidFill>
          <a:ln w="127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iscoSansTT ExtraLight"/>
              <a:ea typeface="+mn-ea"/>
              <a:cs typeface="+mn-cs"/>
            </a:endParaRP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99775C19-1258-7743-AC7E-8781427F4227}"/>
              </a:ext>
            </a:extLst>
          </p:cNvPr>
          <p:cNvSpPr/>
          <p:nvPr/>
        </p:nvSpPr>
        <p:spPr>
          <a:xfrm>
            <a:off x="1289290" y="4413215"/>
            <a:ext cx="4512774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iscoSansTT ExtraLight" panose="020B0303020201020303" pitchFamily="34" charset="0"/>
                <a:ea typeface="+mn-ea"/>
                <a:cs typeface="CiscoSansTT ExtraLight" panose="020B0303020201020303" pitchFamily="34" charset="0"/>
              </a:rPr>
              <a:t>Rate of technology change increases skills gap​</a:t>
            </a: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C4BB22EE-8368-7346-BC55-344A615211F2}"/>
              </a:ext>
            </a:extLst>
          </p:cNvPr>
          <p:cNvSpPr/>
          <p:nvPr/>
        </p:nvSpPr>
        <p:spPr>
          <a:xfrm>
            <a:off x="7281508" y="4382437"/>
            <a:ext cx="2420856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6EBE4A"/>
                </a:solidFill>
                <a:effectLst/>
                <a:uLnTx/>
                <a:uFillTx/>
                <a:latin typeface="CiscoSansTT ExtraLight"/>
                <a:ea typeface="+mn-ea"/>
                <a:cs typeface="CiscoSansTT ExtraLight" panose="020B0303020201020303" pitchFamily="34" charset="0"/>
              </a:rPr>
              <a:t>Enable Your Teams</a:t>
            </a:r>
          </a:p>
        </p:txBody>
      </p:sp>
      <p:sp>
        <p:nvSpPr>
          <p:cNvPr id="33" name="Rounded Rectangle 32">
            <a:extLst>
              <a:ext uri="{FF2B5EF4-FFF2-40B4-BE49-F238E27FC236}">
                <a16:creationId xmlns:a16="http://schemas.microsoft.com/office/drawing/2014/main" id="{F737C10F-14B5-054A-98EB-0CAD700C5C0D}"/>
              </a:ext>
            </a:extLst>
          </p:cNvPr>
          <p:cNvSpPr/>
          <p:nvPr/>
        </p:nvSpPr>
        <p:spPr>
          <a:xfrm>
            <a:off x="995354" y="4987532"/>
            <a:ext cx="5995996" cy="697976"/>
          </a:xfrm>
          <a:prstGeom prst="roundRect">
            <a:avLst>
              <a:gd name="adj" fmla="val 50000"/>
            </a:avLst>
          </a:prstGeom>
          <a:solidFill>
            <a:schemeClr val="accent5"/>
          </a:solidFill>
          <a:ln w="12700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iscoSansTT ExtraLight"/>
              <a:ea typeface="+mn-ea"/>
              <a:cs typeface="+mn-cs"/>
            </a:endParaRPr>
          </a:p>
        </p:txBody>
      </p:sp>
      <p:sp>
        <p:nvSpPr>
          <p:cNvPr id="34" name="Rounded Rectangle 33">
            <a:extLst>
              <a:ext uri="{FF2B5EF4-FFF2-40B4-BE49-F238E27FC236}">
                <a16:creationId xmlns:a16="http://schemas.microsoft.com/office/drawing/2014/main" id="{355CB843-5190-6A41-AB41-6CA4D2726BB6}"/>
              </a:ext>
            </a:extLst>
          </p:cNvPr>
          <p:cNvSpPr/>
          <p:nvPr/>
        </p:nvSpPr>
        <p:spPr>
          <a:xfrm>
            <a:off x="5787227" y="4987320"/>
            <a:ext cx="5409418" cy="698400"/>
          </a:xfrm>
          <a:prstGeom prst="roundRect">
            <a:avLst>
              <a:gd name="adj" fmla="val 50000"/>
            </a:avLst>
          </a:prstGeom>
          <a:solidFill>
            <a:schemeClr val="tx2"/>
          </a:solidFill>
          <a:ln w="12700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iscoSansTT ExtraLight"/>
              <a:ea typeface="+mn-ea"/>
              <a:cs typeface="+mn-cs"/>
            </a:endParaRP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4F26D0B9-16E2-4C4B-AE74-71C87D6A94B7}"/>
              </a:ext>
            </a:extLst>
          </p:cNvPr>
          <p:cNvSpPr/>
          <p:nvPr/>
        </p:nvSpPr>
        <p:spPr>
          <a:xfrm>
            <a:off x="1390679" y="5044133"/>
            <a:ext cx="4309997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iscoSansTT ExtraLight"/>
                <a:ea typeface="+mn-ea"/>
                <a:cs typeface="+mn-cs"/>
              </a:rPr>
              <a:t>Inability to transform hinders </a:t>
            </a:r>
            <a:b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iscoSansTT ExtraLight"/>
                <a:ea typeface="+mn-ea"/>
                <a:cs typeface="+mn-cs"/>
              </a:rPr>
            </a:b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iscoSansTT ExtraLight"/>
                <a:ea typeface="+mn-ea"/>
                <a:cs typeface="+mn-cs"/>
              </a:rPr>
              <a:t>business growth and innovation  ​</a:t>
            </a:r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7B3D0A83-765F-0D43-8A00-828627708424}"/>
              </a:ext>
            </a:extLst>
          </p:cNvPr>
          <p:cNvSpPr/>
          <p:nvPr/>
        </p:nvSpPr>
        <p:spPr>
          <a:xfrm>
            <a:off x="7120407" y="5136465"/>
            <a:ext cx="2743059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FBAB18"/>
                </a:solidFill>
                <a:effectLst/>
                <a:uLnTx/>
                <a:uFillTx/>
                <a:latin typeface="CiscoSansTT ExtraLight"/>
                <a:ea typeface="+mn-ea"/>
                <a:cs typeface="CiscoSansTT ExtraLight" panose="020B0303020201020303" pitchFamily="34" charset="0"/>
              </a:rPr>
              <a:t>Speed Transformation</a:t>
            </a: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882FFC12-F64E-4CB8-8EAC-836C506EEA91}"/>
              </a:ext>
            </a:extLst>
          </p:cNvPr>
          <p:cNvSpPr txBox="1"/>
          <p:nvPr/>
        </p:nvSpPr>
        <p:spPr>
          <a:xfrm>
            <a:off x="6404768" y="1201196"/>
            <a:ext cx="4483100" cy="101512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0" i="0" u="none" strike="noStrike" kern="1200" cap="none" spc="0" normalizeH="0" baseline="0" noProof="0">
                <a:ln>
                  <a:noFill/>
                </a:ln>
                <a:solidFill>
                  <a:srgbClr val="14284A"/>
                </a:solidFill>
                <a:effectLst/>
                <a:uLnTx/>
                <a:uFillTx/>
                <a:latin typeface="CiscoSansTT ExtraLight"/>
                <a:ea typeface="+mn-ea"/>
                <a:cs typeface="+mn-cs"/>
              </a:rPr>
              <a:t>Proactive approach addresses top issues</a:t>
            </a: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202924AD-DB81-4B89-A561-8131E0C50EC2}"/>
              </a:ext>
            </a:extLst>
          </p:cNvPr>
          <p:cNvSpPr txBox="1"/>
          <p:nvPr/>
        </p:nvSpPr>
        <p:spPr>
          <a:xfrm>
            <a:off x="1304127" y="1201196"/>
            <a:ext cx="4483100" cy="101512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0" i="0" u="none" strike="noStrike" kern="1200" cap="none" spc="0" normalizeH="0" baseline="0" noProof="0">
                <a:ln>
                  <a:noFill/>
                </a:ln>
                <a:solidFill>
                  <a:srgbClr val="14284A"/>
                </a:solidFill>
                <a:effectLst/>
                <a:uLnTx/>
                <a:uFillTx/>
                <a:latin typeface="CiscoSansTT ExtraLight"/>
                <a:ea typeface="+mn-ea"/>
                <a:cs typeface="+mn-cs"/>
              </a:rPr>
              <a:t>Customer</a:t>
            </a:r>
            <a:br>
              <a:rPr kumimoji="0" lang="en-US" sz="3600" b="0" i="0" u="none" strike="noStrike" kern="1200" cap="none" spc="0" normalizeH="0" baseline="0" noProof="0">
                <a:ln>
                  <a:noFill/>
                </a:ln>
                <a:solidFill>
                  <a:srgbClr val="14284A"/>
                </a:solidFill>
                <a:effectLst/>
                <a:uLnTx/>
                <a:uFillTx/>
                <a:latin typeface="CiscoSansTT ExtraLight"/>
                <a:ea typeface="+mn-ea"/>
                <a:cs typeface="+mn-cs"/>
              </a:rPr>
            </a:br>
            <a:r>
              <a:rPr kumimoji="0" lang="en-US" sz="3600" b="0" i="0" u="none" strike="noStrike" kern="1200" cap="none" spc="0" normalizeH="0" baseline="0" noProof="0">
                <a:ln>
                  <a:noFill/>
                </a:ln>
                <a:solidFill>
                  <a:srgbClr val="14284A"/>
                </a:solidFill>
                <a:effectLst/>
                <a:uLnTx/>
                <a:uFillTx/>
                <a:latin typeface="CiscoSansTT ExtraLight"/>
                <a:ea typeface="+mn-ea"/>
                <a:cs typeface="+mn-cs"/>
              </a:rPr>
              <a:t>challenges</a:t>
            </a:r>
          </a:p>
        </p:txBody>
      </p:sp>
    </p:spTree>
    <p:extLst>
      <p:ext uri="{BB962C8B-B14F-4D97-AF65-F5344CB8AC3E}">
        <p14:creationId xmlns:p14="http://schemas.microsoft.com/office/powerpoint/2010/main" val="355362590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7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59" name="Google Shape;759;p138"/>
          <p:cNvSpPr/>
          <p:nvPr/>
        </p:nvSpPr>
        <p:spPr>
          <a:xfrm>
            <a:off x="580074" y="3966561"/>
            <a:ext cx="11036616" cy="1332537"/>
          </a:xfrm>
          <a:prstGeom prst="roundRect">
            <a:avLst>
              <a:gd name="adj" fmla="val 50000"/>
            </a:avLst>
          </a:prstGeom>
          <a:solidFill>
            <a:schemeClr val="bg2"/>
          </a:solidFill>
          <a:ln>
            <a:noFill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marL="0" marR="0" lvl="0" indent="0" algn="ctr" defTabSz="12190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5073"/>
              </a:buClr>
              <a:buSzPts val="1800"/>
              <a:buFont typeface="Arial"/>
              <a:buNone/>
              <a:tabLst/>
              <a:defRPr/>
            </a:pPr>
            <a:endParaRPr kumimoji="0" sz="2400" b="0" i="0" u="none" strike="noStrike" kern="0" cap="none" spc="0" normalizeH="0" baseline="0" noProof="0">
              <a:ln>
                <a:noFill/>
              </a:ln>
              <a:solidFill>
                <a:srgbClr val="0D274D"/>
              </a:solidFill>
              <a:effectLst/>
              <a:uLnTx/>
              <a:uFillTx/>
              <a:latin typeface="CiscoSansTT ExtraLight" panose="020B0303020201020303" pitchFamily="34" charset="0"/>
              <a:ea typeface="ＭＳ Ｐゴシック" charset="0"/>
              <a:cs typeface="CiscoSansTT ExtraLight" panose="020B0303020201020303" pitchFamily="34" charset="0"/>
              <a:sym typeface="Arial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A67F5BE-C7C2-47D4-9868-1A588C1B0DB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Introducing Business Critical Services</a:t>
            </a:r>
            <a:br>
              <a:rPr lang="en-US"/>
            </a:br>
            <a:r>
              <a:rPr lang="en-US" sz="2400">
                <a:solidFill>
                  <a:srgbClr val="00BCEB"/>
                </a:solidFill>
                <a:ea typeface="ＭＳ Ｐゴシック" charset="0"/>
              </a:rPr>
              <a:t>Trusted experts powered by analytics, insights, and automation</a:t>
            </a:r>
            <a:endParaRPr lang="en-US" sz="2400"/>
          </a:p>
        </p:txBody>
      </p:sp>
      <p:sp>
        <p:nvSpPr>
          <p:cNvPr id="13" name="Rectangle: Rounded Corners 41">
            <a:extLst>
              <a:ext uri="{FF2B5EF4-FFF2-40B4-BE49-F238E27FC236}">
                <a16:creationId xmlns:a16="http://schemas.microsoft.com/office/drawing/2014/main" id="{E4ADAD24-C914-0141-8A29-30F49AA72076}"/>
              </a:ext>
            </a:extLst>
          </p:cNvPr>
          <p:cNvSpPr/>
          <p:nvPr/>
        </p:nvSpPr>
        <p:spPr>
          <a:xfrm>
            <a:off x="719138" y="5378780"/>
            <a:ext cx="10750312" cy="346785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>
            <a:noFill/>
          </a:ln>
        </p:spPr>
        <p:txBody>
          <a:bodyPr wrap="square" lIns="0" tIns="0" rIns="0" bIns="18000" anchor="ctr" anchorCtr="0">
            <a:noAutofit/>
          </a:bodyPr>
          <a:lstStyle/>
          <a:p>
            <a:pPr marL="0" marR="0" lvl="0" indent="0" algn="ctr" defTabSz="121908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GB" sz="16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iscoSansTT Light" panose="020B0503020201020303" pitchFamily="34" charset="0"/>
                <a:ea typeface="Helvetica Neue Light"/>
                <a:cs typeface="CiscoSansTT Light" panose="020B0503020201020303" pitchFamily="34" charset="0"/>
                <a:sym typeface="Helvetica Neue Light"/>
              </a:rPr>
              <a:t>Collaborative Intelligence</a:t>
            </a:r>
          </a:p>
        </p:txBody>
      </p:sp>
      <p:sp>
        <p:nvSpPr>
          <p:cNvPr id="16" name="Rectangle: Rounded Corners 41">
            <a:extLst>
              <a:ext uri="{FF2B5EF4-FFF2-40B4-BE49-F238E27FC236}">
                <a16:creationId xmlns:a16="http://schemas.microsoft.com/office/drawing/2014/main" id="{DE4161DF-A8E6-1247-99CE-D678B481AF32}"/>
              </a:ext>
            </a:extLst>
          </p:cNvPr>
          <p:cNvSpPr/>
          <p:nvPr/>
        </p:nvSpPr>
        <p:spPr>
          <a:xfrm>
            <a:off x="719138" y="5774615"/>
            <a:ext cx="10750312" cy="346785"/>
          </a:xfrm>
          <a:prstGeom prst="roundRect">
            <a:avLst>
              <a:gd name="adj" fmla="val 50000"/>
            </a:avLst>
          </a:prstGeom>
          <a:solidFill>
            <a:srgbClr val="FFC000"/>
          </a:solidFill>
          <a:ln>
            <a:noFill/>
          </a:ln>
        </p:spPr>
        <p:txBody>
          <a:bodyPr wrap="square" lIns="0" tIns="0" rIns="0" bIns="18000" anchor="ctr" anchorCtr="0">
            <a:noAutofit/>
          </a:bodyPr>
          <a:lstStyle/>
          <a:p>
            <a:pPr marL="0" marR="0" lvl="0" indent="0" algn="ctr" defTabSz="121908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GB" sz="16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iscoSansTT Light" panose="020B0503020201020303" pitchFamily="34" charset="0"/>
                <a:ea typeface="Helvetica Neue Light"/>
                <a:cs typeface="CiscoSansTT Light" panose="020B0503020201020303" pitchFamily="34" charset="0"/>
                <a:sym typeface="Helvetica Neue Light"/>
              </a:rPr>
              <a:t>Available from Cisco and our Partners</a:t>
            </a:r>
          </a:p>
        </p:txBody>
      </p:sp>
      <p:sp>
        <p:nvSpPr>
          <p:cNvPr id="35" name="Google Shape;2575;p331">
            <a:extLst>
              <a:ext uri="{FF2B5EF4-FFF2-40B4-BE49-F238E27FC236}">
                <a16:creationId xmlns:a16="http://schemas.microsoft.com/office/drawing/2014/main" id="{AB622BF7-DF97-4042-B1FE-230B8BF9AC17}"/>
              </a:ext>
            </a:extLst>
          </p:cNvPr>
          <p:cNvSpPr/>
          <p:nvPr/>
        </p:nvSpPr>
        <p:spPr>
          <a:xfrm>
            <a:off x="722550" y="2070100"/>
            <a:ext cx="10746900" cy="1057369"/>
          </a:xfrm>
          <a:prstGeom prst="roundRect">
            <a:avLst>
              <a:gd name="adj" fmla="val 15446"/>
            </a:avLst>
          </a:prstGeom>
          <a:noFill/>
          <a:ln w="19050" cap="rnd">
            <a:solidFill>
              <a:schemeClr val="accent2"/>
            </a:solidFill>
            <a:prstDash val="sysDot"/>
          </a:ln>
        </p:spPr>
        <p:txBody>
          <a:bodyPr spcFirstLastPara="1" wrap="square" lIns="0" tIns="0" rIns="0" bIns="18000" anchor="ctr" anchorCtr="0">
            <a:noAutofit/>
          </a:bodyPr>
          <a:lstStyle/>
          <a:p>
            <a:pPr marL="0" marR="0" lvl="0" indent="0" algn="ctr" defTabSz="121908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2133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iscoSansTT ExtraLight"/>
              <a:ea typeface="ＭＳ Ｐゴシック" charset="0"/>
              <a:cs typeface="CiscoSansTT ExtraLight" panose="020B0303020201020303" pitchFamily="34" charset="0"/>
              <a:sym typeface="Helvetica Neue"/>
            </a:endParaRPr>
          </a:p>
        </p:txBody>
      </p:sp>
      <p:grpSp>
        <p:nvGrpSpPr>
          <p:cNvPr id="36" name="Group 35">
            <a:extLst>
              <a:ext uri="{FF2B5EF4-FFF2-40B4-BE49-F238E27FC236}">
                <a16:creationId xmlns:a16="http://schemas.microsoft.com/office/drawing/2014/main" id="{DA0B27CF-462A-5A4D-85D5-A812181E86C3}"/>
              </a:ext>
            </a:extLst>
          </p:cNvPr>
          <p:cNvGrpSpPr/>
          <p:nvPr/>
        </p:nvGrpSpPr>
        <p:grpSpPr>
          <a:xfrm>
            <a:off x="5714798" y="1713698"/>
            <a:ext cx="762404" cy="756615"/>
            <a:chOff x="10661972" y="330401"/>
            <a:chExt cx="723254" cy="723254"/>
          </a:xfrm>
        </p:grpSpPr>
        <p:sp>
          <p:nvSpPr>
            <p:cNvPr id="37" name="Oval 36">
              <a:extLst>
                <a:ext uri="{FF2B5EF4-FFF2-40B4-BE49-F238E27FC236}">
                  <a16:creationId xmlns:a16="http://schemas.microsoft.com/office/drawing/2014/main" id="{42C0CF87-65FC-8941-BC14-CE1CD1E46479}"/>
                </a:ext>
              </a:extLst>
            </p:cNvPr>
            <p:cNvSpPr/>
            <p:nvPr/>
          </p:nvSpPr>
          <p:spPr>
            <a:xfrm>
              <a:off x="10661972" y="330401"/>
              <a:ext cx="723254" cy="723254"/>
            </a:xfrm>
            <a:prstGeom prst="ellipse">
              <a:avLst/>
            </a:prstGeom>
            <a:solidFill>
              <a:srgbClr val="F5F6F9"/>
            </a:solidFill>
            <a:ln w="25400" cap="flat" cmpd="sng" algn="ctr">
              <a:noFill/>
              <a:prstDash val="solid"/>
            </a:ln>
            <a:effectLst/>
          </p:spPr>
          <p:txBody>
            <a:bodyPr lIns="0" tIns="0" rIns="0" bIns="0" rtlCol="0" anchor="ctr"/>
            <a:lstStyle/>
            <a:p>
              <a:pPr marL="0" marR="0" lvl="0" indent="0" algn="ctr" defTabSz="6095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en-US" sz="1467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iscoSansTT ExtraLight"/>
                <a:ea typeface="ＭＳ Ｐゴシック" charset="0"/>
                <a:cs typeface="Arial"/>
                <a:sym typeface="Arial"/>
              </a:endParaRPr>
            </a:p>
          </p:txBody>
        </p:sp>
        <p:sp>
          <p:nvSpPr>
            <p:cNvPr id="38" name="Freeform: Shape 38">
              <a:extLst>
                <a:ext uri="{FF2B5EF4-FFF2-40B4-BE49-F238E27FC236}">
                  <a16:creationId xmlns:a16="http://schemas.microsoft.com/office/drawing/2014/main" id="{4DD98320-EEFB-0A46-8F5C-A7D908E940D1}"/>
                </a:ext>
              </a:extLst>
            </p:cNvPr>
            <p:cNvSpPr/>
            <p:nvPr/>
          </p:nvSpPr>
          <p:spPr>
            <a:xfrm>
              <a:off x="10714390" y="384329"/>
              <a:ext cx="617814" cy="615399"/>
            </a:xfrm>
            <a:custGeom>
              <a:avLst/>
              <a:gdLst>
                <a:gd name="connsiteX0" fmla="*/ 618176 w 617814"/>
                <a:gd name="connsiteY0" fmla="*/ 307820 h 615399"/>
                <a:gd name="connsiteX1" fmla="*/ 309088 w 617814"/>
                <a:gd name="connsiteY1" fmla="*/ 615641 h 615399"/>
                <a:gd name="connsiteX2" fmla="*/ 0 w 617814"/>
                <a:gd name="connsiteY2" fmla="*/ 307820 h 615399"/>
                <a:gd name="connsiteX3" fmla="*/ 309088 w 617814"/>
                <a:gd name="connsiteY3" fmla="*/ 0 h 615399"/>
                <a:gd name="connsiteX4" fmla="*/ 618176 w 617814"/>
                <a:gd name="connsiteY4" fmla="*/ 307820 h 6153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17814" h="615399">
                  <a:moveTo>
                    <a:pt x="618176" y="307820"/>
                  </a:moveTo>
                  <a:cubicBezTo>
                    <a:pt x="618176" y="477825"/>
                    <a:pt x="479817" y="615641"/>
                    <a:pt x="309088" y="615641"/>
                  </a:cubicBezTo>
                  <a:cubicBezTo>
                    <a:pt x="138359" y="615641"/>
                    <a:pt x="0" y="477825"/>
                    <a:pt x="0" y="307820"/>
                  </a:cubicBezTo>
                  <a:cubicBezTo>
                    <a:pt x="0" y="137816"/>
                    <a:pt x="138359" y="0"/>
                    <a:pt x="309088" y="0"/>
                  </a:cubicBezTo>
                  <a:cubicBezTo>
                    <a:pt x="479757" y="0"/>
                    <a:pt x="618176" y="137816"/>
                    <a:pt x="618176" y="307820"/>
                  </a:cubicBezTo>
                </a:path>
              </a:pathLst>
            </a:custGeom>
            <a:solidFill>
              <a:srgbClr val="6EBE4A"/>
            </a:solidFill>
            <a:ln w="59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6095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en-US" sz="2400" b="0" i="0" u="none" strike="noStrike" kern="0" cap="none" spc="0" normalizeH="0" baseline="0" noProof="0">
                <a:ln>
                  <a:noFill/>
                </a:ln>
                <a:solidFill>
                  <a:srgbClr val="2F446B"/>
                </a:solidFill>
                <a:effectLst/>
                <a:uLnTx/>
                <a:uFillTx/>
                <a:latin typeface="Arial" charset="0"/>
                <a:ea typeface="ＭＳ Ｐゴシック" charset="0"/>
                <a:cs typeface="Arial"/>
                <a:sym typeface="Arial"/>
              </a:endParaRPr>
            </a:p>
          </p:txBody>
        </p:sp>
        <p:grpSp>
          <p:nvGrpSpPr>
            <p:cNvPr id="39" name="Graphic 2">
              <a:extLst>
                <a:ext uri="{FF2B5EF4-FFF2-40B4-BE49-F238E27FC236}">
                  <a16:creationId xmlns:a16="http://schemas.microsoft.com/office/drawing/2014/main" id="{A501ED2A-94CE-D94E-9452-A10069CA1A45}"/>
                </a:ext>
              </a:extLst>
            </p:cNvPr>
            <p:cNvGrpSpPr/>
            <p:nvPr/>
          </p:nvGrpSpPr>
          <p:grpSpPr>
            <a:xfrm>
              <a:off x="10798335" y="582977"/>
              <a:ext cx="450312" cy="218144"/>
              <a:chOff x="10798335" y="582977"/>
              <a:chExt cx="450312" cy="218144"/>
            </a:xfrm>
            <a:solidFill>
              <a:srgbClr val="FFFFFF"/>
            </a:solidFill>
          </p:grpSpPr>
          <p:sp>
            <p:nvSpPr>
              <p:cNvPr id="40" name="Freeform: Shape 40">
                <a:extLst>
                  <a:ext uri="{FF2B5EF4-FFF2-40B4-BE49-F238E27FC236}">
                    <a16:creationId xmlns:a16="http://schemas.microsoft.com/office/drawing/2014/main" id="{560AD75C-163E-E648-A063-D36682B69680}"/>
                  </a:ext>
                </a:extLst>
              </p:cNvPr>
              <p:cNvSpPr/>
              <p:nvPr/>
            </p:nvSpPr>
            <p:spPr>
              <a:xfrm>
                <a:off x="10941405" y="583081"/>
                <a:ext cx="109914" cy="218017"/>
              </a:xfrm>
              <a:custGeom>
                <a:avLst/>
                <a:gdLst>
                  <a:gd name="connsiteX0" fmla="*/ 89260 w 109914"/>
                  <a:gd name="connsiteY0" fmla="*/ 130085 h 218016"/>
                  <a:gd name="connsiteX1" fmla="*/ 110156 w 109914"/>
                  <a:gd name="connsiteY1" fmla="*/ 109129 h 218016"/>
                  <a:gd name="connsiteX2" fmla="*/ 89260 w 109914"/>
                  <a:gd name="connsiteY2" fmla="*/ 88173 h 218016"/>
                  <a:gd name="connsiteX3" fmla="*/ 41792 w 109914"/>
                  <a:gd name="connsiteY3" fmla="*/ 88173 h 218016"/>
                  <a:gd name="connsiteX4" fmla="*/ 41792 w 109914"/>
                  <a:gd name="connsiteY4" fmla="*/ 41912 h 218016"/>
                  <a:gd name="connsiteX5" fmla="*/ 89260 w 109914"/>
                  <a:gd name="connsiteY5" fmla="*/ 41912 h 218016"/>
                  <a:gd name="connsiteX6" fmla="*/ 110156 w 109914"/>
                  <a:gd name="connsiteY6" fmla="*/ 20956 h 218016"/>
                  <a:gd name="connsiteX7" fmla="*/ 89260 w 109914"/>
                  <a:gd name="connsiteY7" fmla="*/ 0 h 218016"/>
                  <a:gd name="connsiteX8" fmla="*/ 20896 w 109914"/>
                  <a:gd name="connsiteY8" fmla="*/ 0 h 218016"/>
                  <a:gd name="connsiteX9" fmla="*/ 0 w 109914"/>
                  <a:gd name="connsiteY9" fmla="*/ 20956 h 218016"/>
                  <a:gd name="connsiteX10" fmla="*/ 0 w 109914"/>
                  <a:gd name="connsiteY10" fmla="*/ 197242 h 218016"/>
                  <a:gd name="connsiteX11" fmla="*/ 20896 w 109914"/>
                  <a:gd name="connsiteY11" fmla="*/ 218198 h 218016"/>
                  <a:gd name="connsiteX12" fmla="*/ 89260 w 109914"/>
                  <a:gd name="connsiteY12" fmla="*/ 218198 h 218016"/>
                  <a:gd name="connsiteX13" fmla="*/ 110156 w 109914"/>
                  <a:gd name="connsiteY13" fmla="*/ 197242 h 218016"/>
                  <a:gd name="connsiteX14" fmla="*/ 89260 w 109914"/>
                  <a:gd name="connsiteY14" fmla="*/ 176286 h 218016"/>
                  <a:gd name="connsiteX15" fmla="*/ 41792 w 109914"/>
                  <a:gd name="connsiteY15" fmla="*/ 176286 h 218016"/>
                  <a:gd name="connsiteX16" fmla="*/ 41792 w 109914"/>
                  <a:gd name="connsiteY16" fmla="*/ 130025 h 218016"/>
                  <a:gd name="connsiteX17" fmla="*/ 89260 w 109914"/>
                  <a:gd name="connsiteY17" fmla="*/ 130025 h 218016"/>
                  <a:gd name="connsiteX18" fmla="*/ 89260 w 109914"/>
                  <a:gd name="connsiteY18" fmla="*/ 130085 h 2180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109914" h="218016">
                    <a:moveTo>
                      <a:pt x="89260" y="130085"/>
                    </a:moveTo>
                    <a:cubicBezTo>
                      <a:pt x="100735" y="130085"/>
                      <a:pt x="110156" y="120664"/>
                      <a:pt x="110156" y="109129"/>
                    </a:cubicBezTo>
                    <a:cubicBezTo>
                      <a:pt x="110156" y="97594"/>
                      <a:pt x="100735" y="88173"/>
                      <a:pt x="89260" y="88173"/>
                    </a:cubicBezTo>
                    <a:lnTo>
                      <a:pt x="41792" y="88173"/>
                    </a:lnTo>
                    <a:lnTo>
                      <a:pt x="41792" y="41912"/>
                    </a:lnTo>
                    <a:lnTo>
                      <a:pt x="89260" y="41912"/>
                    </a:lnTo>
                    <a:cubicBezTo>
                      <a:pt x="100735" y="41912"/>
                      <a:pt x="110156" y="32491"/>
                      <a:pt x="110156" y="20956"/>
                    </a:cubicBezTo>
                    <a:cubicBezTo>
                      <a:pt x="110156" y="9421"/>
                      <a:pt x="100735" y="0"/>
                      <a:pt x="89260" y="0"/>
                    </a:cubicBezTo>
                    <a:lnTo>
                      <a:pt x="20896" y="0"/>
                    </a:lnTo>
                    <a:cubicBezTo>
                      <a:pt x="9421" y="0"/>
                      <a:pt x="0" y="9421"/>
                      <a:pt x="0" y="20956"/>
                    </a:cubicBezTo>
                    <a:lnTo>
                      <a:pt x="0" y="197242"/>
                    </a:lnTo>
                    <a:cubicBezTo>
                      <a:pt x="0" y="208777"/>
                      <a:pt x="9361" y="218198"/>
                      <a:pt x="20896" y="218198"/>
                    </a:cubicBezTo>
                    <a:lnTo>
                      <a:pt x="89260" y="218198"/>
                    </a:lnTo>
                    <a:cubicBezTo>
                      <a:pt x="100735" y="218198"/>
                      <a:pt x="110156" y="208777"/>
                      <a:pt x="110156" y="197242"/>
                    </a:cubicBezTo>
                    <a:cubicBezTo>
                      <a:pt x="110156" y="185707"/>
                      <a:pt x="100735" y="176286"/>
                      <a:pt x="89260" y="176286"/>
                    </a:cubicBezTo>
                    <a:lnTo>
                      <a:pt x="41792" y="176286"/>
                    </a:lnTo>
                    <a:lnTo>
                      <a:pt x="41792" y="130025"/>
                    </a:lnTo>
                    <a:lnTo>
                      <a:pt x="89260" y="130025"/>
                    </a:lnTo>
                    <a:lnTo>
                      <a:pt x="89260" y="130085"/>
                    </a:lnTo>
                    <a:close/>
                  </a:path>
                </a:pathLst>
              </a:custGeom>
              <a:solidFill>
                <a:srgbClr val="FFFFFF"/>
              </a:solidFill>
              <a:ln w="59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6095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Tx/>
                  <a:buFont typeface="Arial"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>
                  <a:ln>
                    <a:noFill/>
                  </a:ln>
                  <a:solidFill>
                    <a:srgbClr val="2F446B"/>
                  </a:solidFill>
                  <a:effectLst/>
                  <a:uLnTx/>
                  <a:uFillTx/>
                  <a:latin typeface="Arial" charset="0"/>
                  <a:ea typeface="ＭＳ Ｐゴシック" charset="0"/>
                  <a:cs typeface="Arial"/>
                  <a:sym typeface="Arial"/>
                </a:endParaRPr>
              </a:p>
            </p:txBody>
          </p:sp>
          <p:grpSp>
            <p:nvGrpSpPr>
              <p:cNvPr id="41" name="Graphic 2">
                <a:extLst>
                  <a:ext uri="{FF2B5EF4-FFF2-40B4-BE49-F238E27FC236}">
                    <a16:creationId xmlns:a16="http://schemas.microsoft.com/office/drawing/2014/main" id="{9564E724-6F16-ED4B-AFDE-A9693B95BDFB}"/>
                  </a:ext>
                </a:extLst>
              </p:cNvPr>
              <p:cNvGrpSpPr/>
              <p:nvPr/>
            </p:nvGrpSpPr>
            <p:grpSpPr>
              <a:xfrm>
                <a:off x="10798335" y="582977"/>
                <a:ext cx="120785" cy="218017"/>
                <a:chOff x="10798335" y="582977"/>
                <a:chExt cx="120785" cy="218017"/>
              </a:xfrm>
              <a:solidFill>
                <a:srgbClr val="FFFFFF"/>
              </a:solidFill>
            </p:grpSpPr>
            <p:sp>
              <p:nvSpPr>
                <p:cNvPr id="47" name="Freeform: Shape 47">
                  <a:extLst>
                    <a:ext uri="{FF2B5EF4-FFF2-40B4-BE49-F238E27FC236}">
                      <a16:creationId xmlns:a16="http://schemas.microsoft.com/office/drawing/2014/main" id="{377B1149-8874-DE4F-AF0B-DB21F11765DE}"/>
                    </a:ext>
                  </a:extLst>
                </p:cNvPr>
                <p:cNvSpPr/>
                <p:nvPr/>
              </p:nvSpPr>
              <p:spPr>
                <a:xfrm>
                  <a:off x="10877449" y="583081"/>
                  <a:ext cx="41671" cy="218017"/>
                </a:xfrm>
                <a:custGeom>
                  <a:avLst/>
                  <a:gdLst>
                    <a:gd name="connsiteX0" fmla="*/ 0 w 41670"/>
                    <a:gd name="connsiteY0" fmla="*/ 197302 h 218016"/>
                    <a:gd name="connsiteX1" fmla="*/ 0 w 41670"/>
                    <a:gd name="connsiteY1" fmla="*/ 20956 h 218016"/>
                    <a:gd name="connsiteX2" fmla="*/ 20896 w 41670"/>
                    <a:gd name="connsiteY2" fmla="*/ 0 h 218016"/>
                    <a:gd name="connsiteX3" fmla="*/ 41792 w 41670"/>
                    <a:gd name="connsiteY3" fmla="*/ 20956 h 218016"/>
                    <a:gd name="connsiteX4" fmla="*/ 41792 w 41670"/>
                    <a:gd name="connsiteY4" fmla="*/ 197242 h 218016"/>
                    <a:gd name="connsiteX5" fmla="*/ 20896 w 41670"/>
                    <a:gd name="connsiteY5" fmla="*/ 218198 h 218016"/>
                    <a:gd name="connsiteX6" fmla="*/ 0 w 41670"/>
                    <a:gd name="connsiteY6" fmla="*/ 197302 h 21801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41670" h="218016">
                      <a:moveTo>
                        <a:pt x="0" y="197302"/>
                      </a:moveTo>
                      <a:lnTo>
                        <a:pt x="0" y="20956"/>
                      </a:lnTo>
                      <a:cubicBezTo>
                        <a:pt x="0" y="9421"/>
                        <a:pt x="9361" y="0"/>
                        <a:pt x="20896" y="0"/>
                      </a:cubicBezTo>
                      <a:cubicBezTo>
                        <a:pt x="32370" y="0"/>
                        <a:pt x="41792" y="9421"/>
                        <a:pt x="41792" y="20956"/>
                      </a:cubicBezTo>
                      <a:lnTo>
                        <a:pt x="41792" y="197242"/>
                      </a:lnTo>
                      <a:cubicBezTo>
                        <a:pt x="41792" y="208777"/>
                        <a:pt x="32431" y="218198"/>
                        <a:pt x="20896" y="218198"/>
                      </a:cubicBezTo>
                      <a:cubicBezTo>
                        <a:pt x="9421" y="218198"/>
                        <a:pt x="0" y="208777"/>
                        <a:pt x="0" y="197302"/>
                      </a:cubicBezTo>
                    </a:path>
                  </a:pathLst>
                </a:custGeom>
                <a:solidFill>
                  <a:srgbClr val="FFFFFF"/>
                </a:solidFill>
                <a:ln w="59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60957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 typeface="Arial"/>
                    <a:buNone/>
                    <a:tabLst/>
                    <a:defRPr/>
                  </a:pPr>
                  <a:endParaRPr kumimoji="0" lang="en-US" sz="2400" b="0" i="0" u="none" strike="noStrike" kern="0" cap="none" spc="0" normalizeH="0" baseline="0" noProof="0">
                    <a:ln>
                      <a:noFill/>
                    </a:ln>
                    <a:solidFill>
                      <a:srgbClr val="2F446B"/>
                    </a:solidFill>
                    <a:effectLst/>
                    <a:uLnTx/>
                    <a:uFillTx/>
                    <a:latin typeface="Arial" charset="0"/>
                    <a:ea typeface="ＭＳ Ｐゴシック" charset="0"/>
                    <a:cs typeface="Arial"/>
                    <a:sym typeface="Arial"/>
                  </a:endParaRPr>
                </a:p>
              </p:txBody>
            </p:sp>
            <p:sp>
              <p:nvSpPr>
                <p:cNvPr id="48" name="Freeform: Shape 48">
                  <a:extLst>
                    <a:ext uri="{FF2B5EF4-FFF2-40B4-BE49-F238E27FC236}">
                      <a16:creationId xmlns:a16="http://schemas.microsoft.com/office/drawing/2014/main" id="{44831715-6912-7841-8596-9D51659F07F7}"/>
                    </a:ext>
                  </a:extLst>
                </p:cNvPr>
                <p:cNvSpPr/>
                <p:nvPr/>
              </p:nvSpPr>
              <p:spPr>
                <a:xfrm>
                  <a:off x="10798335" y="583081"/>
                  <a:ext cx="41671" cy="218017"/>
                </a:xfrm>
                <a:custGeom>
                  <a:avLst/>
                  <a:gdLst>
                    <a:gd name="connsiteX0" fmla="*/ 0 w 41670"/>
                    <a:gd name="connsiteY0" fmla="*/ 197302 h 218016"/>
                    <a:gd name="connsiteX1" fmla="*/ 0 w 41670"/>
                    <a:gd name="connsiteY1" fmla="*/ 20956 h 218016"/>
                    <a:gd name="connsiteX2" fmla="*/ 20896 w 41670"/>
                    <a:gd name="connsiteY2" fmla="*/ 0 h 218016"/>
                    <a:gd name="connsiteX3" fmla="*/ 41792 w 41670"/>
                    <a:gd name="connsiteY3" fmla="*/ 20956 h 218016"/>
                    <a:gd name="connsiteX4" fmla="*/ 41792 w 41670"/>
                    <a:gd name="connsiteY4" fmla="*/ 197242 h 218016"/>
                    <a:gd name="connsiteX5" fmla="*/ 20896 w 41670"/>
                    <a:gd name="connsiteY5" fmla="*/ 218198 h 218016"/>
                    <a:gd name="connsiteX6" fmla="*/ 0 w 41670"/>
                    <a:gd name="connsiteY6" fmla="*/ 197302 h 21801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41670" h="218016">
                      <a:moveTo>
                        <a:pt x="0" y="197302"/>
                      </a:moveTo>
                      <a:lnTo>
                        <a:pt x="0" y="20956"/>
                      </a:lnTo>
                      <a:cubicBezTo>
                        <a:pt x="0" y="9421"/>
                        <a:pt x="9361" y="0"/>
                        <a:pt x="20896" y="0"/>
                      </a:cubicBezTo>
                      <a:cubicBezTo>
                        <a:pt x="32431" y="0"/>
                        <a:pt x="41792" y="9421"/>
                        <a:pt x="41792" y="20956"/>
                      </a:cubicBezTo>
                      <a:lnTo>
                        <a:pt x="41792" y="197242"/>
                      </a:lnTo>
                      <a:cubicBezTo>
                        <a:pt x="41792" y="208777"/>
                        <a:pt x="32370" y="218198"/>
                        <a:pt x="20896" y="218198"/>
                      </a:cubicBezTo>
                      <a:cubicBezTo>
                        <a:pt x="9421" y="218198"/>
                        <a:pt x="0" y="208777"/>
                        <a:pt x="0" y="197302"/>
                      </a:cubicBezTo>
                    </a:path>
                  </a:pathLst>
                </a:custGeom>
                <a:solidFill>
                  <a:srgbClr val="FFFFFF"/>
                </a:solidFill>
                <a:ln w="59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60957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 typeface="Arial"/>
                    <a:buNone/>
                    <a:tabLst/>
                    <a:defRPr/>
                  </a:pPr>
                  <a:endParaRPr kumimoji="0" lang="en-US" sz="2400" b="0" i="0" u="none" strike="noStrike" kern="0" cap="none" spc="0" normalizeH="0" baseline="0" noProof="0">
                    <a:ln>
                      <a:noFill/>
                    </a:ln>
                    <a:solidFill>
                      <a:srgbClr val="2F446B"/>
                    </a:solidFill>
                    <a:effectLst/>
                    <a:uLnTx/>
                    <a:uFillTx/>
                    <a:latin typeface="Arial" charset="0"/>
                    <a:ea typeface="ＭＳ Ｐゴシック" charset="0"/>
                    <a:cs typeface="Arial"/>
                    <a:sym typeface="Arial"/>
                  </a:endParaRPr>
                </a:p>
              </p:txBody>
            </p:sp>
            <p:sp>
              <p:nvSpPr>
                <p:cNvPr id="49" name="Freeform: Shape 49">
                  <a:extLst>
                    <a:ext uri="{FF2B5EF4-FFF2-40B4-BE49-F238E27FC236}">
                      <a16:creationId xmlns:a16="http://schemas.microsoft.com/office/drawing/2014/main" id="{D7835E2E-6658-B748-B5F8-F9EF36786A45}"/>
                    </a:ext>
                  </a:extLst>
                </p:cNvPr>
                <p:cNvSpPr/>
                <p:nvPr/>
              </p:nvSpPr>
              <p:spPr>
                <a:xfrm>
                  <a:off x="10798533" y="582977"/>
                  <a:ext cx="120181" cy="218017"/>
                </a:xfrm>
                <a:custGeom>
                  <a:avLst/>
                  <a:gdLst>
                    <a:gd name="connsiteX0" fmla="*/ 80728 w 120180"/>
                    <a:gd name="connsiteY0" fmla="*/ 205921 h 218016"/>
                    <a:gd name="connsiteX1" fmla="*/ 1735 w 120180"/>
                    <a:gd name="connsiteY1" fmla="*/ 29334 h 218016"/>
                    <a:gd name="connsiteX2" fmla="*/ 12545 w 120180"/>
                    <a:gd name="connsiteY2" fmla="*/ 1735 h 218016"/>
                    <a:gd name="connsiteX3" fmla="*/ 40023 w 120180"/>
                    <a:gd name="connsiteY3" fmla="*/ 12545 h 218016"/>
                    <a:gd name="connsiteX4" fmla="*/ 118896 w 120180"/>
                    <a:gd name="connsiteY4" fmla="*/ 188830 h 218016"/>
                    <a:gd name="connsiteX5" fmla="*/ 108327 w 120180"/>
                    <a:gd name="connsiteY5" fmla="*/ 216490 h 218016"/>
                    <a:gd name="connsiteX6" fmla="*/ 80728 w 120180"/>
                    <a:gd name="connsiteY6" fmla="*/ 205921 h 21801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20180" h="218016">
                      <a:moveTo>
                        <a:pt x="80728" y="205921"/>
                      </a:moveTo>
                      <a:lnTo>
                        <a:pt x="1735" y="29334"/>
                      </a:lnTo>
                      <a:cubicBezTo>
                        <a:pt x="-2855" y="18765"/>
                        <a:pt x="1976" y="6385"/>
                        <a:pt x="12545" y="1735"/>
                      </a:cubicBezTo>
                      <a:cubicBezTo>
                        <a:pt x="23053" y="-2855"/>
                        <a:pt x="35433" y="1976"/>
                        <a:pt x="40023" y="12545"/>
                      </a:cubicBezTo>
                      <a:lnTo>
                        <a:pt x="118896" y="188830"/>
                      </a:lnTo>
                      <a:cubicBezTo>
                        <a:pt x="123546" y="199339"/>
                        <a:pt x="118775" y="211779"/>
                        <a:pt x="108327" y="216490"/>
                      </a:cubicBezTo>
                      <a:cubicBezTo>
                        <a:pt x="97819" y="221201"/>
                        <a:pt x="85378" y="216430"/>
                        <a:pt x="80728" y="205921"/>
                      </a:cubicBezTo>
                    </a:path>
                  </a:pathLst>
                </a:custGeom>
                <a:solidFill>
                  <a:srgbClr val="FFFFFF"/>
                </a:solidFill>
                <a:ln w="59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60957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 typeface="Arial"/>
                    <a:buNone/>
                    <a:tabLst/>
                    <a:defRPr/>
                  </a:pPr>
                  <a:endParaRPr kumimoji="0" lang="en-US" sz="2400" b="0" i="0" u="none" strike="noStrike" kern="0" cap="none" spc="0" normalizeH="0" baseline="0" noProof="0">
                    <a:ln>
                      <a:noFill/>
                    </a:ln>
                    <a:solidFill>
                      <a:srgbClr val="2F446B"/>
                    </a:solidFill>
                    <a:effectLst/>
                    <a:uLnTx/>
                    <a:uFillTx/>
                    <a:latin typeface="Arial" charset="0"/>
                    <a:ea typeface="ＭＳ Ｐゴシック" charset="0"/>
                    <a:cs typeface="Arial"/>
                    <a:sym typeface="Arial"/>
                  </a:endParaRPr>
                </a:p>
              </p:txBody>
            </p:sp>
          </p:grpSp>
          <p:grpSp>
            <p:nvGrpSpPr>
              <p:cNvPr id="42" name="Graphic 2">
                <a:extLst>
                  <a:ext uri="{FF2B5EF4-FFF2-40B4-BE49-F238E27FC236}">
                    <a16:creationId xmlns:a16="http://schemas.microsoft.com/office/drawing/2014/main" id="{CCF7976D-C5E0-E84B-B846-D879E1B984AD}"/>
                  </a:ext>
                </a:extLst>
              </p:cNvPr>
              <p:cNvGrpSpPr/>
              <p:nvPr/>
            </p:nvGrpSpPr>
            <p:grpSpPr>
              <a:xfrm>
                <a:off x="11066262" y="583104"/>
                <a:ext cx="182385" cy="218017"/>
                <a:chOff x="11066262" y="583104"/>
                <a:chExt cx="182385" cy="218017"/>
              </a:xfrm>
              <a:solidFill>
                <a:srgbClr val="FFFFFF"/>
              </a:solidFill>
            </p:grpSpPr>
            <p:sp>
              <p:nvSpPr>
                <p:cNvPr id="43" name="Freeform: Shape 43">
                  <a:extLst>
                    <a:ext uri="{FF2B5EF4-FFF2-40B4-BE49-F238E27FC236}">
                      <a16:creationId xmlns:a16="http://schemas.microsoft.com/office/drawing/2014/main" id="{C3B1B02E-010C-6C47-B490-88E70E9F6816}"/>
                    </a:ext>
                  </a:extLst>
                </p:cNvPr>
                <p:cNvSpPr/>
                <p:nvPr/>
              </p:nvSpPr>
              <p:spPr>
                <a:xfrm>
                  <a:off x="11066262" y="583104"/>
                  <a:ext cx="76698" cy="218017"/>
                </a:xfrm>
                <a:custGeom>
                  <a:avLst/>
                  <a:gdLst>
                    <a:gd name="connsiteX0" fmla="*/ 35545 w 76698"/>
                    <a:gd name="connsiteY0" fmla="*/ 201325 h 218016"/>
                    <a:gd name="connsiteX1" fmla="*/ 397 w 76698"/>
                    <a:gd name="connsiteY1" fmla="*/ 25039 h 218016"/>
                    <a:gd name="connsiteX2" fmla="*/ 16884 w 76698"/>
                    <a:gd name="connsiteY2" fmla="*/ 399 h 218016"/>
                    <a:gd name="connsiteX3" fmla="*/ 41524 w 76698"/>
                    <a:gd name="connsiteY3" fmla="*/ 16886 h 218016"/>
                    <a:gd name="connsiteX4" fmla="*/ 76612 w 76698"/>
                    <a:gd name="connsiteY4" fmla="*/ 193172 h 218016"/>
                    <a:gd name="connsiteX5" fmla="*/ 60125 w 76698"/>
                    <a:gd name="connsiteY5" fmla="*/ 217812 h 218016"/>
                    <a:gd name="connsiteX6" fmla="*/ 35545 w 76698"/>
                    <a:gd name="connsiteY6" fmla="*/ 201325 h 21801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6698" h="218016">
                      <a:moveTo>
                        <a:pt x="35545" y="201325"/>
                      </a:moveTo>
                      <a:lnTo>
                        <a:pt x="397" y="25039"/>
                      </a:lnTo>
                      <a:cubicBezTo>
                        <a:pt x="-1838" y="13746"/>
                        <a:pt x="5591" y="2634"/>
                        <a:pt x="16884" y="399"/>
                      </a:cubicBezTo>
                      <a:cubicBezTo>
                        <a:pt x="28178" y="-1835"/>
                        <a:pt x="39290" y="5533"/>
                        <a:pt x="41524" y="16886"/>
                      </a:cubicBezTo>
                      <a:lnTo>
                        <a:pt x="76612" y="193172"/>
                      </a:lnTo>
                      <a:cubicBezTo>
                        <a:pt x="78847" y="204465"/>
                        <a:pt x="71418" y="215578"/>
                        <a:pt x="60125" y="217812"/>
                      </a:cubicBezTo>
                      <a:cubicBezTo>
                        <a:pt x="48832" y="220047"/>
                        <a:pt x="37780" y="212618"/>
                        <a:pt x="35545" y="201325"/>
                      </a:cubicBezTo>
                    </a:path>
                  </a:pathLst>
                </a:custGeom>
                <a:solidFill>
                  <a:srgbClr val="FFFFFF"/>
                </a:solidFill>
                <a:ln w="59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60957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 typeface="Arial"/>
                    <a:buNone/>
                    <a:tabLst/>
                    <a:defRPr/>
                  </a:pPr>
                  <a:endParaRPr kumimoji="0" lang="en-US" sz="2400" b="0" i="0" u="none" strike="noStrike" kern="0" cap="none" spc="0" normalizeH="0" baseline="0" noProof="0">
                    <a:ln>
                      <a:noFill/>
                    </a:ln>
                    <a:solidFill>
                      <a:srgbClr val="2F446B"/>
                    </a:solidFill>
                    <a:effectLst/>
                    <a:uLnTx/>
                    <a:uFillTx/>
                    <a:latin typeface="Arial" charset="0"/>
                    <a:ea typeface="ＭＳ Ｐゴシック" charset="0"/>
                    <a:cs typeface="Arial"/>
                    <a:sym typeface="Arial"/>
                  </a:endParaRPr>
                </a:p>
              </p:txBody>
            </p:sp>
            <p:sp>
              <p:nvSpPr>
                <p:cNvPr id="44" name="Freeform: Shape 44">
                  <a:extLst>
                    <a:ext uri="{FF2B5EF4-FFF2-40B4-BE49-F238E27FC236}">
                      <a16:creationId xmlns:a16="http://schemas.microsoft.com/office/drawing/2014/main" id="{8B96A05F-B0AC-9345-9315-A34B1F2D7269}"/>
                    </a:ext>
                  </a:extLst>
                </p:cNvPr>
                <p:cNvSpPr/>
                <p:nvPr/>
              </p:nvSpPr>
              <p:spPr>
                <a:xfrm>
                  <a:off x="11101408" y="583104"/>
                  <a:ext cx="76698" cy="218017"/>
                </a:xfrm>
                <a:custGeom>
                  <a:avLst/>
                  <a:gdLst>
                    <a:gd name="connsiteX0" fmla="*/ 41466 w 76698"/>
                    <a:gd name="connsiteY0" fmla="*/ 201325 h 218016"/>
                    <a:gd name="connsiteX1" fmla="*/ 76615 w 76698"/>
                    <a:gd name="connsiteY1" fmla="*/ 25039 h 218016"/>
                    <a:gd name="connsiteX2" fmla="*/ 60128 w 76698"/>
                    <a:gd name="connsiteY2" fmla="*/ 399 h 218016"/>
                    <a:gd name="connsiteX3" fmla="*/ 35487 w 76698"/>
                    <a:gd name="connsiteY3" fmla="*/ 16886 h 218016"/>
                    <a:gd name="connsiteX4" fmla="*/ 399 w 76698"/>
                    <a:gd name="connsiteY4" fmla="*/ 193172 h 218016"/>
                    <a:gd name="connsiteX5" fmla="*/ 16826 w 76698"/>
                    <a:gd name="connsiteY5" fmla="*/ 217812 h 218016"/>
                    <a:gd name="connsiteX6" fmla="*/ 41466 w 76698"/>
                    <a:gd name="connsiteY6" fmla="*/ 201325 h 21801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6698" h="218016">
                      <a:moveTo>
                        <a:pt x="41466" y="201325"/>
                      </a:moveTo>
                      <a:lnTo>
                        <a:pt x="76615" y="25039"/>
                      </a:lnTo>
                      <a:cubicBezTo>
                        <a:pt x="78849" y="13746"/>
                        <a:pt x="71421" y="2634"/>
                        <a:pt x="60128" y="399"/>
                      </a:cubicBezTo>
                      <a:cubicBezTo>
                        <a:pt x="48834" y="-1835"/>
                        <a:pt x="37782" y="5533"/>
                        <a:pt x="35487" y="16886"/>
                      </a:cubicBezTo>
                      <a:lnTo>
                        <a:pt x="399" y="193172"/>
                      </a:lnTo>
                      <a:cubicBezTo>
                        <a:pt x="-1835" y="204465"/>
                        <a:pt x="5533" y="215578"/>
                        <a:pt x="16826" y="217812"/>
                      </a:cubicBezTo>
                      <a:cubicBezTo>
                        <a:pt x="28120" y="220047"/>
                        <a:pt x="39232" y="212618"/>
                        <a:pt x="41466" y="201325"/>
                      </a:cubicBezTo>
                    </a:path>
                  </a:pathLst>
                </a:custGeom>
                <a:solidFill>
                  <a:srgbClr val="FFFFFF"/>
                </a:solidFill>
                <a:ln w="59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60957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 typeface="Arial"/>
                    <a:buNone/>
                    <a:tabLst/>
                    <a:defRPr/>
                  </a:pPr>
                  <a:endParaRPr kumimoji="0" lang="en-US" sz="2400" b="0" i="0" u="none" strike="noStrike" kern="0" cap="none" spc="0" normalizeH="0" baseline="0" noProof="0">
                    <a:ln>
                      <a:noFill/>
                    </a:ln>
                    <a:solidFill>
                      <a:srgbClr val="2F446B"/>
                    </a:solidFill>
                    <a:effectLst/>
                    <a:uLnTx/>
                    <a:uFillTx/>
                    <a:latin typeface="Arial" charset="0"/>
                    <a:ea typeface="ＭＳ Ｐゴシック" charset="0"/>
                    <a:cs typeface="Arial"/>
                    <a:sym typeface="Arial"/>
                  </a:endParaRPr>
                </a:p>
              </p:txBody>
            </p:sp>
            <p:sp>
              <p:nvSpPr>
                <p:cNvPr id="45" name="Freeform: Shape 45">
                  <a:extLst>
                    <a:ext uri="{FF2B5EF4-FFF2-40B4-BE49-F238E27FC236}">
                      <a16:creationId xmlns:a16="http://schemas.microsoft.com/office/drawing/2014/main" id="{2DC939CC-9BAB-D34C-8023-24D019B6E82F}"/>
                    </a:ext>
                  </a:extLst>
                </p:cNvPr>
                <p:cNvSpPr/>
                <p:nvPr/>
              </p:nvSpPr>
              <p:spPr>
                <a:xfrm>
                  <a:off x="11136438" y="583104"/>
                  <a:ext cx="76698" cy="218017"/>
                </a:xfrm>
                <a:custGeom>
                  <a:avLst/>
                  <a:gdLst>
                    <a:gd name="connsiteX0" fmla="*/ 35545 w 76698"/>
                    <a:gd name="connsiteY0" fmla="*/ 201325 h 218016"/>
                    <a:gd name="connsiteX1" fmla="*/ 397 w 76698"/>
                    <a:gd name="connsiteY1" fmla="*/ 25039 h 218016"/>
                    <a:gd name="connsiteX2" fmla="*/ 16884 w 76698"/>
                    <a:gd name="connsiteY2" fmla="*/ 399 h 218016"/>
                    <a:gd name="connsiteX3" fmla="*/ 41524 w 76698"/>
                    <a:gd name="connsiteY3" fmla="*/ 16886 h 218016"/>
                    <a:gd name="connsiteX4" fmla="*/ 76673 w 76698"/>
                    <a:gd name="connsiteY4" fmla="*/ 193172 h 218016"/>
                    <a:gd name="connsiteX5" fmla="*/ 60185 w 76698"/>
                    <a:gd name="connsiteY5" fmla="*/ 217812 h 218016"/>
                    <a:gd name="connsiteX6" fmla="*/ 35545 w 76698"/>
                    <a:gd name="connsiteY6" fmla="*/ 201325 h 21801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6698" h="218016">
                      <a:moveTo>
                        <a:pt x="35545" y="201325"/>
                      </a:moveTo>
                      <a:lnTo>
                        <a:pt x="397" y="25039"/>
                      </a:lnTo>
                      <a:cubicBezTo>
                        <a:pt x="-1838" y="13746"/>
                        <a:pt x="5591" y="2634"/>
                        <a:pt x="16884" y="399"/>
                      </a:cubicBezTo>
                      <a:cubicBezTo>
                        <a:pt x="28178" y="-1835"/>
                        <a:pt x="39229" y="5533"/>
                        <a:pt x="41524" y="16886"/>
                      </a:cubicBezTo>
                      <a:lnTo>
                        <a:pt x="76673" y="193172"/>
                      </a:lnTo>
                      <a:cubicBezTo>
                        <a:pt x="78907" y="204465"/>
                        <a:pt x="71479" y="215578"/>
                        <a:pt x="60185" y="217812"/>
                      </a:cubicBezTo>
                      <a:cubicBezTo>
                        <a:pt x="48892" y="220047"/>
                        <a:pt x="37780" y="212618"/>
                        <a:pt x="35545" y="201325"/>
                      </a:cubicBezTo>
                    </a:path>
                  </a:pathLst>
                </a:custGeom>
                <a:solidFill>
                  <a:srgbClr val="FFFFFF"/>
                </a:solidFill>
                <a:ln w="59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60957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 typeface="Arial"/>
                    <a:buNone/>
                    <a:tabLst/>
                    <a:defRPr/>
                  </a:pPr>
                  <a:endParaRPr kumimoji="0" lang="en-US" sz="2400" b="0" i="0" u="none" strike="noStrike" kern="0" cap="none" spc="0" normalizeH="0" baseline="0" noProof="0">
                    <a:ln>
                      <a:noFill/>
                    </a:ln>
                    <a:solidFill>
                      <a:srgbClr val="2F446B"/>
                    </a:solidFill>
                    <a:effectLst/>
                    <a:uLnTx/>
                    <a:uFillTx/>
                    <a:latin typeface="Arial" charset="0"/>
                    <a:ea typeface="ＭＳ Ｐゴシック" charset="0"/>
                    <a:cs typeface="Arial"/>
                    <a:sym typeface="Arial"/>
                  </a:endParaRPr>
                </a:p>
              </p:txBody>
            </p:sp>
            <p:sp>
              <p:nvSpPr>
                <p:cNvPr id="46" name="Freeform: Shape 46">
                  <a:extLst>
                    <a:ext uri="{FF2B5EF4-FFF2-40B4-BE49-F238E27FC236}">
                      <a16:creationId xmlns:a16="http://schemas.microsoft.com/office/drawing/2014/main" id="{D8888B84-1097-154B-9360-42B2DF54B4CC}"/>
                    </a:ext>
                  </a:extLst>
                </p:cNvPr>
                <p:cNvSpPr/>
                <p:nvPr/>
              </p:nvSpPr>
              <p:spPr>
                <a:xfrm>
                  <a:off x="11171584" y="583104"/>
                  <a:ext cx="76698" cy="218017"/>
                </a:xfrm>
                <a:custGeom>
                  <a:avLst/>
                  <a:gdLst>
                    <a:gd name="connsiteX0" fmla="*/ 41527 w 76698"/>
                    <a:gd name="connsiteY0" fmla="*/ 201325 h 218016"/>
                    <a:gd name="connsiteX1" fmla="*/ 76675 w 76698"/>
                    <a:gd name="connsiteY1" fmla="*/ 25039 h 218016"/>
                    <a:gd name="connsiteX2" fmla="*/ 60188 w 76698"/>
                    <a:gd name="connsiteY2" fmla="*/ 399 h 218016"/>
                    <a:gd name="connsiteX3" fmla="*/ 35548 w 76698"/>
                    <a:gd name="connsiteY3" fmla="*/ 16886 h 218016"/>
                    <a:gd name="connsiteX4" fmla="*/ 399 w 76698"/>
                    <a:gd name="connsiteY4" fmla="*/ 193172 h 218016"/>
                    <a:gd name="connsiteX5" fmla="*/ 16886 w 76698"/>
                    <a:gd name="connsiteY5" fmla="*/ 217812 h 218016"/>
                    <a:gd name="connsiteX6" fmla="*/ 41527 w 76698"/>
                    <a:gd name="connsiteY6" fmla="*/ 201325 h 21801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6698" h="218016">
                      <a:moveTo>
                        <a:pt x="41527" y="201325"/>
                      </a:moveTo>
                      <a:lnTo>
                        <a:pt x="76675" y="25039"/>
                      </a:lnTo>
                      <a:cubicBezTo>
                        <a:pt x="78909" y="13746"/>
                        <a:pt x="71481" y="2634"/>
                        <a:pt x="60188" y="399"/>
                      </a:cubicBezTo>
                      <a:cubicBezTo>
                        <a:pt x="48894" y="-1835"/>
                        <a:pt x="37782" y="5533"/>
                        <a:pt x="35548" y="16886"/>
                      </a:cubicBezTo>
                      <a:lnTo>
                        <a:pt x="399" y="193172"/>
                      </a:lnTo>
                      <a:cubicBezTo>
                        <a:pt x="-1835" y="204465"/>
                        <a:pt x="5533" y="215578"/>
                        <a:pt x="16886" y="217812"/>
                      </a:cubicBezTo>
                      <a:cubicBezTo>
                        <a:pt x="28180" y="220047"/>
                        <a:pt x="39292" y="212618"/>
                        <a:pt x="41527" y="201325"/>
                      </a:cubicBezTo>
                    </a:path>
                  </a:pathLst>
                </a:custGeom>
                <a:solidFill>
                  <a:srgbClr val="FFFFFF"/>
                </a:solidFill>
                <a:ln w="59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60957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0000"/>
                    </a:buClr>
                    <a:buSzTx/>
                    <a:buFont typeface="Arial"/>
                    <a:buNone/>
                    <a:tabLst/>
                    <a:defRPr/>
                  </a:pPr>
                  <a:endParaRPr kumimoji="0" lang="en-US" sz="2400" b="0" i="0" u="none" strike="noStrike" kern="0" cap="none" spc="0" normalizeH="0" baseline="0" noProof="0">
                    <a:ln>
                      <a:noFill/>
                    </a:ln>
                    <a:solidFill>
                      <a:srgbClr val="2F446B"/>
                    </a:solidFill>
                    <a:effectLst/>
                    <a:uLnTx/>
                    <a:uFillTx/>
                    <a:latin typeface="Arial" charset="0"/>
                    <a:ea typeface="ＭＳ Ｐゴシック" charset="0"/>
                    <a:cs typeface="Arial"/>
                    <a:sym typeface="Arial"/>
                  </a:endParaRPr>
                </a:p>
              </p:txBody>
            </p:sp>
          </p:grpSp>
        </p:grpSp>
      </p:grpSp>
      <p:sp>
        <p:nvSpPr>
          <p:cNvPr id="50" name="Round Same Side Corner Rectangle 41">
            <a:extLst>
              <a:ext uri="{FF2B5EF4-FFF2-40B4-BE49-F238E27FC236}">
                <a16:creationId xmlns:a16="http://schemas.microsoft.com/office/drawing/2014/main" id="{C3A89B50-DB32-2B49-B529-CEDC4C97FFAD}"/>
              </a:ext>
            </a:extLst>
          </p:cNvPr>
          <p:cNvSpPr>
            <a:spLocks/>
          </p:cNvSpPr>
          <p:nvPr/>
        </p:nvSpPr>
        <p:spPr>
          <a:xfrm>
            <a:off x="1033398" y="2519363"/>
            <a:ext cx="3200659" cy="491918"/>
          </a:xfrm>
          <a:prstGeom prst="roundRect">
            <a:avLst>
              <a:gd name="adj" fmla="val 50000"/>
            </a:avLst>
          </a:prstGeom>
          <a:solidFill>
            <a:schemeClr val="accent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095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iscoSansTT Light"/>
                <a:ea typeface="+mn-ea"/>
                <a:cs typeface="+mn-cs"/>
                <a:sym typeface="Arial"/>
              </a:rPr>
              <a:t>Pre-Packaged Tiers</a:t>
            </a:r>
          </a:p>
        </p:txBody>
      </p:sp>
      <p:sp>
        <p:nvSpPr>
          <p:cNvPr id="51" name="Round Same Side Corner Rectangle 41">
            <a:extLst>
              <a:ext uri="{FF2B5EF4-FFF2-40B4-BE49-F238E27FC236}">
                <a16:creationId xmlns:a16="http://schemas.microsoft.com/office/drawing/2014/main" id="{0A9B5809-3A49-5444-B382-E7E5B042177D}"/>
              </a:ext>
            </a:extLst>
          </p:cNvPr>
          <p:cNvSpPr>
            <a:spLocks/>
          </p:cNvSpPr>
          <p:nvPr/>
        </p:nvSpPr>
        <p:spPr>
          <a:xfrm>
            <a:off x="4495670" y="2519363"/>
            <a:ext cx="3200659" cy="491918"/>
          </a:xfrm>
          <a:prstGeom prst="roundRect">
            <a:avLst>
              <a:gd name="adj" fmla="val 50000"/>
            </a:avLst>
          </a:prstGeom>
          <a:solidFill>
            <a:schemeClr val="accent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095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iscoSansTT Light"/>
                <a:ea typeface="+mn-ea"/>
                <a:cs typeface="+mn-cs"/>
                <a:sym typeface="Arial"/>
              </a:rPr>
              <a:t>Built-In Flexibility</a:t>
            </a:r>
          </a:p>
        </p:txBody>
      </p:sp>
      <p:sp>
        <p:nvSpPr>
          <p:cNvPr id="52" name="Round Same Side Corner Rectangle 41">
            <a:extLst>
              <a:ext uri="{FF2B5EF4-FFF2-40B4-BE49-F238E27FC236}">
                <a16:creationId xmlns:a16="http://schemas.microsoft.com/office/drawing/2014/main" id="{5F59F260-A6EC-E349-A0FE-8CC96584A5C7}"/>
              </a:ext>
            </a:extLst>
          </p:cNvPr>
          <p:cNvSpPr>
            <a:spLocks/>
          </p:cNvSpPr>
          <p:nvPr/>
        </p:nvSpPr>
        <p:spPr>
          <a:xfrm>
            <a:off x="7957942" y="2519363"/>
            <a:ext cx="3200659" cy="491918"/>
          </a:xfrm>
          <a:prstGeom prst="roundRect">
            <a:avLst>
              <a:gd name="adj" fmla="val 50000"/>
            </a:avLst>
          </a:prstGeom>
          <a:solidFill>
            <a:schemeClr val="accent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095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iscoSansTT Light"/>
                <a:ea typeface="+mn-ea"/>
                <a:cs typeface="+mn-cs"/>
                <a:sym typeface="Arial"/>
              </a:rPr>
              <a:t>Customers of All Sizes</a:t>
            </a: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5E8BF201-431E-48AA-8552-7A2E9251362D}"/>
              </a:ext>
            </a:extLst>
          </p:cNvPr>
          <p:cNvGrpSpPr/>
          <p:nvPr/>
        </p:nvGrpSpPr>
        <p:grpSpPr>
          <a:xfrm>
            <a:off x="722551" y="4066655"/>
            <a:ext cx="3386509" cy="1132348"/>
            <a:chOff x="722551" y="4125506"/>
            <a:chExt cx="3386509" cy="1132348"/>
          </a:xfrm>
        </p:grpSpPr>
        <p:sp>
          <p:nvSpPr>
            <p:cNvPr id="763" name="Google Shape;763;p138"/>
            <p:cNvSpPr/>
            <p:nvPr/>
          </p:nvSpPr>
          <p:spPr>
            <a:xfrm>
              <a:off x="722551" y="4125506"/>
              <a:ext cx="3386509" cy="1132348"/>
            </a:xfrm>
            <a:prstGeom prst="roundRect">
              <a:avLst>
                <a:gd name="adj" fmla="val 50000"/>
              </a:avLst>
            </a:prstGeom>
            <a:solidFill>
              <a:schemeClr val="accent1"/>
            </a:solidFill>
            <a:ln w="19050">
              <a:noFill/>
            </a:ln>
          </p:spPr>
          <p:txBody>
            <a:bodyPr spcFirstLastPara="1" wrap="none" lIns="0" tIns="0" rIns="0" bIns="0" anchor="ctr" anchorCtr="0">
              <a:noAutofit/>
            </a:bodyPr>
            <a:lstStyle/>
            <a:p>
              <a:pPr marL="0" marR="0" lvl="0" indent="0" algn="ctr" defTabSz="121905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sz="1867" b="1" i="0" u="none" strike="noStrike" kern="0" cap="none" spc="0" normalizeH="0" baseline="0" noProof="0">
                <a:ln>
                  <a:noFill/>
                </a:ln>
                <a:solidFill>
                  <a:srgbClr val="14284A"/>
                </a:solidFill>
                <a:effectLst/>
                <a:uLnTx/>
                <a:uFillTx/>
                <a:latin typeface="CiscoSansTT ExtraLight" panose="020B0303020201020303" pitchFamily="34" charset="0"/>
                <a:ea typeface="ＭＳ Ｐゴシック" charset="0"/>
                <a:cs typeface="CiscoSansTT ExtraLight" panose="020B0303020201020303" pitchFamily="34" charset="0"/>
                <a:sym typeface="Arial"/>
              </a:endParaRPr>
            </a:p>
          </p:txBody>
        </p:sp>
        <p:sp>
          <p:nvSpPr>
            <p:cNvPr id="4" name="TextBox 3">
              <a:extLst>
                <a:ext uri="{FF2B5EF4-FFF2-40B4-BE49-F238E27FC236}">
                  <a16:creationId xmlns:a16="http://schemas.microsoft.com/office/drawing/2014/main" id="{EE943F1F-9A50-F14D-8FA0-16E6B14D6C38}"/>
                </a:ext>
              </a:extLst>
            </p:cNvPr>
            <p:cNvSpPr txBox="1"/>
            <p:nvPr/>
          </p:nvSpPr>
          <p:spPr>
            <a:xfrm>
              <a:off x="1125146" y="4504652"/>
              <a:ext cx="2581319" cy="61634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marL="0" marR="0" lvl="0" indent="0" algn="ctr" defTabSz="6095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r>
                <a: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14284A"/>
                  </a:solidFill>
                  <a:effectLst/>
                  <a:uLnTx/>
                  <a:uFillTx/>
                  <a:latin typeface="CiscoSansTT Light" panose="020B0503020201020303" pitchFamily="34" charset="0"/>
                  <a:ea typeface="ＭＳ Ｐゴシック" charset="0"/>
                  <a:cs typeface="CiscoSansTT Light" panose="020B0503020201020303" pitchFamily="34" charset="0"/>
                  <a:sym typeface="Arial"/>
                </a:rPr>
                <a:t>Guidance throughout the technology lifecycle</a:t>
              </a:r>
            </a:p>
            <a:p>
              <a:pPr marL="0" marR="0" lvl="0" indent="0" algn="l" defTabSz="6095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2F446B"/>
                </a:solidFill>
                <a:effectLst/>
                <a:uLnTx/>
                <a:uFillTx/>
                <a:latin typeface="CiscoSansTT Light" panose="020B0503020201020303" pitchFamily="34" charset="0"/>
                <a:ea typeface="ＭＳ Ｐゴシック" charset="0"/>
                <a:cs typeface="CiscoSansTT Light" panose="020B0503020201020303" pitchFamily="34" charset="0"/>
                <a:sym typeface="Arial"/>
              </a:endParaRPr>
            </a:p>
          </p:txBody>
        </p:sp>
      </p:grpSp>
      <p:grpSp>
        <p:nvGrpSpPr>
          <p:cNvPr id="15" name="Group 14">
            <a:extLst>
              <a:ext uri="{FF2B5EF4-FFF2-40B4-BE49-F238E27FC236}">
                <a16:creationId xmlns:a16="http://schemas.microsoft.com/office/drawing/2014/main" id="{AAD3A155-471F-42CA-B2C8-CC3EFB632281}"/>
              </a:ext>
            </a:extLst>
          </p:cNvPr>
          <p:cNvGrpSpPr/>
          <p:nvPr/>
        </p:nvGrpSpPr>
        <p:grpSpPr>
          <a:xfrm>
            <a:off x="4416577" y="4081164"/>
            <a:ext cx="3386509" cy="1103331"/>
            <a:chOff x="4369202" y="4125506"/>
            <a:chExt cx="3386509" cy="1103331"/>
          </a:xfrm>
        </p:grpSpPr>
        <p:sp>
          <p:nvSpPr>
            <p:cNvPr id="762" name="Google Shape;762;p138"/>
            <p:cNvSpPr/>
            <p:nvPr/>
          </p:nvSpPr>
          <p:spPr>
            <a:xfrm>
              <a:off x="4369202" y="4125506"/>
              <a:ext cx="3386509" cy="1103331"/>
            </a:xfrm>
            <a:prstGeom prst="roundRect">
              <a:avLst>
                <a:gd name="adj" fmla="val 50000"/>
              </a:avLst>
            </a:prstGeom>
            <a:solidFill>
              <a:schemeClr val="accent1"/>
            </a:solidFill>
            <a:ln w="19050">
              <a:noFill/>
            </a:ln>
          </p:spPr>
          <p:txBody>
            <a:bodyPr spcFirstLastPara="1" wrap="none" lIns="0" tIns="0" rIns="0" bIns="0" anchor="ctr" anchorCtr="0">
              <a:noAutofit/>
            </a:bodyPr>
            <a:lstStyle/>
            <a:p>
              <a:pPr marL="0" marR="0" lvl="0" indent="0" algn="ctr" defTabSz="121905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ts val="1600"/>
                <a:buFont typeface="Arial"/>
                <a:buNone/>
                <a:tabLst/>
                <a:defRPr/>
              </a:pPr>
              <a:endParaRPr kumimoji="0" sz="1867" b="1" i="0" u="none" strike="noStrike" kern="0" cap="none" spc="0" normalizeH="0" baseline="0" noProof="0">
                <a:ln>
                  <a:noFill/>
                </a:ln>
                <a:solidFill>
                  <a:srgbClr val="14284A"/>
                </a:solidFill>
                <a:effectLst/>
                <a:uLnTx/>
                <a:uFillTx/>
                <a:latin typeface="CiscoSansTT ExtraLight" panose="020B0303020201020303" pitchFamily="34" charset="0"/>
                <a:ea typeface="ＭＳ Ｐゴシック" charset="0"/>
                <a:cs typeface="CiscoSansTT ExtraLight" panose="020B0303020201020303" pitchFamily="34" charset="0"/>
                <a:sym typeface="Arial"/>
              </a:endParaRPr>
            </a:p>
          </p:txBody>
        </p:sp>
        <p:sp>
          <p:nvSpPr>
            <p:cNvPr id="5" name="TextBox 4">
              <a:extLst>
                <a:ext uri="{FF2B5EF4-FFF2-40B4-BE49-F238E27FC236}">
                  <a16:creationId xmlns:a16="http://schemas.microsoft.com/office/drawing/2014/main" id="{41F80403-898B-AF46-9418-BCF82F5194B2}"/>
                </a:ext>
              </a:extLst>
            </p:cNvPr>
            <p:cNvSpPr txBox="1"/>
            <p:nvPr/>
          </p:nvSpPr>
          <p:spPr>
            <a:xfrm>
              <a:off x="5091810" y="4504652"/>
              <a:ext cx="1941293" cy="616346"/>
            </a:xfrm>
            <a:prstGeom prst="rect">
              <a:avLst/>
            </a:prstGeom>
            <a:noFill/>
          </p:spPr>
          <p:txBody>
            <a:bodyPr wrap="none" lIns="0" tIns="0" rIns="0" bIns="0" rtlCol="0">
              <a:noAutofit/>
            </a:bodyPr>
            <a:lstStyle/>
            <a:p>
              <a:pPr marL="0" marR="0" lvl="0" indent="0" algn="ctr" defTabSz="121905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>
                  <a:srgbClr val="000000"/>
                </a:buClr>
                <a:buSzPts val="1600"/>
                <a:buFont typeface="Arial"/>
                <a:buNone/>
                <a:tabLst/>
                <a:defRPr/>
              </a:pPr>
              <a:r>
                <a: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14284A"/>
                  </a:solidFill>
                  <a:effectLst/>
                  <a:uLnTx/>
                  <a:uFillTx/>
                  <a:latin typeface="CiscoSansTT Light" panose="020B0503020201020303" pitchFamily="34" charset="0"/>
                  <a:ea typeface="ＭＳ Ｐゴシック" charset="0"/>
                  <a:cs typeface="CiscoSansTT Light" panose="020B0503020201020303" pitchFamily="34" charset="0"/>
                  <a:sym typeface="Arial"/>
                </a:rPr>
                <a:t>Continuous</a:t>
              </a:r>
            </a:p>
            <a:p>
              <a:pPr marL="0" marR="0" lvl="0" indent="0" algn="ctr" defTabSz="121905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>
                  <a:srgbClr val="000000"/>
                </a:buClr>
                <a:buSzPts val="1600"/>
                <a:buFont typeface="Arial"/>
                <a:buNone/>
                <a:tabLst/>
                <a:defRPr/>
              </a:pPr>
              <a:r>
                <a: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14284A"/>
                  </a:solidFill>
                  <a:effectLst/>
                  <a:uLnTx/>
                  <a:uFillTx/>
                  <a:latin typeface="CiscoSansTT Light" panose="020B0503020201020303" pitchFamily="34" charset="0"/>
                  <a:ea typeface="ＭＳ Ｐゴシック" charset="0"/>
                  <a:cs typeface="CiscoSansTT Light" panose="020B0503020201020303" pitchFamily="34" charset="0"/>
                  <a:sym typeface="Arial"/>
                </a:rPr>
                <a:t>engagement</a:t>
              </a:r>
            </a:p>
            <a:p>
              <a:pPr marL="0" marR="0" lvl="0" indent="0" algn="l" defTabSz="6095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2F446B"/>
                </a:solidFill>
                <a:effectLst/>
                <a:uLnTx/>
                <a:uFillTx/>
                <a:latin typeface="CiscoSansTT Light" panose="020B0503020201020303" pitchFamily="34" charset="0"/>
                <a:ea typeface="ＭＳ Ｐゴシック" charset="0"/>
                <a:cs typeface="CiscoSansTT Light" panose="020B0503020201020303" pitchFamily="34" charset="0"/>
                <a:sym typeface="Arial"/>
              </a:endParaRPr>
            </a:p>
          </p:txBody>
        </p:sp>
      </p:grpSp>
      <p:grpSp>
        <p:nvGrpSpPr>
          <p:cNvPr id="17" name="Group 16">
            <a:extLst>
              <a:ext uri="{FF2B5EF4-FFF2-40B4-BE49-F238E27FC236}">
                <a16:creationId xmlns:a16="http://schemas.microsoft.com/office/drawing/2014/main" id="{E61638B8-C506-43A8-9430-A6D35A0F0A7D}"/>
              </a:ext>
            </a:extLst>
          </p:cNvPr>
          <p:cNvGrpSpPr/>
          <p:nvPr/>
        </p:nvGrpSpPr>
        <p:grpSpPr>
          <a:xfrm>
            <a:off x="8086354" y="4066655"/>
            <a:ext cx="3386509" cy="1132348"/>
            <a:chOff x="8045211" y="4125506"/>
            <a:chExt cx="3386509" cy="1132348"/>
          </a:xfrm>
        </p:grpSpPr>
        <p:sp>
          <p:nvSpPr>
            <p:cNvPr id="29" name="Google Shape;762;p138">
              <a:extLst>
                <a:ext uri="{FF2B5EF4-FFF2-40B4-BE49-F238E27FC236}">
                  <a16:creationId xmlns:a16="http://schemas.microsoft.com/office/drawing/2014/main" id="{511221D7-303A-3340-A6E0-CB2ED09FF33B}"/>
                </a:ext>
              </a:extLst>
            </p:cNvPr>
            <p:cNvSpPr/>
            <p:nvPr/>
          </p:nvSpPr>
          <p:spPr>
            <a:xfrm>
              <a:off x="8045211" y="4125506"/>
              <a:ext cx="3386509" cy="1132348"/>
            </a:xfrm>
            <a:prstGeom prst="roundRect">
              <a:avLst>
                <a:gd name="adj" fmla="val 50000"/>
              </a:avLst>
            </a:prstGeom>
            <a:solidFill>
              <a:schemeClr val="accent1"/>
            </a:solidFill>
            <a:ln w="19050">
              <a:noFill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spcFirstLastPara="1" wrap="none" lIns="0" tIns="0" rIns="0" bIns="0" anchor="ctr" anchorCtr="0">
              <a:noAutofit/>
            </a:bodyPr>
            <a:lstStyle/>
            <a:p>
              <a:pPr marL="0" marR="0" lvl="0" indent="0" algn="ctr" defTabSz="609539" rtl="0" eaLnBrk="1" fontAlgn="t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en-GB" sz="1867" b="1" i="0" u="none" strike="noStrike" kern="0" cap="none" spc="0" normalizeH="0" baseline="0" noProof="0">
                <a:ln>
                  <a:noFill/>
                </a:ln>
                <a:solidFill>
                  <a:srgbClr val="14284A"/>
                </a:solidFill>
                <a:effectLst/>
                <a:uLnTx/>
                <a:uFillTx/>
                <a:latin typeface="CiscoSansTT ExtraLight" panose="020B0303020201020303" pitchFamily="34" charset="0"/>
                <a:ea typeface="ＭＳ Ｐゴシック"/>
                <a:cs typeface="CiscoSansTT ExtraLight" panose="020B0303020201020303" pitchFamily="34" charset="0"/>
                <a:sym typeface="Arial"/>
              </a:endParaRPr>
            </a:p>
          </p:txBody>
        </p:sp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80B1556D-F0DF-9144-B457-B59DE34AA0E6}"/>
                </a:ext>
              </a:extLst>
            </p:cNvPr>
            <p:cNvSpPr txBox="1"/>
            <p:nvPr/>
          </p:nvSpPr>
          <p:spPr>
            <a:xfrm>
              <a:off x="9128865" y="4504652"/>
              <a:ext cx="1219200" cy="616346"/>
            </a:xfrm>
            <a:prstGeom prst="rect">
              <a:avLst/>
            </a:prstGeom>
            <a:noFill/>
          </p:spPr>
          <p:txBody>
            <a:bodyPr wrap="none" lIns="0" tIns="0" rIns="0" bIns="0" rtlCol="0">
              <a:noAutofit/>
            </a:bodyPr>
            <a:lstStyle/>
            <a:p>
              <a:pPr marL="0" marR="0" lvl="0" indent="0" algn="ctr" defTabSz="6095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r>
                <a:rPr kumimoji="0" lang="en-GB" sz="1800" b="0" i="0" u="none" strike="noStrike" kern="0" cap="none" spc="0" normalizeH="0" baseline="0" noProof="0">
                  <a:ln>
                    <a:noFill/>
                  </a:ln>
                  <a:solidFill>
                    <a:srgbClr val="14284A"/>
                  </a:solidFill>
                  <a:effectLst/>
                  <a:uLnTx/>
                  <a:uFillTx/>
                  <a:latin typeface="CiscoSansTT Light" panose="020B0503020201020303" pitchFamily="34" charset="0"/>
                  <a:ea typeface="ＭＳ Ｐゴシック"/>
                  <a:cs typeface="CiscoSansTT Light" panose="020B0503020201020303" pitchFamily="34" charset="0"/>
                  <a:sym typeface="Arial"/>
                </a:rPr>
                <a:t>Value for </a:t>
              </a:r>
              <a:br>
                <a:rPr kumimoji="0" lang="en-GB" sz="1800" b="0" i="0" u="none" strike="noStrike" kern="0" cap="none" spc="0" normalizeH="0" baseline="0" noProof="0">
                  <a:ln>
                    <a:noFill/>
                  </a:ln>
                  <a:solidFill>
                    <a:srgbClr val="14284A"/>
                  </a:solidFill>
                  <a:effectLst/>
                  <a:uLnTx/>
                  <a:uFillTx/>
                  <a:latin typeface="CiscoSansTT Light" panose="020B0503020201020303" pitchFamily="34" charset="0"/>
                  <a:ea typeface="ＭＳ Ｐゴシック"/>
                  <a:cs typeface="CiscoSansTT Light" panose="020B0503020201020303" pitchFamily="34" charset="0"/>
                  <a:sym typeface="Arial"/>
                </a:rPr>
              </a:br>
              <a:r>
                <a:rPr kumimoji="0" lang="en-GB" sz="1800" b="0" i="0" u="none" strike="noStrike" kern="0" cap="none" spc="0" normalizeH="0" baseline="0" noProof="0">
                  <a:ln>
                    <a:noFill/>
                  </a:ln>
                  <a:solidFill>
                    <a:srgbClr val="14284A"/>
                  </a:solidFill>
                  <a:effectLst/>
                  <a:uLnTx/>
                  <a:uFillTx/>
                  <a:latin typeface="CiscoSansTT Light" panose="020B0503020201020303" pitchFamily="34" charset="0"/>
                  <a:ea typeface="ＭＳ Ｐゴシック"/>
                  <a:cs typeface="CiscoSansTT Light" panose="020B0503020201020303" pitchFamily="34" charset="0"/>
                  <a:sym typeface="Arial"/>
                </a:rPr>
                <a:t>key IT roles</a:t>
              </a:r>
            </a:p>
            <a:p>
              <a:pPr marL="0" marR="0" lvl="0" indent="0" algn="l" defTabSz="60957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2F446B"/>
                </a:solidFill>
                <a:effectLst/>
                <a:uLnTx/>
                <a:uFillTx/>
                <a:latin typeface="CiscoSansTT Light" panose="020B0503020201020303" pitchFamily="34" charset="0"/>
                <a:ea typeface="ＭＳ Ｐゴシック" charset="0"/>
                <a:cs typeface="CiscoSansTT Light" panose="020B0503020201020303" pitchFamily="34" charset="0"/>
                <a:sym typeface="Arial"/>
              </a:endParaRPr>
            </a:p>
          </p:txBody>
        </p:sp>
      </p:grpSp>
      <p:sp>
        <p:nvSpPr>
          <p:cNvPr id="7" name="TextBox 6">
            <a:extLst>
              <a:ext uri="{FF2B5EF4-FFF2-40B4-BE49-F238E27FC236}">
                <a16:creationId xmlns:a16="http://schemas.microsoft.com/office/drawing/2014/main" id="{3C1D6CDE-6A8A-7244-851A-35C2473CAA73}"/>
              </a:ext>
            </a:extLst>
          </p:cNvPr>
          <p:cNvSpPr txBox="1"/>
          <p:nvPr/>
        </p:nvSpPr>
        <p:spPr>
          <a:xfrm>
            <a:off x="2791012" y="3239008"/>
            <a:ext cx="6602045" cy="31708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ctr" defTabSz="60957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ts val="160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00BCEB"/>
                </a:solidFill>
                <a:effectLst/>
                <a:uLnTx/>
                <a:uFillTx/>
                <a:latin typeface="CiscoSansTT ExtraLight"/>
                <a:ea typeface="ＭＳ Ｐゴシック" charset="0"/>
                <a:cs typeface="Arial"/>
                <a:sym typeface="Arial"/>
              </a:rPr>
              <a:t>Create </a:t>
            </a:r>
            <a:r>
              <a:rPr kumimoji="0" lang="en-US" sz="1800" b="1" i="0" u="none" strike="noStrike" kern="0" cap="none" spc="0" normalizeH="0" baseline="0" noProof="0">
                <a:ln>
                  <a:noFill/>
                </a:ln>
                <a:solidFill>
                  <a:srgbClr val="00BCEB"/>
                </a:solidFill>
                <a:effectLst/>
                <a:uLnTx/>
                <a:uFillTx/>
                <a:latin typeface="CiscoSansTT ExtraLight"/>
                <a:ea typeface="ＭＳ Ｐゴシック" charset="0"/>
                <a:cs typeface="Arial"/>
                <a:sym typeface="Arial"/>
              </a:rPr>
              <a:t>resilient, adaptive, and transformative IT</a:t>
            </a: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2F446B"/>
              </a:solidFill>
              <a:effectLst/>
              <a:uLnTx/>
              <a:uFillTx/>
              <a:latin typeface="CiscoSansTT ExtraLight"/>
              <a:ea typeface="ＭＳ Ｐゴシック" charset="0"/>
              <a:cs typeface="Arial"/>
              <a:sym typeface="Arial"/>
            </a:endParaRPr>
          </a:p>
        </p:txBody>
      </p:sp>
      <p:grpSp>
        <p:nvGrpSpPr>
          <p:cNvPr id="56" name="Group 55">
            <a:extLst>
              <a:ext uri="{FF2B5EF4-FFF2-40B4-BE49-F238E27FC236}">
                <a16:creationId xmlns:a16="http://schemas.microsoft.com/office/drawing/2014/main" id="{94CB7B2F-BB66-41B0-A9BC-7E43496D8423}"/>
              </a:ext>
            </a:extLst>
          </p:cNvPr>
          <p:cNvGrpSpPr/>
          <p:nvPr/>
        </p:nvGrpSpPr>
        <p:grpSpPr>
          <a:xfrm>
            <a:off x="2012897" y="3610219"/>
            <a:ext cx="805816" cy="805816"/>
            <a:chOff x="2111692" y="3463290"/>
            <a:chExt cx="805816" cy="805816"/>
          </a:xfrm>
        </p:grpSpPr>
        <p:sp>
          <p:nvSpPr>
            <p:cNvPr id="57" name="Oval 56">
              <a:extLst>
                <a:ext uri="{FF2B5EF4-FFF2-40B4-BE49-F238E27FC236}">
                  <a16:creationId xmlns:a16="http://schemas.microsoft.com/office/drawing/2014/main" id="{993F744D-2087-4251-964C-EF7B511ACC39}"/>
                </a:ext>
              </a:extLst>
            </p:cNvPr>
            <p:cNvSpPr/>
            <p:nvPr/>
          </p:nvSpPr>
          <p:spPr>
            <a:xfrm>
              <a:off x="2111692" y="3463290"/>
              <a:ext cx="805816" cy="805816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en-US" sz="1100" b="0" i="0" u="none" strike="noStrike" kern="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iscoSansTT ExtraLight"/>
                <a:ea typeface="+mn-ea"/>
                <a:cs typeface="+mn-cs"/>
                <a:sym typeface="Arial"/>
              </a:endParaRPr>
            </a:p>
          </p:txBody>
        </p:sp>
        <p:pic>
          <p:nvPicPr>
            <p:cNvPr id="60" name="Picture 59">
              <a:extLst>
                <a:ext uri="{FF2B5EF4-FFF2-40B4-BE49-F238E27FC236}">
                  <a16:creationId xmlns:a16="http://schemas.microsoft.com/office/drawing/2014/main" id="{035076BD-6D7D-4CF7-B5AC-3F8F56E59A95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151236" y="3502834"/>
              <a:ext cx="726728" cy="726728"/>
            </a:xfrm>
            <a:prstGeom prst="rect">
              <a:avLst/>
            </a:prstGeom>
          </p:spPr>
        </p:pic>
      </p:grpSp>
      <p:grpSp>
        <p:nvGrpSpPr>
          <p:cNvPr id="61" name="Group 60">
            <a:extLst>
              <a:ext uri="{FF2B5EF4-FFF2-40B4-BE49-F238E27FC236}">
                <a16:creationId xmlns:a16="http://schemas.microsoft.com/office/drawing/2014/main" id="{36271A80-96A2-4F1D-8606-4D4D754832DA}"/>
              </a:ext>
            </a:extLst>
          </p:cNvPr>
          <p:cNvGrpSpPr/>
          <p:nvPr/>
        </p:nvGrpSpPr>
        <p:grpSpPr>
          <a:xfrm>
            <a:off x="5692244" y="3610219"/>
            <a:ext cx="805816" cy="805816"/>
            <a:chOff x="5733371" y="3489027"/>
            <a:chExt cx="805816" cy="805816"/>
          </a:xfrm>
        </p:grpSpPr>
        <p:sp>
          <p:nvSpPr>
            <p:cNvPr id="62" name="Oval 61">
              <a:extLst>
                <a:ext uri="{FF2B5EF4-FFF2-40B4-BE49-F238E27FC236}">
                  <a16:creationId xmlns:a16="http://schemas.microsoft.com/office/drawing/2014/main" id="{22006146-DA1A-4A7B-9034-0140101675D5}"/>
                </a:ext>
              </a:extLst>
            </p:cNvPr>
            <p:cNvSpPr/>
            <p:nvPr/>
          </p:nvSpPr>
          <p:spPr>
            <a:xfrm>
              <a:off x="5733371" y="3489027"/>
              <a:ext cx="805816" cy="805816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en-US" sz="1100" b="0" i="0" u="none" strike="noStrike" kern="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iscoSansTT ExtraLight"/>
                <a:ea typeface="+mn-ea"/>
                <a:cs typeface="+mn-cs"/>
                <a:sym typeface="Arial"/>
              </a:endParaRPr>
            </a:p>
          </p:txBody>
        </p:sp>
        <p:pic>
          <p:nvPicPr>
            <p:cNvPr id="63" name="Picture 62">
              <a:extLst>
                <a:ext uri="{FF2B5EF4-FFF2-40B4-BE49-F238E27FC236}">
                  <a16:creationId xmlns:a16="http://schemas.microsoft.com/office/drawing/2014/main" id="{618C8994-2398-4CD2-BED0-EDCBE8F88695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772915" y="3528571"/>
              <a:ext cx="726728" cy="726728"/>
            </a:xfrm>
            <a:prstGeom prst="rect">
              <a:avLst/>
            </a:prstGeom>
          </p:spPr>
        </p:pic>
      </p:grpSp>
      <p:grpSp>
        <p:nvGrpSpPr>
          <p:cNvPr id="64" name="Group 63">
            <a:extLst>
              <a:ext uri="{FF2B5EF4-FFF2-40B4-BE49-F238E27FC236}">
                <a16:creationId xmlns:a16="http://schemas.microsoft.com/office/drawing/2014/main" id="{E81A42D6-6361-44BE-B797-1B54D7EB1D28}"/>
              </a:ext>
            </a:extLst>
          </p:cNvPr>
          <p:cNvGrpSpPr/>
          <p:nvPr/>
        </p:nvGrpSpPr>
        <p:grpSpPr>
          <a:xfrm>
            <a:off x="9376700" y="3610219"/>
            <a:ext cx="805816" cy="805816"/>
            <a:chOff x="9434773" y="3597620"/>
            <a:chExt cx="805816" cy="805816"/>
          </a:xfrm>
        </p:grpSpPr>
        <p:sp>
          <p:nvSpPr>
            <p:cNvPr id="65" name="Oval 64">
              <a:extLst>
                <a:ext uri="{FF2B5EF4-FFF2-40B4-BE49-F238E27FC236}">
                  <a16:creationId xmlns:a16="http://schemas.microsoft.com/office/drawing/2014/main" id="{4CE12509-F3C6-4928-BD1A-0BE3F5616D79}"/>
                </a:ext>
              </a:extLst>
            </p:cNvPr>
            <p:cNvSpPr/>
            <p:nvPr/>
          </p:nvSpPr>
          <p:spPr>
            <a:xfrm>
              <a:off x="9434773" y="3597620"/>
              <a:ext cx="805816" cy="805816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en-US" sz="1100" b="0" i="0" u="none" strike="noStrike" kern="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iscoSansTT ExtraLight"/>
                <a:ea typeface="+mn-ea"/>
                <a:cs typeface="+mn-cs"/>
                <a:sym typeface="Arial"/>
              </a:endParaRPr>
            </a:p>
          </p:txBody>
        </p:sp>
        <p:pic>
          <p:nvPicPr>
            <p:cNvPr id="66" name="Picture 65">
              <a:extLst>
                <a:ext uri="{FF2B5EF4-FFF2-40B4-BE49-F238E27FC236}">
                  <a16:creationId xmlns:a16="http://schemas.microsoft.com/office/drawing/2014/main" id="{F5453815-05FB-4A2E-9541-1706F6233C2F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474317" y="3637164"/>
              <a:ext cx="726728" cy="72672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435738924"/>
      </p:ext>
    </p:extLst>
  </p:cSld>
  <p:clrMapOvr>
    <a:masterClrMapping/>
  </p:clrMapOvr>
  <p:transition>
    <p:fade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" name="Oval 42">
            <a:extLst>
              <a:ext uri="{FF2B5EF4-FFF2-40B4-BE49-F238E27FC236}">
                <a16:creationId xmlns:a16="http://schemas.microsoft.com/office/drawing/2014/main" id="{E0D50B17-E3E5-437C-8568-B8EAA63525BB}"/>
              </a:ext>
            </a:extLst>
          </p:cNvPr>
          <p:cNvSpPr/>
          <p:nvPr/>
        </p:nvSpPr>
        <p:spPr>
          <a:xfrm>
            <a:off x="2389444" y="3115861"/>
            <a:ext cx="1018921" cy="1018921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609555" fontAlgn="base">
              <a:spcBef>
                <a:spcPct val="0"/>
              </a:spcBef>
              <a:spcAft>
                <a:spcPts val="800"/>
              </a:spcAft>
              <a:defRPr/>
            </a:pPr>
            <a:endParaRPr lang="en-US" sz="1467">
              <a:solidFill>
                <a:srgbClr val="FFFFFF"/>
              </a:solidFill>
              <a:latin typeface="CiscoSansTT ExtraLight"/>
            </a:endParaRPr>
          </a:p>
        </p:txBody>
      </p:sp>
      <p:sp>
        <p:nvSpPr>
          <p:cNvPr id="24" name="Rectangle: Top Corners Rounded 23">
            <a:extLst>
              <a:ext uri="{FF2B5EF4-FFF2-40B4-BE49-F238E27FC236}">
                <a16:creationId xmlns:a16="http://schemas.microsoft.com/office/drawing/2014/main" id="{D3C88F9A-B35C-47DA-A939-5F14A1B52C1E}"/>
              </a:ext>
            </a:extLst>
          </p:cNvPr>
          <p:cNvSpPr/>
          <p:nvPr/>
        </p:nvSpPr>
        <p:spPr>
          <a:xfrm rot="10800000">
            <a:off x="5986763" y="1"/>
            <a:ext cx="1322400" cy="5676899"/>
          </a:xfrm>
          <a:prstGeom prst="round2SameRect">
            <a:avLst>
              <a:gd name="adj1" fmla="val 50000"/>
              <a:gd name="adj2" fmla="val 0"/>
            </a:avLst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609570" fontAlgn="base">
              <a:spcBef>
                <a:spcPct val="0"/>
              </a:spcBef>
              <a:spcAft>
                <a:spcPts val="600"/>
              </a:spcAft>
              <a:defRPr/>
            </a:pPr>
            <a:endParaRPr lang="en-US" sz="1100">
              <a:solidFill>
                <a:srgbClr val="FFFFFF"/>
              </a:solidFill>
              <a:latin typeface="CiscoSansTT ExtraLight"/>
            </a:endParaRPr>
          </a:p>
        </p:txBody>
      </p:sp>
      <p:grpSp>
        <p:nvGrpSpPr>
          <p:cNvPr id="32" name="Group 31">
            <a:extLst>
              <a:ext uri="{FF2B5EF4-FFF2-40B4-BE49-F238E27FC236}">
                <a16:creationId xmlns:a16="http://schemas.microsoft.com/office/drawing/2014/main" id="{A0947B6E-274B-469E-8212-BE97B33AE7F1}"/>
              </a:ext>
            </a:extLst>
          </p:cNvPr>
          <p:cNvGrpSpPr/>
          <p:nvPr/>
        </p:nvGrpSpPr>
        <p:grpSpPr>
          <a:xfrm>
            <a:off x="6305962" y="890451"/>
            <a:ext cx="807900" cy="807900"/>
            <a:chOff x="4305120" y="-696436"/>
            <a:chExt cx="807900" cy="807900"/>
          </a:xfrm>
        </p:grpSpPr>
        <p:sp>
          <p:nvSpPr>
            <p:cNvPr id="29" name="Oval 28">
              <a:extLst>
                <a:ext uri="{FF2B5EF4-FFF2-40B4-BE49-F238E27FC236}">
                  <a16:creationId xmlns:a16="http://schemas.microsoft.com/office/drawing/2014/main" id="{E007A360-15DF-4B7D-B97D-36FCA1194F82}"/>
                </a:ext>
              </a:extLst>
            </p:cNvPr>
            <p:cNvSpPr/>
            <p:nvPr/>
          </p:nvSpPr>
          <p:spPr>
            <a:xfrm>
              <a:off x="4305120" y="-696436"/>
              <a:ext cx="807900" cy="8079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609570" fontAlgn="base">
                <a:spcBef>
                  <a:spcPct val="0"/>
                </a:spcBef>
                <a:spcAft>
                  <a:spcPts val="600"/>
                </a:spcAft>
                <a:defRPr/>
              </a:pPr>
              <a:endParaRPr lang="en-US" sz="1100">
                <a:solidFill>
                  <a:srgbClr val="FFFFFF"/>
                </a:solidFill>
                <a:latin typeface="CiscoSansTT ExtraLight"/>
              </a:endParaRPr>
            </a:p>
          </p:txBody>
        </p:sp>
        <p:pic>
          <p:nvPicPr>
            <p:cNvPr id="25" name="Graphic 24">
              <a:extLst>
                <a:ext uri="{FF2B5EF4-FFF2-40B4-BE49-F238E27FC236}">
                  <a16:creationId xmlns:a16="http://schemas.microsoft.com/office/drawing/2014/main" id="{48F4CAF4-03DE-41AF-B659-826CB0F3BFD2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4367070" y="-634486"/>
              <a:ext cx="684000" cy="684000"/>
            </a:xfrm>
            <a:prstGeom prst="rect">
              <a:avLst/>
            </a:prstGeom>
          </p:spPr>
        </p:pic>
      </p:grp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D5ACAC6-06BA-4047-851D-F180896641EC}"/>
              </a:ext>
            </a:extLst>
          </p:cNvPr>
          <p:cNvGrpSpPr/>
          <p:nvPr/>
        </p:nvGrpSpPr>
        <p:grpSpPr>
          <a:xfrm>
            <a:off x="6258590" y="2746851"/>
            <a:ext cx="807900" cy="807900"/>
            <a:chOff x="5166180" y="-696436"/>
            <a:chExt cx="807900" cy="807900"/>
          </a:xfrm>
        </p:grpSpPr>
        <p:sp>
          <p:nvSpPr>
            <p:cNvPr id="30" name="Oval 29">
              <a:extLst>
                <a:ext uri="{FF2B5EF4-FFF2-40B4-BE49-F238E27FC236}">
                  <a16:creationId xmlns:a16="http://schemas.microsoft.com/office/drawing/2014/main" id="{D9A9240F-5107-42DE-A431-55D534EDFBCF}"/>
                </a:ext>
              </a:extLst>
            </p:cNvPr>
            <p:cNvSpPr/>
            <p:nvPr/>
          </p:nvSpPr>
          <p:spPr>
            <a:xfrm>
              <a:off x="5166180" y="-696436"/>
              <a:ext cx="807900" cy="8079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609570" fontAlgn="base">
                <a:spcBef>
                  <a:spcPct val="0"/>
                </a:spcBef>
                <a:spcAft>
                  <a:spcPts val="600"/>
                </a:spcAft>
                <a:defRPr/>
              </a:pPr>
              <a:endParaRPr lang="en-US" sz="1100">
                <a:solidFill>
                  <a:srgbClr val="FFFFFF"/>
                </a:solidFill>
                <a:latin typeface="CiscoSansTT ExtraLight"/>
              </a:endParaRPr>
            </a:p>
          </p:txBody>
        </p:sp>
        <p:pic>
          <p:nvPicPr>
            <p:cNvPr id="26" name="Graphic 25">
              <a:extLst>
                <a:ext uri="{FF2B5EF4-FFF2-40B4-BE49-F238E27FC236}">
                  <a16:creationId xmlns:a16="http://schemas.microsoft.com/office/drawing/2014/main" id="{ADB5B36A-A1A2-4F89-85FE-ACE40AFA37A6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5228130" y="-634486"/>
              <a:ext cx="684000" cy="684000"/>
            </a:xfrm>
            <a:prstGeom prst="rect">
              <a:avLst/>
            </a:prstGeom>
          </p:spPr>
        </p:pic>
      </p:grpSp>
      <p:grpSp>
        <p:nvGrpSpPr>
          <p:cNvPr id="36" name="Group 35">
            <a:extLst>
              <a:ext uri="{FF2B5EF4-FFF2-40B4-BE49-F238E27FC236}">
                <a16:creationId xmlns:a16="http://schemas.microsoft.com/office/drawing/2014/main" id="{6259A9BE-06C5-4669-BDCB-085047EC26F1}"/>
              </a:ext>
            </a:extLst>
          </p:cNvPr>
          <p:cNvGrpSpPr/>
          <p:nvPr/>
        </p:nvGrpSpPr>
        <p:grpSpPr>
          <a:xfrm>
            <a:off x="6244013" y="4542069"/>
            <a:ext cx="807900" cy="807900"/>
            <a:chOff x="6596200" y="4601700"/>
            <a:chExt cx="807900" cy="807900"/>
          </a:xfrm>
        </p:grpSpPr>
        <p:sp>
          <p:nvSpPr>
            <p:cNvPr id="31" name="Oval 30">
              <a:extLst>
                <a:ext uri="{FF2B5EF4-FFF2-40B4-BE49-F238E27FC236}">
                  <a16:creationId xmlns:a16="http://schemas.microsoft.com/office/drawing/2014/main" id="{082CBDF0-7A91-4BF5-8F62-06BF43A63178}"/>
                </a:ext>
              </a:extLst>
            </p:cNvPr>
            <p:cNvSpPr/>
            <p:nvPr/>
          </p:nvSpPr>
          <p:spPr>
            <a:xfrm>
              <a:off x="6596200" y="4601700"/>
              <a:ext cx="807900" cy="8079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609570" fontAlgn="base">
                <a:spcBef>
                  <a:spcPct val="0"/>
                </a:spcBef>
                <a:spcAft>
                  <a:spcPts val="600"/>
                </a:spcAft>
                <a:defRPr/>
              </a:pPr>
              <a:endParaRPr lang="en-US" sz="1100">
                <a:solidFill>
                  <a:srgbClr val="FFFFFF"/>
                </a:solidFill>
                <a:latin typeface="CiscoSansTT ExtraLight"/>
              </a:endParaRPr>
            </a:p>
          </p:txBody>
        </p:sp>
        <p:pic>
          <p:nvPicPr>
            <p:cNvPr id="35" name="Graphic 34">
              <a:extLst>
                <a:ext uri="{FF2B5EF4-FFF2-40B4-BE49-F238E27FC236}">
                  <a16:creationId xmlns:a16="http://schemas.microsoft.com/office/drawing/2014/main" id="{231DA8BB-307C-4AFD-AD91-3765B85D5127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6658149" y="4663650"/>
              <a:ext cx="684000" cy="684000"/>
            </a:xfrm>
            <a:prstGeom prst="rect">
              <a:avLst/>
            </a:prstGeom>
          </p:spPr>
        </p:pic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37960166-684F-E04D-9896-E96E3058B57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Address risk more efficiently</a:t>
            </a:r>
            <a:br>
              <a:rPr lang="en-US"/>
            </a:br>
            <a:r>
              <a:rPr lang="en-US" sz="2400">
                <a:solidFill>
                  <a:schemeClr val="accent1"/>
                </a:solidFill>
              </a:rPr>
              <a:t>With the Collaborative Intelligence of Business Critical Services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02EAD49B-B634-4AEB-B9E6-F4A4E4F572E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708671" y="625203"/>
            <a:ext cx="3586163" cy="654396"/>
          </a:xfrm>
        </p:spPr>
        <p:txBody>
          <a:bodyPr>
            <a:noAutofit/>
          </a:bodyPr>
          <a:lstStyle/>
          <a:p>
            <a:r>
              <a:rPr lang="en-US" sz="2400"/>
              <a:t>Telemetry, Data, and Benchmarking</a:t>
            </a:r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A0D09888-4E19-4497-A1F7-4B247AEEC563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7708671" y="2543002"/>
            <a:ext cx="3586163" cy="654396"/>
          </a:xfrm>
        </p:spPr>
        <p:txBody>
          <a:bodyPr>
            <a:normAutofit/>
          </a:bodyPr>
          <a:lstStyle/>
          <a:p>
            <a:r>
              <a:rPr lang="en-US" sz="2400"/>
              <a:t>AI and ML insights</a:t>
            </a:r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D17506B5-AFF1-4D18-B141-BBFD52606871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7708671" y="4356141"/>
            <a:ext cx="3767993" cy="654396"/>
          </a:xfrm>
        </p:spPr>
        <p:txBody>
          <a:bodyPr>
            <a:noAutofit/>
          </a:bodyPr>
          <a:lstStyle/>
          <a:p>
            <a:r>
              <a:rPr lang="en-US" sz="2400"/>
              <a:t>Automation and remediation</a:t>
            </a:r>
          </a:p>
        </p:txBody>
      </p:sp>
      <p:pic>
        <p:nvPicPr>
          <p:cNvPr id="42" name="Picture Placeholder 41" descr="Two people looking at the camera&#10;&#10;Description automatically generated">
            <a:extLst>
              <a:ext uri="{FF2B5EF4-FFF2-40B4-BE49-F238E27FC236}">
                <a16:creationId xmlns:a16="http://schemas.microsoft.com/office/drawing/2014/main" id="{35E5CB1F-A7F2-48B7-971C-5ACABCDEFF94}"/>
              </a:ext>
            </a:extLst>
          </p:cNvPr>
          <p:cNvPicPr>
            <a:picLocks noGrp="1" noChangeAspect="1"/>
          </p:cNvPicPr>
          <p:nvPr>
            <p:ph type="pic" sz="quarter" idx="20"/>
          </p:nvPr>
        </p:nvPicPr>
        <p:blipFill>
          <a:blip r:embed="rId9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/>
      </p:pic>
      <p:sp>
        <p:nvSpPr>
          <p:cNvPr id="44" name="Google Shape;3765;p588">
            <a:extLst>
              <a:ext uri="{FF2B5EF4-FFF2-40B4-BE49-F238E27FC236}">
                <a16:creationId xmlns:a16="http://schemas.microsoft.com/office/drawing/2014/main" id="{E9D8359C-754D-439C-82F5-78969A2D828D}"/>
              </a:ext>
            </a:extLst>
          </p:cNvPr>
          <p:cNvSpPr txBox="1"/>
          <p:nvPr/>
        </p:nvSpPr>
        <p:spPr>
          <a:xfrm>
            <a:off x="454359" y="5504692"/>
            <a:ext cx="654228" cy="1233416"/>
          </a:xfrm>
          <a:prstGeom prst="rect">
            <a:avLst/>
          </a:prstGeom>
          <a:blipFill rotWithShape="1">
            <a:blip r:embed="rId10">
              <a:alphaModFix/>
            </a:blip>
            <a:stretch>
              <a:fillRect/>
            </a:stretch>
          </a:blipFill>
          <a:ln>
            <a:noFill/>
          </a:ln>
        </p:spPr>
        <p:txBody>
          <a:bodyPr spcFirstLastPara="1" wrap="square" lIns="121900" tIns="60933" rIns="121900" bIns="60933" anchor="t" anchorCtr="0">
            <a:noAutofit/>
          </a:bodyPr>
          <a:lstStyle/>
          <a:p>
            <a:pPr defTabSz="609555" fontAlgn="base">
              <a:spcBef>
                <a:spcPct val="0"/>
              </a:spcBef>
              <a:spcAft>
                <a:spcPct val="0"/>
              </a:spcAft>
              <a:buClr>
                <a:srgbClr val="00BCEB"/>
              </a:buClr>
              <a:buSzPts val="1210"/>
              <a:defRPr/>
            </a:pPr>
            <a:r>
              <a:rPr lang="en-US" sz="1467">
                <a:solidFill>
                  <a:srgbClr val="646C78"/>
                </a:solidFill>
                <a:latin typeface="CiscoSansTT ExtraLight" panose="020B0303020201020303" pitchFamily="34" charset="0"/>
                <a:ea typeface="ＭＳ Ｐゴシック" charset="0"/>
                <a:cs typeface="CiscoSansTT ExtraLight" panose="020B0303020201020303" pitchFamily="34" charset="0"/>
              </a:rPr>
              <a:t> </a:t>
            </a:r>
            <a:endParaRPr sz="1467">
              <a:solidFill>
                <a:srgbClr val="646C78"/>
              </a:solidFill>
              <a:latin typeface="CiscoSansTT ExtraLight" panose="020B0303020201020303" pitchFamily="34" charset="0"/>
              <a:ea typeface="ＭＳ Ｐゴシック" charset="0"/>
              <a:cs typeface="CiscoSansTT ExtraLight" panose="020B0303020201020303" pitchFamily="34" charset="0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A69B39F5-8937-8B49-820A-ECA37ACEC6BF}"/>
              </a:ext>
            </a:extLst>
          </p:cNvPr>
          <p:cNvSpPr txBox="1"/>
          <p:nvPr/>
        </p:nvSpPr>
        <p:spPr>
          <a:xfrm>
            <a:off x="7708670" y="1418423"/>
            <a:ext cx="2949913" cy="80924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228594" indent="-228594" defTabSz="609570" fontAlgn="base">
              <a:lnSpc>
                <a:spcPct val="110000"/>
              </a:lnSpc>
              <a:buFont typeface="Arial" panose="020B0604020202020204" pitchFamily="34" charset="0"/>
              <a:buChar char="•"/>
              <a:defRPr/>
            </a:pPr>
            <a:r>
              <a:rPr lang="en-US" sz="1467">
                <a:solidFill>
                  <a:srgbClr val="2F446B"/>
                </a:solidFill>
                <a:latin typeface="CiscoSansTT ExtraLight"/>
                <a:ea typeface="ＭＳ Ｐゴシック" charset="0"/>
              </a:rPr>
              <a:t>Secure and intelligent routing</a:t>
            </a:r>
          </a:p>
          <a:p>
            <a:pPr marL="228594" indent="-228594" defTabSz="609570" fontAlgn="base">
              <a:lnSpc>
                <a:spcPct val="110000"/>
              </a:lnSpc>
              <a:buFont typeface="Arial" panose="020B0604020202020204" pitchFamily="34" charset="0"/>
              <a:buChar char="•"/>
              <a:defRPr/>
            </a:pPr>
            <a:r>
              <a:rPr lang="en-US" sz="1467">
                <a:solidFill>
                  <a:srgbClr val="2F446B"/>
                </a:solidFill>
                <a:latin typeface="CiscoSansTT ExtraLight"/>
                <a:ea typeface="ＭＳ Ｐゴシック" charset="0"/>
              </a:rPr>
              <a:t>Always-on data conditioning</a:t>
            </a:r>
          </a:p>
          <a:p>
            <a:pPr marL="228594" indent="-228594" defTabSz="609570" fontAlgn="base">
              <a:lnSpc>
                <a:spcPct val="110000"/>
              </a:lnSpc>
              <a:buFont typeface="Arial" panose="020B0604020202020204" pitchFamily="34" charset="0"/>
              <a:buChar char="•"/>
              <a:defRPr/>
            </a:pPr>
            <a:r>
              <a:rPr lang="en-US" sz="1467">
                <a:solidFill>
                  <a:srgbClr val="2F446B"/>
                </a:solidFill>
                <a:latin typeface="CiscoSansTT ExtraLight"/>
                <a:ea typeface="ＭＳ Ｐゴシック" charset="0"/>
              </a:rPr>
              <a:t>Industry benchmarking globally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66CA2EE4-3159-C94E-BA00-4C73BCAD74D3}"/>
              </a:ext>
            </a:extLst>
          </p:cNvPr>
          <p:cNvSpPr txBox="1"/>
          <p:nvPr/>
        </p:nvSpPr>
        <p:spPr>
          <a:xfrm>
            <a:off x="7708670" y="3066973"/>
            <a:ext cx="3838375" cy="80924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228594" indent="-228594" defTabSz="609570" fontAlgn="base">
              <a:lnSpc>
                <a:spcPct val="110000"/>
              </a:lnSpc>
              <a:buFont typeface="Arial" panose="020B0604020202020204" pitchFamily="34" charset="0"/>
              <a:buChar char="•"/>
              <a:defRPr/>
            </a:pPr>
            <a:r>
              <a:rPr lang="en-US" sz="1467">
                <a:solidFill>
                  <a:srgbClr val="2F446B"/>
                </a:solidFill>
                <a:latin typeface="CiscoSansTT ExtraLight"/>
                <a:ea typeface="ＭＳ Ｐゴシック" charset="0"/>
              </a:rPr>
              <a:t>Patented algorithms and machine learning</a:t>
            </a:r>
          </a:p>
          <a:p>
            <a:pPr marL="228594" indent="-228594" defTabSz="609570" fontAlgn="base">
              <a:lnSpc>
                <a:spcPct val="110000"/>
              </a:lnSpc>
              <a:buFont typeface="Arial" panose="020B0604020202020204" pitchFamily="34" charset="0"/>
              <a:buChar char="•"/>
              <a:defRPr/>
            </a:pPr>
            <a:r>
              <a:rPr lang="en-US" sz="1467">
                <a:solidFill>
                  <a:srgbClr val="2F446B"/>
                </a:solidFill>
                <a:latin typeface="CiscoSansTT ExtraLight"/>
                <a:ea typeface="ＭＳ Ｐゴシック" charset="0"/>
              </a:rPr>
              <a:t>Prioritized remediation recommendations</a:t>
            </a:r>
          </a:p>
          <a:p>
            <a:pPr marL="228594" indent="-228594" defTabSz="609570" fontAlgn="base">
              <a:lnSpc>
                <a:spcPct val="110000"/>
              </a:lnSpc>
              <a:buFont typeface="Arial" panose="020B0604020202020204" pitchFamily="34" charset="0"/>
              <a:buChar char="•"/>
              <a:defRPr/>
            </a:pPr>
            <a:r>
              <a:rPr lang="en-US" sz="1467">
                <a:solidFill>
                  <a:srgbClr val="2F446B"/>
                </a:solidFill>
                <a:latin typeface="CiscoSansTT ExtraLight"/>
                <a:ea typeface="ＭＳ Ｐゴシック" charset="0"/>
              </a:rPr>
              <a:t>Predict and prevent downtime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491F53A6-A51F-B944-9ABE-6E529E03B7CE}"/>
              </a:ext>
            </a:extLst>
          </p:cNvPr>
          <p:cNvSpPr txBox="1"/>
          <p:nvPr/>
        </p:nvSpPr>
        <p:spPr>
          <a:xfrm>
            <a:off x="7708670" y="5125289"/>
            <a:ext cx="2949913" cy="80924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228594" indent="-228594" defTabSz="609570" fontAlgn="base">
              <a:lnSpc>
                <a:spcPct val="110000"/>
              </a:lnSpc>
              <a:buFont typeface="Arial" panose="020B0604020202020204" pitchFamily="34" charset="0"/>
              <a:buChar char="•"/>
              <a:defRPr/>
            </a:pPr>
            <a:r>
              <a:rPr lang="en-US" sz="1467">
                <a:solidFill>
                  <a:srgbClr val="2F446B"/>
                </a:solidFill>
                <a:latin typeface="CiscoSansTT ExtraLight"/>
                <a:ea typeface="ＭＳ Ｐゴシック" charset="0"/>
              </a:rPr>
              <a:t>Automate routine tasks</a:t>
            </a:r>
          </a:p>
          <a:p>
            <a:pPr marL="228594" indent="-228594" defTabSz="609570" fontAlgn="base">
              <a:lnSpc>
                <a:spcPct val="110000"/>
              </a:lnSpc>
              <a:buFont typeface="Arial" panose="020B0604020202020204" pitchFamily="34" charset="0"/>
              <a:buChar char="•"/>
              <a:defRPr/>
            </a:pPr>
            <a:r>
              <a:rPr lang="en-US" sz="1467">
                <a:solidFill>
                  <a:srgbClr val="2F446B"/>
                </a:solidFill>
                <a:latin typeface="CiscoSansTT ExtraLight"/>
                <a:ea typeface="ＭＳ Ｐゴシック" charset="0"/>
              </a:rPr>
              <a:t>Predictive, early warning alerts</a:t>
            </a:r>
          </a:p>
          <a:p>
            <a:pPr marL="228594" indent="-228594" defTabSz="609570" fontAlgn="base">
              <a:lnSpc>
                <a:spcPct val="110000"/>
              </a:lnSpc>
              <a:buFont typeface="Arial" panose="020B0604020202020204" pitchFamily="34" charset="0"/>
              <a:buChar char="•"/>
              <a:defRPr/>
            </a:pPr>
            <a:r>
              <a:rPr lang="en-US" sz="1467">
                <a:solidFill>
                  <a:srgbClr val="2F446B"/>
                </a:solidFill>
                <a:latin typeface="CiscoSansTT ExtraLight"/>
                <a:ea typeface="ＭＳ Ｐゴシック" charset="0"/>
              </a:rPr>
              <a:t>Automatically begin remediation</a:t>
            </a:r>
          </a:p>
        </p:txBody>
      </p:sp>
    </p:spTree>
    <p:extLst>
      <p:ext uri="{BB962C8B-B14F-4D97-AF65-F5344CB8AC3E}">
        <p14:creationId xmlns:p14="http://schemas.microsoft.com/office/powerpoint/2010/main" val="18832917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DEEA2C1-D079-C848-A666-47E8E6CBA36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667" y="456001"/>
            <a:ext cx="11472333" cy="903816"/>
          </a:xfrm>
        </p:spPr>
        <p:txBody>
          <a:bodyPr/>
          <a:lstStyle/>
          <a:p>
            <a:r>
              <a:rPr lang="en-US"/>
              <a:t>Business Critical Services</a:t>
            </a:r>
            <a:br>
              <a:rPr lang="en-US"/>
            </a:br>
            <a:r>
              <a:rPr lang="en-US" sz="2400">
                <a:solidFill>
                  <a:schemeClr val="accent1"/>
                </a:solidFill>
              </a:rPr>
              <a:t>A model for business continuity in the new world reality</a:t>
            </a:r>
          </a:p>
        </p:txBody>
      </p:sp>
      <p:sp>
        <p:nvSpPr>
          <p:cNvPr id="4" name="Round Same Side Corner Rectangle 41">
            <a:extLst>
              <a:ext uri="{FF2B5EF4-FFF2-40B4-BE49-F238E27FC236}">
                <a16:creationId xmlns:a16="http://schemas.microsoft.com/office/drawing/2014/main" id="{51C24580-A2AF-0F4E-A917-499E9F77C56D}"/>
              </a:ext>
            </a:extLst>
          </p:cNvPr>
          <p:cNvSpPr/>
          <p:nvPr/>
        </p:nvSpPr>
        <p:spPr>
          <a:xfrm>
            <a:off x="1200862" y="2461217"/>
            <a:ext cx="2871524" cy="3646433"/>
          </a:xfrm>
          <a:prstGeom prst="round2SameRect">
            <a:avLst/>
          </a:prstGeom>
          <a:solidFill>
            <a:srgbClr val="F5F6F9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09585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2400">
              <a:solidFill>
                <a:srgbClr val="FFFFFF"/>
              </a:solidFill>
              <a:latin typeface="CiscoSansTT ExtraLight"/>
            </a:endParaRPr>
          </a:p>
        </p:txBody>
      </p:sp>
      <p:sp>
        <p:nvSpPr>
          <p:cNvPr id="5" name="Round Same Side Corner Rectangle 41">
            <a:extLst>
              <a:ext uri="{FF2B5EF4-FFF2-40B4-BE49-F238E27FC236}">
                <a16:creationId xmlns:a16="http://schemas.microsoft.com/office/drawing/2014/main" id="{2B06CC1A-C46B-9B48-BB1C-67144B75A510}"/>
              </a:ext>
            </a:extLst>
          </p:cNvPr>
          <p:cNvSpPr/>
          <p:nvPr/>
        </p:nvSpPr>
        <p:spPr>
          <a:xfrm>
            <a:off x="4539914" y="2261149"/>
            <a:ext cx="2871524" cy="3646432"/>
          </a:xfrm>
          <a:prstGeom prst="round2SameRect">
            <a:avLst/>
          </a:prstGeom>
          <a:solidFill>
            <a:srgbClr val="F5F6F9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09585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2400">
              <a:solidFill>
                <a:srgbClr val="FFFFFF"/>
              </a:solidFill>
              <a:latin typeface="CiscoSansTT ExtraLight"/>
            </a:endParaRPr>
          </a:p>
        </p:txBody>
      </p:sp>
      <p:sp>
        <p:nvSpPr>
          <p:cNvPr id="6" name="Round Same Side Corner Rectangle 41">
            <a:extLst>
              <a:ext uri="{FF2B5EF4-FFF2-40B4-BE49-F238E27FC236}">
                <a16:creationId xmlns:a16="http://schemas.microsoft.com/office/drawing/2014/main" id="{80BF3A6C-6430-D94F-A24F-54A228ADFA1B}"/>
              </a:ext>
            </a:extLst>
          </p:cNvPr>
          <p:cNvSpPr/>
          <p:nvPr/>
        </p:nvSpPr>
        <p:spPr>
          <a:xfrm>
            <a:off x="7792526" y="2261150"/>
            <a:ext cx="2871524" cy="4008476"/>
          </a:xfrm>
          <a:prstGeom prst="round2SameRect">
            <a:avLst/>
          </a:prstGeom>
          <a:solidFill>
            <a:srgbClr val="F5F6F9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09585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2400">
              <a:solidFill>
                <a:srgbClr val="FFFFFF"/>
              </a:solidFill>
              <a:latin typeface="CiscoSansTT ExtraLight"/>
            </a:endParaRPr>
          </a:p>
        </p:txBody>
      </p:sp>
      <p:sp>
        <p:nvSpPr>
          <p:cNvPr id="8" name="Rounded Rectangle 7">
            <a:extLst>
              <a:ext uri="{FF2B5EF4-FFF2-40B4-BE49-F238E27FC236}">
                <a16:creationId xmlns:a16="http://schemas.microsoft.com/office/drawing/2014/main" id="{E122980B-97F6-134A-8059-B717DC896D14}"/>
              </a:ext>
            </a:extLst>
          </p:cNvPr>
          <p:cNvSpPr/>
          <p:nvPr/>
        </p:nvSpPr>
        <p:spPr>
          <a:xfrm>
            <a:off x="1153043" y="5646083"/>
            <a:ext cx="2978871" cy="552579"/>
          </a:xfrm>
          <a:prstGeom prst="roundRect">
            <a:avLst>
              <a:gd name="adj" fmla="val 50000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60957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2133">
                <a:solidFill>
                  <a:srgbClr val="FFFFFF"/>
                </a:solidFill>
                <a:latin typeface="CiscoSansTT Light" panose="020B0503020201020303" pitchFamily="34" charset="0"/>
                <a:cs typeface="CiscoSansTT Light" panose="020B0503020201020303" pitchFamily="34" charset="0"/>
              </a:rPr>
              <a:t>Resilient IT</a:t>
            </a:r>
            <a:endParaRPr lang="en-US" sz="2133" baseline="30000">
              <a:solidFill>
                <a:srgbClr val="FFFFFF"/>
              </a:solidFill>
              <a:latin typeface="CiscoSansTT Light" panose="020B0503020201020303" pitchFamily="34" charset="0"/>
              <a:cs typeface="CiscoSansTT Light" panose="020B0503020201020303" pitchFamily="34" charset="0"/>
            </a:endParaRPr>
          </a:p>
        </p:txBody>
      </p:sp>
      <p:sp>
        <p:nvSpPr>
          <p:cNvPr id="9" name="Rounded Rectangle 8">
            <a:extLst>
              <a:ext uri="{FF2B5EF4-FFF2-40B4-BE49-F238E27FC236}">
                <a16:creationId xmlns:a16="http://schemas.microsoft.com/office/drawing/2014/main" id="{97B8CCC8-DEFA-CB4A-AA4E-714F1E7356CA}"/>
              </a:ext>
            </a:extLst>
          </p:cNvPr>
          <p:cNvSpPr/>
          <p:nvPr/>
        </p:nvSpPr>
        <p:spPr>
          <a:xfrm>
            <a:off x="4439581" y="5646083"/>
            <a:ext cx="3066448" cy="552579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60957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2133">
                <a:solidFill>
                  <a:srgbClr val="FFFFFF"/>
                </a:solidFill>
                <a:latin typeface="CiscoSansTT Light" panose="020B0503020201020303" pitchFamily="34" charset="0"/>
                <a:cs typeface="CiscoSansTT Light" panose="020B0503020201020303" pitchFamily="34" charset="0"/>
              </a:rPr>
              <a:t>Adaptive IT</a:t>
            </a:r>
          </a:p>
        </p:txBody>
      </p:sp>
      <p:sp>
        <p:nvSpPr>
          <p:cNvPr id="10" name="Rounded Rectangle 9">
            <a:extLst>
              <a:ext uri="{FF2B5EF4-FFF2-40B4-BE49-F238E27FC236}">
                <a16:creationId xmlns:a16="http://schemas.microsoft.com/office/drawing/2014/main" id="{22C8BD94-0DF6-4F40-A87E-1F825E0178DD}"/>
              </a:ext>
            </a:extLst>
          </p:cNvPr>
          <p:cNvSpPr/>
          <p:nvPr/>
        </p:nvSpPr>
        <p:spPr>
          <a:xfrm>
            <a:off x="7738851" y="5646083"/>
            <a:ext cx="2978871" cy="552579"/>
          </a:xfrm>
          <a:prstGeom prst="roundRect">
            <a:avLst>
              <a:gd name="adj" fmla="val 50000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60957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2133">
                <a:solidFill>
                  <a:srgbClr val="FFFFFF"/>
                </a:solidFill>
                <a:latin typeface="CiscoSansTT Light" panose="020B0503020201020303" pitchFamily="34" charset="0"/>
                <a:cs typeface="CiscoSansTT Light" panose="020B0503020201020303" pitchFamily="34" charset="0"/>
              </a:rPr>
              <a:t>Transformative IT</a:t>
            </a:r>
          </a:p>
        </p:txBody>
      </p:sp>
      <p:sp>
        <p:nvSpPr>
          <p:cNvPr id="16" name="Text Placeholder 4">
            <a:extLst>
              <a:ext uri="{FF2B5EF4-FFF2-40B4-BE49-F238E27FC236}">
                <a16:creationId xmlns:a16="http://schemas.microsoft.com/office/drawing/2014/main" id="{BEEB1F2B-632A-2747-8802-93372C49870B}"/>
              </a:ext>
            </a:extLst>
          </p:cNvPr>
          <p:cNvSpPr txBox="1">
            <a:spLocks/>
          </p:cNvSpPr>
          <p:nvPr/>
        </p:nvSpPr>
        <p:spPr>
          <a:xfrm>
            <a:off x="1485639" y="3536470"/>
            <a:ext cx="2301968" cy="1408237"/>
          </a:xfrm>
          <a:prstGeom prst="rect">
            <a:avLst/>
          </a:prstGeom>
        </p:spPr>
        <p:txBody>
          <a:bodyPr lIns="0" tIns="0" rIns="0" bIns="0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 defTabSz="609585" fontAlgn="base">
              <a:defRPr/>
            </a:pPr>
            <a:r>
              <a:rPr lang="en-US" sz="1867">
                <a:solidFill>
                  <a:srgbClr val="14284A"/>
                </a:solidFill>
                <a:latin typeface="CiscoSansTT ExtraLight"/>
              </a:rPr>
              <a:t>Optimize performance and de-risk IT to increase capacity and improve availability, no matter where you work</a:t>
            </a:r>
          </a:p>
          <a:p>
            <a:pPr algn="ctr" defTabSz="609585" fontAlgn="base">
              <a:defRPr/>
            </a:pPr>
            <a:endParaRPr lang="en-US" sz="1467">
              <a:solidFill>
                <a:srgbClr val="14284A"/>
              </a:solidFill>
              <a:latin typeface="CiscoSansTT ExtraLight"/>
            </a:endParaRPr>
          </a:p>
          <a:p>
            <a:pPr algn="ctr" defTabSz="609585" fontAlgn="base">
              <a:defRPr/>
            </a:pPr>
            <a:endParaRPr lang="en-US" sz="1467">
              <a:solidFill>
                <a:srgbClr val="2F446B"/>
              </a:solidFill>
              <a:latin typeface="CiscoSansTT ExtraLight"/>
            </a:endParaRPr>
          </a:p>
        </p:txBody>
      </p:sp>
      <p:sp>
        <p:nvSpPr>
          <p:cNvPr id="17" name="Text Placeholder 4">
            <a:extLst>
              <a:ext uri="{FF2B5EF4-FFF2-40B4-BE49-F238E27FC236}">
                <a16:creationId xmlns:a16="http://schemas.microsoft.com/office/drawing/2014/main" id="{A6415E29-6492-5743-BA3A-30C534FA57DA}"/>
              </a:ext>
            </a:extLst>
          </p:cNvPr>
          <p:cNvSpPr txBox="1">
            <a:spLocks/>
          </p:cNvSpPr>
          <p:nvPr/>
        </p:nvSpPr>
        <p:spPr>
          <a:xfrm>
            <a:off x="8061374" y="3536470"/>
            <a:ext cx="2333823" cy="1358636"/>
          </a:xfrm>
          <a:prstGeom prst="rect">
            <a:avLst/>
          </a:prstGeom>
        </p:spPr>
        <p:txBody>
          <a:bodyPr lIns="0" tIns="0" rIns="0" bIns="0" anchor="t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 defTabSz="609585" fontAlgn="base">
              <a:defRPr/>
            </a:pPr>
            <a:r>
              <a:rPr lang="en-US" sz="1867">
                <a:solidFill>
                  <a:srgbClr val="14284A"/>
                </a:solidFill>
                <a:latin typeface="CiscoSansTT ExtraLight"/>
              </a:rPr>
              <a:t>Empower roles across your IT landscape to react quickly to change and drive innovation </a:t>
            </a:r>
            <a:endParaRPr lang="en-US" sz="1867">
              <a:solidFill>
                <a:srgbClr val="14284A"/>
              </a:solidFill>
            </a:endParaRPr>
          </a:p>
          <a:p>
            <a:pPr algn="ctr" defTabSz="609585" fontAlgn="base">
              <a:defRPr/>
            </a:pPr>
            <a:endParaRPr lang="en-US" sz="1467">
              <a:solidFill>
                <a:srgbClr val="14284A"/>
              </a:solidFill>
              <a:latin typeface="CiscoSansTT ExtraLight"/>
            </a:endParaRPr>
          </a:p>
        </p:txBody>
      </p:sp>
      <p:sp>
        <p:nvSpPr>
          <p:cNvPr id="18" name="Text Placeholder 4">
            <a:extLst>
              <a:ext uri="{FF2B5EF4-FFF2-40B4-BE49-F238E27FC236}">
                <a16:creationId xmlns:a16="http://schemas.microsoft.com/office/drawing/2014/main" id="{EC36A6D6-CCF7-2C43-B931-967EECB3E917}"/>
              </a:ext>
            </a:extLst>
          </p:cNvPr>
          <p:cNvSpPr txBox="1">
            <a:spLocks/>
          </p:cNvSpPr>
          <p:nvPr/>
        </p:nvSpPr>
        <p:spPr>
          <a:xfrm>
            <a:off x="4858605" y="3536470"/>
            <a:ext cx="2361179" cy="1557863"/>
          </a:xfrm>
          <a:prstGeom prst="rect">
            <a:avLst/>
          </a:prstGeom>
        </p:spPr>
        <p:txBody>
          <a:bodyPr lIns="0" tIns="0" rIns="0" bIns="0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 defTabSz="609585" fontAlgn="base">
              <a:defRPr/>
            </a:pPr>
            <a:r>
              <a:rPr lang="en-US" sz="1867">
                <a:solidFill>
                  <a:srgbClr val="14284A"/>
                </a:solidFill>
                <a:latin typeface="CiscoSansTT ExtraLight"/>
              </a:rPr>
              <a:t>Engineer an adaptive workforce with the right technical expertise to address everything</a:t>
            </a:r>
          </a:p>
        </p:txBody>
      </p:sp>
      <p:pic>
        <p:nvPicPr>
          <p:cNvPr id="54" name="Picture 53">
            <a:extLst>
              <a:ext uri="{FF2B5EF4-FFF2-40B4-BE49-F238E27FC236}">
                <a16:creationId xmlns:a16="http://schemas.microsoft.com/office/drawing/2014/main" id="{237B0A7C-9459-A64F-A2D9-96CC2EB2242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18548" y="1735306"/>
            <a:ext cx="1448989" cy="1448989"/>
          </a:xfrm>
          <a:prstGeom prst="rect">
            <a:avLst/>
          </a:prstGeom>
        </p:spPr>
      </p:pic>
      <p:pic>
        <p:nvPicPr>
          <p:cNvPr id="55" name="Picture 54">
            <a:extLst>
              <a:ext uri="{FF2B5EF4-FFF2-40B4-BE49-F238E27FC236}">
                <a16:creationId xmlns:a16="http://schemas.microsoft.com/office/drawing/2014/main" id="{A30F918C-A994-AB4C-87BB-086087A8BB28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30955" y="1735306"/>
            <a:ext cx="1408237" cy="1408237"/>
          </a:xfrm>
          <a:prstGeom prst="rect">
            <a:avLst/>
          </a:prstGeom>
        </p:spPr>
      </p:pic>
      <p:pic>
        <p:nvPicPr>
          <p:cNvPr id="57" name="Picture 56">
            <a:extLst>
              <a:ext uri="{FF2B5EF4-FFF2-40B4-BE49-F238E27FC236}">
                <a16:creationId xmlns:a16="http://schemas.microsoft.com/office/drawing/2014/main" id="{8E269366-0AEB-F84C-BFC8-A71FF17B5839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55344" y="1735306"/>
            <a:ext cx="1448989" cy="14518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2538081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1" name="Rectangle: Rounded Corners 38">
            <a:extLst>
              <a:ext uri="{FF2B5EF4-FFF2-40B4-BE49-F238E27FC236}">
                <a16:creationId xmlns:a16="http://schemas.microsoft.com/office/drawing/2014/main" id="{E89AB87B-F11C-9244-86E3-0742197020A4}"/>
              </a:ext>
            </a:extLst>
          </p:cNvPr>
          <p:cNvSpPr/>
          <p:nvPr/>
        </p:nvSpPr>
        <p:spPr>
          <a:xfrm>
            <a:off x="1180656" y="2592786"/>
            <a:ext cx="3386667" cy="2196959"/>
          </a:xfrm>
          <a:prstGeom prst="roundRect">
            <a:avLst>
              <a:gd name="adj" fmla="val 8081"/>
            </a:avLst>
          </a:prstGeom>
          <a:solidFill>
            <a:srgbClr val="F5F6F9"/>
          </a:solidFill>
          <a:ln w="127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09570" fontAlgn="base">
              <a:spcBef>
                <a:spcPct val="0"/>
              </a:spcBef>
              <a:spcAft>
                <a:spcPts val="800"/>
              </a:spcAft>
              <a:defRPr/>
            </a:pPr>
            <a:endParaRPr lang="en-US" sz="1467">
              <a:solidFill>
                <a:srgbClr val="FFFFFF"/>
              </a:solidFill>
              <a:latin typeface="CiscoSansTT ExtraLight"/>
            </a:endParaRPr>
          </a:p>
        </p:txBody>
      </p:sp>
      <p:sp>
        <p:nvSpPr>
          <p:cNvPr id="102" name="Rectangle: Rounded Corners 19">
            <a:extLst>
              <a:ext uri="{FF2B5EF4-FFF2-40B4-BE49-F238E27FC236}">
                <a16:creationId xmlns:a16="http://schemas.microsoft.com/office/drawing/2014/main" id="{5E093532-7CF7-1A48-8142-A3BCE439C284}"/>
              </a:ext>
            </a:extLst>
          </p:cNvPr>
          <p:cNvSpPr/>
          <p:nvPr/>
        </p:nvSpPr>
        <p:spPr>
          <a:xfrm>
            <a:off x="1179161" y="3111598"/>
            <a:ext cx="1686361" cy="1678148"/>
          </a:xfrm>
          <a:prstGeom prst="roundRect">
            <a:avLst>
              <a:gd name="adj" fmla="val 11622"/>
            </a:avLst>
          </a:prstGeom>
          <a:solidFill>
            <a:srgbClr val="F5F6F9"/>
          </a:solidFill>
          <a:ln w="127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609570" fontAlgn="base">
              <a:spcBef>
                <a:spcPct val="0"/>
              </a:spcBef>
              <a:spcAft>
                <a:spcPts val="800"/>
              </a:spcAft>
              <a:defRPr/>
            </a:pPr>
            <a:endParaRPr lang="en-US" sz="1467">
              <a:solidFill>
                <a:srgbClr val="FFFFFF"/>
              </a:solidFill>
              <a:latin typeface="CiscoSansTT ExtraLight"/>
            </a:endParaRP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22178BD6-DD4B-4249-A9D7-1D71B824F07D}"/>
              </a:ext>
            </a:extLst>
          </p:cNvPr>
          <p:cNvSpPr txBox="1"/>
          <p:nvPr/>
        </p:nvSpPr>
        <p:spPr>
          <a:xfrm>
            <a:off x="7729539" y="6291481"/>
            <a:ext cx="3742796" cy="183932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noAutofit/>
          </a:bodyPr>
          <a:lstStyle/>
          <a:p>
            <a:pPr algn="r" defTabSz="609555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800">
                <a:solidFill>
                  <a:srgbClr val="FFFFFF">
                    <a:lumMod val="50000"/>
                  </a:srgbClr>
                </a:solidFill>
                <a:latin typeface="CiscoSansTT ExtraLight"/>
                <a:ea typeface="ＭＳ Ｐゴシック" charset="0"/>
              </a:rPr>
              <a:t>*Purchase more than 1 tier to extend the number of engagements per IT role </a:t>
            </a:r>
          </a:p>
        </p:txBody>
      </p:sp>
      <p:sp>
        <p:nvSpPr>
          <p:cNvPr id="19" name="Rectangle: Rounded Corners 18">
            <a:extLst>
              <a:ext uri="{FF2B5EF4-FFF2-40B4-BE49-F238E27FC236}">
                <a16:creationId xmlns:a16="http://schemas.microsoft.com/office/drawing/2014/main" id="{59813031-DA96-4285-894C-6140F87E7044}"/>
              </a:ext>
            </a:extLst>
          </p:cNvPr>
          <p:cNvSpPr/>
          <p:nvPr/>
        </p:nvSpPr>
        <p:spPr>
          <a:xfrm>
            <a:off x="1166487" y="3175027"/>
            <a:ext cx="1684867" cy="384263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rtlCol="0" anchor="ctr"/>
          <a:lstStyle/>
          <a:p>
            <a:pPr defTabSz="914354">
              <a:lnSpc>
                <a:spcPct val="110000"/>
              </a:lnSpc>
              <a:spcAft>
                <a:spcPts val="1600"/>
              </a:spcAft>
              <a:defRPr/>
            </a:pPr>
            <a:r>
              <a:rPr lang="en-US" sz="1600" b="1">
                <a:solidFill>
                  <a:srgbClr val="FFFFFF"/>
                </a:solidFill>
                <a:latin typeface="CiscoSansTT" panose="020B0503020201020303" pitchFamily="34" charset="0"/>
                <a:cs typeface="CiscoSansTT" panose="020B0503020201020303" pitchFamily="34" charset="0"/>
              </a:rPr>
              <a:t>Essentials</a:t>
            </a:r>
          </a:p>
        </p:txBody>
      </p:sp>
      <p:sp>
        <p:nvSpPr>
          <p:cNvPr id="32" name="Text Box 56" descr="© INSCALE GmbH, 26.05.2010&#10;http://www.presentationload.com/">
            <a:extLst>
              <a:ext uri="{FF2B5EF4-FFF2-40B4-BE49-F238E27FC236}">
                <a16:creationId xmlns:a16="http://schemas.microsoft.com/office/drawing/2014/main" id="{3E239EEE-ADD2-41D3-ABEA-CEB099D934FF}"/>
              </a:ext>
            </a:extLst>
          </p:cNvPr>
          <p:cNvSpPr txBox="1">
            <a:spLocks noChangeArrowheads="1"/>
          </p:cNvSpPr>
          <p:nvPr/>
        </p:nvSpPr>
        <p:spPr bwMode="gray">
          <a:xfrm>
            <a:off x="1372262" y="3595223"/>
            <a:ext cx="1157359" cy="71622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anchor="t" anchorCtr="0">
            <a:noAutofit/>
          </a:bodyPr>
          <a:lstStyle/>
          <a:p>
            <a:pPr defTabSz="609555" fontAlgn="base">
              <a:lnSpc>
                <a:spcPct val="110000"/>
              </a:lnSpc>
              <a:spcAft>
                <a:spcPts val="1600"/>
              </a:spcAft>
              <a:defRPr/>
            </a:pPr>
            <a:r>
              <a:rPr lang="en-GB" sz="1333" kern="0" noProof="1">
                <a:solidFill>
                  <a:srgbClr val="14284A"/>
                </a:solidFill>
                <a:latin typeface="CiscoSansTT ExtraLight"/>
                <a:ea typeface="ＭＳ Ｐゴシック" charset="0"/>
                <a:cs typeface="Calibri" pitchFamily="34" charset="0"/>
              </a:rPr>
              <a:t>Optimize performance </a:t>
            </a:r>
            <a:br>
              <a:rPr lang="en-GB" sz="1333" kern="0" noProof="1">
                <a:solidFill>
                  <a:srgbClr val="14284A"/>
                </a:solidFill>
                <a:latin typeface="CiscoSansTT ExtraLight"/>
                <a:ea typeface="ＭＳ Ｐゴシック" charset="0"/>
                <a:cs typeface="Calibri" pitchFamily="34" charset="0"/>
              </a:rPr>
            </a:br>
            <a:r>
              <a:rPr lang="en-GB" sz="1333" kern="0" noProof="1">
                <a:solidFill>
                  <a:srgbClr val="14284A"/>
                </a:solidFill>
                <a:latin typeface="CiscoSansTT ExtraLight"/>
                <a:ea typeface="ＭＳ Ｐゴシック" charset="0"/>
                <a:cs typeface="Calibri" pitchFamily="34" charset="0"/>
              </a:rPr>
              <a:t>and de-risk IT</a:t>
            </a:r>
          </a:p>
        </p:txBody>
      </p:sp>
      <p:sp>
        <p:nvSpPr>
          <p:cNvPr id="33" name="Text Box 56" descr="© INSCALE GmbH, 26.05.2010&#10;http://www.presentationload.com/">
            <a:extLst>
              <a:ext uri="{FF2B5EF4-FFF2-40B4-BE49-F238E27FC236}">
                <a16:creationId xmlns:a16="http://schemas.microsoft.com/office/drawing/2014/main" id="{D09BF977-BDA9-480E-B685-91AAB5D30C97}"/>
              </a:ext>
            </a:extLst>
          </p:cNvPr>
          <p:cNvSpPr txBox="1">
            <a:spLocks noChangeArrowheads="1"/>
          </p:cNvSpPr>
          <p:nvPr/>
        </p:nvSpPr>
        <p:spPr bwMode="gray">
          <a:xfrm>
            <a:off x="3084524" y="3092371"/>
            <a:ext cx="1362459" cy="79493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anchor="t" anchorCtr="0">
            <a:noAutofit/>
          </a:bodyPr>
          <a:lstStyle/>
          <a:p>
            <a:pPr defTabSz="914354">
              <a:lnSpc>
                <a:spcPct val="110000"/>
              </a:lnSpc>
              <a:spcAft>
                <a:spcPts val="1600"/>
              </a:spcAft>
              <a:defRPr/>
            </a:pPr>
            <a:r>
              <a:rPr lang="en-GB" sz="1333">
                <a:solidFill>
                  <a:srgbClr val="14284A"/>
                </a:solidFill>
                <a:latin typeface="CiscoSansTT ExtraLight"/>
                <a:ea typeface="ＭＳ Ｐゴシック" charset="0"/>
                <a:cs typeface="CiscoSansTT ExtraLight" panose="020B0303020201020303" pitchFamily="34" charset="0"/>
              </a:rPr>
              <a:t>Accelerate technology adoption and transformation</a:t>
            </a:r>
          </a:p>
          <a:p>
            <a:pPr defTabSz="914354">
              <a:lnSpc>
                <a:spcPct val="110000"/>
              </a:lnSpc>
              <a:spcAft>
                <a:spcPts val="1600"/>
              </a:spcAft>
              <a:defRPr/>
            </a:pPr>
            <a:endParaRPr lang="en-US" sz="667" i="1">
              <a:solidFill>
                <a:srgbClr val="14284A"/>
              </a:solidFill>
              <a:latin typeface="CiscoSansTT ExtraLight"/>
              <a:ea typeface="ＭＳ Ｐゴシック" charset="0"/>
            </a:endParaRPr>
          </a:p>
        </p:txBody>
      </p:sp>
      <p:sp>
        <p:nvSpPr>
          <p:cNvPr id="14" name="Rectangle: Rounded Corners 13">
            <a:extLst>
              <a:ext uri="{FF2B5EF4-FFF2-40B4-BE49-F238E27FC236}">
                <a16:creationId xmlns:a16="http://schemas.microsoft.com/office/drawing/2014/main" id="{13949964-161E-4360-A359-7849198FC8E7}"/>
              </a:ext>
            </a:extLst>
          </p:cNvPr>
          <p:cNvSpPr/>
          <p:nvPr/>
        </p:nvSpPr>
        <p:spPr>
          <a:xfrm>
            <a:off x="1166488" y="2658546"/>
            <a:ext cx="3386667" cy="387559"/>
          </a:xfrm>
          <a:prstGeom prst="roundRect">
            <a:avLst>
              <a:gd name="adj" fmla="val 50000"/>
            </a:avLst>
          </a:prstGeom>
          <a:solidFill>
            <a:schemeClr val="accent2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144000" rtlCol="0" anchor="ctr"/>
          <a:lstStyle/>
          <a:p>
            <a:pPr defTabSz="914354">
              <a:lnSpc>
                <a:spcPct val="110000"/>
              </a:lnSpc>
              <a:spcAft>
                <a:spcPts val="1600"/>
              </a:spcAft>
              <a:defRPr/>
            </a:pPr>
            <a:r>
              <a:rPr lang="en-US" sz="1600" b="1">
                <a:solidFill>
                  <a:srgbClr val="FFFFFF"/>
                </a:solidFill>
                <a:latin typeface="CiscoSansTT" panose="020B0503020201020303" pitchFamily="34" charset="0"/>
                <a:cs typeface="CiscoSansTT" panose="020B0503020201020303" pitchFamily="34" charset="0"/>
              </a:rPr>
              <a:t>Advantage</a:t>
            </a:r>
          </a:p>
        </p:txBody>
      </p:sp>
      <p:sp>
        <p:nvSpPr>
          <p:cNvPr id="15" name="Text Box 56" descr="© INSCALE GmbH, 26.05.2010&#10;http://www.presentationload.com/">
            <a:extLst>
              <a:ext uri="{FF2B5EF4-FFF2-40B4-BE49-F238E27FC236}">
                <a16:creationId xmlns:a16="http://schemas.microsoft.com/office/drawing/2014/main" id="{8B46457F-0794-4AE0-9556-7E209C548369}"/>
              </a:ext>
            </a:extLst>
          </p:cNvPr>
          <p:cNvSpPr txBox="1">
            <a:spLocks noChangeArrowheads="1"/>
          </p:cNvSpPr>
          <p:nvPr/>
        </p:nvSpPr>
        <p:spPr bwMode="gray">
          <a:xfrm>
            <a:off x="4775442" y="2602674"/>
            <a:ext cx="2142015" cy="12825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anchor="t" anchorCtr="0">
            <a:noAutofit/>
          </a:bodyPr>
          <a:lstStyle/>
          <a:p>
            <a:pPr defTabSz="914354">
              <a:lnSpc>
                <a:spcPct val="110000"/>
              </a:lnSpc>
              <a:spcAft>
                <a:spcPts val="1600"/>
              </a:spcAft>
              <a:defRPr/>
            </a:pPr>
            <a:r>
              <a:rPr lang="en-GB" sz="1333">
                <a:solidFill>
                  <a:srgbClr val="14284A"/>
                </a:solidFill>
                <a:latin typeface="CiscoSansTT ExtraLight"/>
                <a:ea typeface="ＭＳ Ｐゴシック"/>
                <a:cs typeface="CiscoSansTT ExtraLight" panose="020B0303020201020303" pitchFamily="34" charset="0"/>
              </a:rPr>
              <a:t>Flexibility to address the changing priorities of your large multi-domain Cisco® solutions</a:t>
            </a:r>
            <a:endParaRPr lang="en-US" sz="667" i="1">
              <a:solidFill>
                <a:srgbClr val="14284A"/>
              </a:solidFill>
              <a:latin typeface="CiscoSansTT ExtraLight"/>
              <a:ea typeface="ＭＳ Ｐゴシック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72113F77-3FBE-694C-9170-26737A7E32CD}"/>
              </a:ext>
            </a:extLst>
          </p:cNvPr>
          <p:cNvSpPr txBox="1"/>
          <p:nvPr/>
        </p:nvSpPr>
        <p:spPr>
          <a:xfrm>
            <a:off x="7882059" y="2662799"/>
            <a:ext cx="3986479" cy="1969111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 defTabSz="609570" fontAlgn="base">
              <a:lnSpc>
                <a:spcPct val="110000"/>
              </a:lnSpc>
              <a:spcAft>
                <a:spcPts val="400"/>
              </a:spcAft>
              <a:defRPr/>
            </a:pPr>
            <a:r>
              <a:rPr lang="en-US" sz="1333" b="1">
                <a:solidFill>
                  <a:srgbClr val="14284A"/>
                </a:solidFill>
                <a:latin typeface="CiscoSansTT" panose="020B0503020201020303" pitchFamily="34" charset="0"/>
                <a:ea typeface="ＭＳ Ｐゴシック"/>
                <a:cs typeface="CiscoSansTT" panose="020B0503020201020303" pitchFamily="34" charset="0"/>
              </a:rPr>
              <a:t>Specialized Expertise</a:t>
            </a:r>
          </a:p>
          <a:p>
            <a:pPr defTabSz="609570" fontAlgn="base">
              <a:lnSpc>
                <a:spcPct val="110000"/>
              </a:lnSpc>
              <a:spcAft>
                <a:spcPts val="1600"/>
              </a:spcAft>
              <a:defRPr/>
            </a:pPr>
            <a:r>
              <a:rPr lang="en-US" sz="1333">
                <a:solidFill>
                  <a:srgbClr val="14284A"/>
                </a:solidFill>
                <a:latin typeface="CiscoSansTT ExtraLight"/>
                <a:ea typeface="ＭＳ Ｐゴシック"/>
              </a:rPr>
              <a:t>Create your own adaptive workforce with access to the right expertise and intellectual capital to support projects and unplanned events.</a:t>
            </a:r>
          </a:p>
          <a:p>
            <a:pPr defTabSz="609570" fontAlgn="base">
              <a:lnSpc>
                <a:spcPct val="110000"/>
              </a:lnSpc>
              <a:spcAft>
                <a:spcPts val="400"/>
              </a:spcAft>
              <a:defRPr/>
            </a:pPr>
            <a:r>
              <a:rPr lang="en-US" sz="1333" b="1">
                <a:solidFill>
                  <a:srgbClr val="14284A"/>
                </a:solidFill>
                <a:latin typeface="CiscoSansTT" panose="020B0503020201020303" pitchFamily="34" charset="0"/>
                <a:ea typeface="ＭＳ Ｐゴシック"/>
                <a:cs typeface="CiscoSansTT" panose="020B0503020201020303" pitchFamily="34" charset="0"/>
              </a:rPr>
              <a:t>Expert-as-a-Service</a:t>
            </a:r>
          </a:p>
          <a:p>
            <a:pPr defTabSz="609570" fontAlgn="base">
              <a:lnSpc>
                <a:spcPct val="110000"/>
              </a:lnSpc>
              <a:spcAft>
                <a:spcPts val="800"/>
              </a:spcAft>
              <a:defRPr/>
            </a:pPr>
            <a:r>
              <a:rPr lang="en-GB" sz="1333">
                <a:solidFill>
                  <a:srgbClr val="14284A"/>
                </a:solidFill>
                <a:latin typeface="CiscoSansTT ExtraLight"/>
                <a:ea typeface="ＭＳ Ｐゴシック"/>
              </a:rPr>
              <a:t>Augment your team with dedicated experts in cutting-edge technologies to fill your critical roles </a:t>
            </a:r>
          </a:p>
          <a:p>
            <a:pPr defTabSz="609570" fontAlgn="base">
              <a:lnSpc>
                <a:spcPct val="110000"/>
              </a:lnSpc>
              <a:spcAft>
                <a:spcPts val="800"/>
              </a:spcAft>
              <a:defRPr/>
            </a:pPr>
            <a:endParaRPr lang="en-GB" sz="1200">
              <a:solidFill>
                <a:srgbClr val="14284A"/>
              </a:solidFill>
              <a:latin typeface="CiscoSansTT ExtraLight"/>
              <a:ea typeface="ＭＳ Ｐゴシック" charset="0"/>
            </a:endParaRPr>
          </a:p>
        </p:txBody>
      </p:sp>
      <p:grpSp>
        <p:nvGrpSpPr>
          <p:cNvPr id="48" name="Google Shape;776;p37">
            <a:extLst>
              <a:ext uri="{FF2B5EF4-FFF2-40B4-BE49-F238E27FC236}">
                <a16:creationId xmlns:a16="http://schemas.microsoft.com/office/drawing/2014/main" id="{D6C72499-C1CD-4BB2-9950-3B163A959015}"/>
              </a:ext>
            </a:extLst>
          </p:cNvPr>
          <p:cNvGrpSpPr/>
          <p:nvPr/>
        </p:nvGrpSpPr>
        <p:grpSpPr>
          <a:xfrm>
            <a:off x="7100305" y="3299023"/>
            <a:ext cx="357763" cy="355600"/>
            <a:chOff x="1579728" y="2192901"/>
            <a:chExt cx="496986" cy="493986"/>
          </a:xfrm>
        </p:grpSpPr>
        <p:sp>
          <p:nvSpPr>
            <p:cNvPr id="49" name="Google Shape;777;p37">
              <a:extLst>
                <a:ext uri="{FF2B5EF4-FFF2-40B4-BE49-F238E27FC236}">
                  <a16:creationId xmlns:a16="http://schemas.microsoft.com/office/drawing/2014/main" id="{96C0941B-450B-4C42-B779-5ECD2B26CFDE}"/>
                </a:ext>
              </a:extLst>
            </p:cNvPr>
            <p:cNvSpPr/>
            <p:nvPr/>
          </p:nvSpPr>
          <p:spPr>
            <a:xfrm>
              <a:off x="1759722" y="2192901"/>
              <a:ext cx="134996" cy="493986"/>
            </a:xfrm>
            <a:custGeom>
              <a:avLst/>
              <a:gdLst/>
              <a:ahLst/>
              <a:cxnLst/>
              <a:rect l="l" t="t" r="r" b="b"/>
              <a:pathLst>
                <a:path w="57" h="209" extrusionOk="0">
                  <a:moveTo>
                    <a:pt x="29" y="209"/>
                  </a:moveTo>
                  <a:cubicBezTo>
                    <a:pt x="29" y="209"/>
                    <a:pt x="29" y="209"/>
                    <a:pt x="29" y="209"/>
                  </a:cubicBezTo>
                  <a:cubicBezTo>
                    <a:pt x="13" y="209"/>
                    <a:pt x="0" y="196"/>
                    <a:pt x="0" y="181"/>
                  </a:cubicBezTo>
                  <a:cubicBezTo>
                    <a:pt x="0" y="28"/>
                    <a:pt x="0" y="28"/>
                    <a:pt x="0" y="28"/>
                  </a:cubicBezTo>
                  <a:cubicBezTo>
                    <a:pt x="0" y="13"/>
                    <a:pt x="13" y="0"/>
                    <a:pt x="29" y="0"/>
                  </a:cubicBezTo>
                  <a:cubicBezTo>
                    <a:pt x="45" y="0"/>
                    <a:pt x="57" y="13"/>
                    <a:pt x="57" y="28"/>
                  </a:cubicBezTo>
                  <a:cubicBezTo>
                    <a:pt x="57" y="181"/>
                    <a:pt x="57" y="181"/>
                    <a:pt x="57" y="181"/>
                  </a:cubicBezTo>
                  <a:cubicBezTo>
                    <a:pt x="57" y="196"/>
                    <a:pt x="45" y="209"/>
                    <a:pt x="29" y="209"/>
                  </a:cubicBezTo>
                </a:path>
              </a:pathLst>
            </a:custGeom>
            <a:solidFill>
              <a:schemeClr val="accent3"/>
            </a:solidFill>
            <a:ln w="9525" cap="flat" cmpd="sng">
              <a:solidFill>
                <a:schemeClr val="accent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60933" rIns="121900" bIns="60933" anchor="t" anchorCtr="0">
              <a:noAutofit/>
            </a:bodyPr>
            <a:lstStyle/>
            <a:p>
              <a:pPr defTabSz="609570" fontAlgn="base">
                <a:defRPr/>
              </a:pPr>
              <a:endParaRPr sz="2400">
                <a:solidFill>
                  <a:srgbClr val="2F446B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50" name="Google Shape;778;p37">
              <a:extLst>
                <a:ext uri="{FF2B5EF4-FFF2-40B4-BE49-F238E27FC236}">
                  <a16:creationId xmlns:a16="http://schemas.microsoft.com/office/drawing/2014/main" id="{EC9104D0-EA9E-4F72-9B5B-7EB483E5DB40}"/>
                </a:ext>
              </a:extLst>
            </p:cNvPr>
            <p:cNvSpPr/>
            <p:nvPr/>
          </p:nvSpPr>
          <p:spPr>
            <a:xfrm>
              <a:off x="1579728" y="2368943"/>
              <a:ext cx="496986" cy="134996"/>
            </a:xfrm>
            <a:custGeom>
              <a:avLst/>
              <a:gdLst/>
              <a:ahLst/>
              <a:cxnLst/>
              <a:rect l="l" t="t" r="r" b="b"/>
              <a:pathLst>
                <a:path w="210" h="57" extrusionOk="0">
                  <a:moveTo>
                    <a:pt x="0" y="28"/>
                  </a:moveTo>
                  <a:cubicBezTo>
                    <a:pt x="0" y="28"/>
                    <a:pt x="0" y="28"/>
                    <a:pt x="0" y="28"/>
                  </a:cubicBezTo>
                  <a:cubicBezTo>
                    <a:pt x="0" y="13"/>
                    <a:pt x="13" y="0"/>
                    <a:pt x="29" y="0"/>
                  </a:cubicBezTo>
                  <a:cubicBezTo>
                    <a:pt x="181" y="0"/>
                    <a:pt x="181" y="0"/>
                    <a:pt x="181" y="0"/>
                  </a:cubicBezTo>
                  <a:cubicBezTo>
                    <a:pt x="197" y="0"/>
                    <a:pt x="210" y="13"/>
                    <a:pt x="210" y="28"/>
                  </a:cubicBezTo>
                  <a:cubicBezTo>
                    <a:pt x="210" y="44"/>
                    <a:pt x="197" y="57"/>
                    <a:pt x="181" y="57"/>
                  </a:cubicBezTo>
                  <a:cubicBezTo>
                    <a:pt x="29" y="57"/>
                    <a:pt x="29" y="57"/>
                    <a:pt x="29" y="57"/>
                  </a:cubicBezTo>
                  <a:cubicBezTo>
                    <a:pt x="13" y="57"/>
                    <a:pt x="0" y="44"/>
                    <a:pt x="0" y="28"/>
                  </a:cubicBezTo>
                </a:path>
              </a:pathLst>
            </a:custGeom>
            <a:solidFill>
              <a:schemeClr val="accent3"/>
            </a:solidFill>
            <a:ln w="9525" cap="flat" cmpd="sng">
              <a:solidFill>
                <a:schemeClr val="accent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60933" rIns="121900" bIns="60933" anchor="t" anchorCtr="0">
              <a:noAutofit/>
            </a:bodyPr>
            <a:lstStyle/>
            <a:p>
              <a:pPr defTabSz="609570" fontAlgn="base">
                <a:defRPr/>
              </a:pPr>
              <a:endParaRPr sz="2400">
                <a:solidFill>
                  <a:srgbClr val="2F446B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51" name="Google Shape;779;p37">
              <a:extLst>
                <a:ext uri="{FF2B5EF4-FFF2-40B4-BE49-F238E27FC236}">
                  <a16:creationId xmlns:a16="http://schemas.microsoft.com/office/drawing/2014/main" id="{B50BB24A-E9AB-452F-8612-45D1BF1A9C9D}"/>
                </a:ext>
              </a:extLst>
            </p:cNvPr>
            <p:cNvSpPr/>
            <p:nvPr/>
          </p:nvSpPr>
          <p:spPr>
            <a:xfrm>
              <a:off x="1759636" y="2367857"/>
              <a:ext cx="137160" cy="137160"/>
            </a:xfrm>
            <a:prstGeom prst="rect">
              <a:avLst/>
            </a:prstGeom>
            <a:solidFill>
              <a:srgbClr val="003C56"/>
            </a:solidFill>
            <a:ln w="9525" cap="flat" cmpd="sng">
              <a:solidFill>
                <a:srgbClr val="003C56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 algn="ctr" defTabSz="609570" fontAlgn="base">
                <a:defRPr/>
              </a:pPr>
              <a:endParaRPr sz="24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sp>
        <p:nvSpPr>
          <p:cNvPr id="54" name="Rectangle: Single Corner Rounded 29">
            <a:extLst>
              <a:ext uri="{FF2B5EF4-FFF2-40B4-BE49-F238E27FC236}">
                <a16:creationId xmlns:a16="http://schemas.microsoft.com/office/drawing/2014/main" id="{067DF57C-BEBC-4BFB-9CCE-4F445DF97F64}"/>
              </a:ext>
            </a:extLst>
          </p:cNvPr>
          <p:cNvSpPr/>
          <p:nvPr/>
        </p:nvSpPr>
        <p:spPr>
          <a:xfrm>
            <a:off x="719668" y="5353954"/>
            <a:ext cx="10752665" cy="761789"/>
          </a:xfrm>
          <a:prstGeom prst="roundRect">
            <a:avLst>
              <a:gd name="adj" fmla="val 50000"/>
            </a:avLst>
          </a:prstGeom>
          <a:solidFill>
            <a:srgbClr val="F5F6F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609570" fontAlgn="base">
              <a:spcBef>
                <a:spcPct val="0"/>
              </a:spcBef>
              <a:spcAft>
                <a:spcPts val="800"/>
              </a:spcAft>
              <a:defRPr/>
            </a:pPr>
            <a:endParaRPr lang="en-US" sz="1467">
              <a:solidFill>
                <a:srgbClr val="FFFFFF"/>
              </a:solidFill>
              <a:latin typeface="CiscoSansTT ExtraLight"/>
            </a:endParaRPr>
          </a:p>
        </p:txBody>
      </p:sp>
      <p:grpSp>
        <p:nvGrpSpPr>
          <p:cNvPr id="56" name="Group 55">
            <a:extLst>
              <a:ext uri="{FF2B5EF4-FFF2-40B4-BE49-F238E27FC236}">
                <a16:creationId xmlns:a16="http://schemas.microsoft.com/office/drawing/2014/main" id="{E154268B-19DF-4335-B453-FFEAB6990DFF}"/>
              </a:ext>
            </a:extLst>
          </p:cNvPr>
          <p:cNvGrpSpPr/>
          <p:nvPr/>
        </p:nvGrpSpPr>
        <p:grpSpPr>
          <a:xfrm>
            <a:off x="1323424" y="5469683"/>
            <a:ext cx="530331" cy="530331"/>
            <a:chOff x="2822496" y="3946367"/>
            <a:chExt cx="533558" cy="533558"/>
          </a:xfrm>
        </p:grpSpPr>
        <p:sp>
          <p:nvSpPr>
            <p:cNvPr id="58" name="Oval 57">
              <a:extLst>
                <a:ext uri="{FF2B5EF4-FFF2-40B4-BE49-F238E27FC236}">
                  <a16:creationId xmlns:a16="http://schemas.microsoft.com/office/drawing/2014/main" id="{BCF639D7-AFA7-470F-AE29-AE269EFDC6C1}"/>
                </a:ext>
              </a:extLst>
            </p:cNvPr>
            <p:cNvSpPr/>
            <p:nvPr/>
          </p:nvSpPr>
          <p:spPr>
            <a:xfrm>
              <a:off x="2822496" y="3946367"/>
              <a:ext cx="533558" cy="533558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609570" fontAlgn="base">
                <a:spcBef>
                  <a:spcPct val="0"/>
                </a:spcBef>
                <a:spcAft>
                  <a:spcPts val="800"/>
                </a:spcAft>
                <a:defRPr/>
              </a:pPr>
              <a:endParaRPr lang="en-US" sz="1467">
                <a:solidFill>
                  <a:srgbClr val="FFFFFF"/>
                </a:solidFill>
                <a:latin typeface="CiscoSansTT ExtraLight"/>
              </a:endParaRPr>
            </a:p>
          </p:txBody>
        </p:sp>
        <p:pic>
          <p:nvPicPr>
            <p:cNvPr id="59" name="Picture 58">
              <a:extLst>
                <a:ext uri="{FF2B5EF4-FFF2-40B4-BE49-F238E27FC236}">
                  <a16:creationId xmlns:a16="http://schemas.microsoft.com/office/drawing/2014/main" id="{86F08850-B274-4E73-9B6B-09D8994748BF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860597" y="3984468"/>
              <a:ext cx="457358" cy="457358"/>
            </a:xfrm>
            <a:prstGeom prst="rect">
              <a:avLst/>
            </a:prstGeom>
          </p:spPr>
        </p:pic>
      </p:grpSp>
      <p:sp>
        <p:nvSpPr>
          <p:cNvPr id="57" name="Text Box 56" descr="© INSCALE GmbH, 26.05.2010&#10;http://www.presentationload.com/">
            <a:extLst>
              <a:ext uri="{FF2B5EF4-FFF2-40B4-BE49-F238E27FC236}">
                <a16:creationId xmlns:a16="http://schemas.microsoft.com/office/drawing/2014/main" id="{D95D1E4B-4113-4B20-8CC9-B26B8211169D}"/>
              </a:ext>
            </a:extLst>
          </p:cNvPr>
          <p:cNvSpPr txBox="1">
            <a:spLocks noChangeArrowheads="1"/>
          </p:cNvSpPr>
          <p:nvPr/>
        </p:nvSpPr>
        <p:spPr bwMode="gray">
          <a:xfrm>
            <a:off x="1905584" y="5630575"/>
            <a:ext cx="1279021" cy="20854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anchor="t" anchorCtr="0">
            <a:noAutofit/>
          </a:bodyPr>
          <a:lstStyle/>
          <a:p>
            <a:pPr defTabSz="609555" fontAlgn="base">
              <a:lnSpc>
                <a:spcPct val="110000"/>
              </a:lnSpc>
              <a:spcAft>
                <a:spcPts val="1600"/>
              </a:spcAft>
              <a:defRPr/>
            </a:pPr>
            <a:r>
              <a:rPr lang="en-GB" sz="1333" kern="0" noProof="1">
                <a:solidFill>
                  <a:srgbClr val="14284A"/>
                </a:solidFill>
                <a:latin typeface="CiscoSansTT ExtraLight"/>
                <a:ea typeface="ＭＳ Ｐゴシック" charset="0"/>
                <a:cs typeface="Calibri" pitchFamily="34" charset="0"/>
              </a:rPr>
              <a:t>Core networking</a:t>
            </a:r>
          </a:p>
        </p:txBody>
      </p:sp>
      <p:grpSp>
        <p:nvGrpSpPr>
          <p:cNvPr id="61" name="Group 60">
            <a:extLst>
              <a:ext uri="{FF2B5EF4-FFF2-40B4-BE49-F238E27FC236}">
                <a16:creationId xmlns:a16="http://schemas.microsoft.com/office/drawing/2014/main" id="{FAE75415-6E6B-4CCF-AB44-825BA000785D}"/>
              </a:ext>
            </a:extLst>
          </p:cNvPr>
          <p:cNvGrpSpPr/>
          <p:nvPr/>
        </p:nvGrpSpPr>
        <p:grpSpPr>
          <a:xfrm>
            <a:off x="4278700" y="5469683"/>
            <a:ext cx="530331" cy="530331"/>
            <a:chOff x="3810979" y="3946367"/>
            <a:chExt cx="533558" cy="533558"/>
          </a:xfrm>
        </p:grpSpPr>
        <p:sp>
          <p:nvSpPr>
            <p:cNvPr id="63" name="Oval 62">
              <a:extLst>
                <a:ext uri="{FF2B5EF4-FFF2-40B4-BE49-F238E27FC236}">
                  <a16:creationId xmlns:a16="http://schemas.microsoft.com/office/drawing/2014/main" id="{0F874F97-1343-4155-8D2C-C8BAC7FA3BBB}"/>
                </a:ext>
              </a:extLst>
            </p:cNvPr>
            <p:cNvSpPr/>
            <p:nvPr/>
          </p:nvSpPr>
          <p:spPr>
            <a:xfrm>
              <a:off x="3810979" y="3946367"/>
              <a:ext cx="533558" cy="533558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609570" fontAlgn="base">
                <a:spcBef>
                  <a:spcPct val="0"/>
                </a:spcBef>
                <a:spcAft>
                  <a:spcPts val="800"/>
                </a:spcAft>
                <a:defRPr/>
              </a:pPr>
              <a:endParaRPr lang="en-US" sz="1467">
                <a:solidFill>
                  <a:srgbClr val="FFFFFF"/>
                </a:solidFill>
                <a:latin typeface="CiscoSansTT ExtraLight"/>
              </a:endParaRPr>
            </a:p>
          </p:txBody>
        </p:sp>
        <p:pic>
          <p:nvPicPr>
            <p:cNvPr id="64" name="Picture 63">
              <a:extLst>
                <a:ext uri="{FF2B5EF4-FFF2-40B4-BE49-F238E27FC236}">
                  <a16:creationId xmlns:a16="http://schemas.microsoft.com/office/drawing/2014/main" id="{BCC57EE9-CE2F-4E60-8A08-B5CCE821824D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849080" y="3984468"/>
              <a:ext cx="457358" cy="457358"/>
            </a:xfrm>
            <a:prstGeom prst="rect">
              <a:avLst/>
            </a:prstGeom>
          </p:spPr>
        </p:pic>
      </p:grpSp>
      <p:sp>
        <p:nvSpPr>
          <p:cNvPr id="62" name="Text Box 56" descr="© INSCALE GmbH, 26.05.2010&#10;http://www.presentationload.com/">
            <a:extLst>
              <a:ext uri="{FF2B5EF4-FFF2-40B4-BE49-F238E27FC236}">
                <a16:creationId xmlns:a16="http://schemas.microsoft.com/office/drawing/2014/main" id="{B7CA3C00-F5E8-48EC-8B24-A24E94683986}"/>
              </a:ext>
            </a:extLst>
          </p:cNvPr>
          <p:cNvSpPr txBox="1">
            <a:spLocks noChangeArrowheads="1"/>
          </p:cNvSpPr>
          <p:nvPr/>
        </p:nvSpPr>
        <p:spPr bwMode="gray">
          <a:xfrm>
            <a:off x="4850890" y="5630575"/>
            <a:ext cx="927617" cy="20854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anchor="t" anchorCtr="0">
            <a:noAutofit/>
          </a:bodyPr>
          <a:lstStyle/>
          <a:p>
            <a:pPr defTabSz="609555" fontAlgn="base">
              <a:lnSpc>
                <a:spcPct val="110000"/>
              </a:lnSpc>
              <a:spcAft>
                <a:spcPts val="1600"/>
              </a:spcAft>
              <a:defRPr/>
            </a:pPr>
            <a:r>
              <a:rPr lang="en-GB" sz="1333" kern="0" noProof="1">
                <a:solidFill>
                  <a:srgbClr val="14284A"/>
                </a:solidFill>
                <a:latin typeface="CiscoSansTT ExtraLight"/>
                <a:ea typeface="ＭＳ Ｐゴシック" charset="0"/>
                <a:cs typeface="Calibri" pitchFamily="34" charset="0"/>
              </a:rPr>
              <a:t>Data center</a:t>
            </a:r>
          </a:p>
        </p:txBody>
      </p:sp>
      <p:grpSp>
        <p:nvGrpSpPr>
          <p:cNvPr id="66" name="Group 65">
            <a:extLst>
              <a:ext uri="{FF2B5EF4-FFF2-40B4-BE49-F238E27FC236}">
                <a16:creationId xmlns:a16="http://schemas.microsoft.com/office/drawing/2014/main" id="{BDE355FF-E60D-4B4C-8F0A-0DCE261BC1AC}"/>
              </a:ext>
            </a:extLst>
          </p:cNvPr>
          <p:cNvGrpSpPr/>
          <p:nvPr/>
        </p:nvGrpSpPr>
        <p:grpSpPr>
          <a:xfrm>
            <a:off x="6872601" y="5469683"/>
            <a:ext cx="530331" cy="530331"/>
            <a:chOff x="4799462" y="3946367"/>
            <a:chExt cx="533558" cy="533558"/>
          </a:xfrm>
        </p:grpSpPr>
        <p:sp>
          <p:nvSpPr>
            <p:cNvPr id="68" name="Oval 67">
              <a:extLst>
                <a:ext uri="{FF2B5EF4-FFF2-40B4-BE49-F238E27FC236}">
                  <a16:creationId xmlns:a16="http://schemas.microsoft.com/office/drawing/2014/main" id="{6758F910-55E1-457E-99E9-2458D570805B}"/>
                </a:ext>
              </a:extLst>
            </p:cNvPr>
            <p:cNvSpPr/>
            <p:nvPr/>
          </p:nvSpPr>
          <p:spPr>
            <a:xfrm>
              <a:off x="4799462" y="3946367"/>
              <a:ext cx="533558" cy="533558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609570" fontAlgn="base">
                <a:spcBef>
                  <a:spcPct val="0"/>
                </a:spcBef>
                <a:spcAft>
                  <a:spcPts val="800"/>
                </a:spcAft>
                <a:defRPr/>
              </a:pPr>
              <a:endParaRPr lang="en-US" sz="1467">
                <a:solidFill>
                  <a:srgbClr val="FFFFFF"/>
                </a:solidFill>
                <a:latin typeface="CiscoSansTT ExtraLight"/>
              </a:endParaRPr>
            </a:p>
          </p:txBody>
        </p:sp>
        <p:pic>
          <p:nvPicPr>
            <p:cNvPr id="69" name="Picture 68">
              <a:extLst>
                <a:ext uri="{FF2B5EF4-FFF2-40B4-BE49-F238E27FC236}">
                  <a16:creationId xmlns:a16="http://schemas.microsoft.com/office/drawing/2014/main" id="{213BA97E-0A4D-4AF6-BF80-B59587112B1E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4837563" y="3984468"/>
              <a:ext cx="457358" cy="457358"/>
            </a:xfrm>
            <a:prstGeom prst="rect">
              <a:avLst/>
            </a:prstGeom>
          </p:spPr>
        </p:pic>
      </p:grpSp>
      <p:sp>
        <p:nvSpPr>
          <p:cNvPr id="67" name="Text Box 56" descr="© INSCALE GmbH, 26.05.2010&#10;http://www.presentationload.com/">
            <a:extLst>
              <a:ext uri="{FF2B5EF4-FFF2-40B4-BE49-F238E27FC236}">
                <a16:creationId xmlns:a16="http://schemas.microsoft.com/office/drawing/2014/main" id="{80306C34-FBCA-448D-A708-898466B1C703}"/>
              </a:ext>
            </a:extLst>
          </p:cNvPr>
          <p:cNvSpPr txBox="1">
            <a:spLocks noChangeArrowheads="1"/>
          </p:cNvSpPr>
          <p:nvPr/>
        </p:nvSpPr>
        <p:spPr bwMode="gray">
          <a:xfrm>
            <a:off x="7459865" y="5630575"/>
            <a:ext cx="655131" cy="20854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anchor="t" anchorCtr="0">
            <a:noAutofit/>
          </a:bodyPr>
          <a:lstStyle/>
          <a:p>
            <a:pPr defTabSz="609555" fontAlgn="base">
              <a:lnSpc>
                <a:spcPct val="110000"/>
              </a:lnSpc>
              <a:spcAft>
                <a:spcPts val="1600"/>
              </a:spcAft>
              <a:defRPr/>
            </a:pPr>
            <a:r>
              <a:rPr lang="en-GB" sz="1333" kern="0" noProof="1">
                <a:solidFill>
                  <a:srgbClr val="14284A"/>
                </a:solidFill>
                <a:latin typeface="CiscoSansTT ExtraLight"/>
                <a:ea typeface="ＭＳ Ｐゴシック" charset="0"/>
                <a:cs typeface="Calibri" pitchFamily="34" charset="0"/>
              </a:rPr>
              <a:t>Security</a:t>
            </a:r>
          </a:p>
        </p:txBody>
      </p:sp>
      <p:grpSp>
        <p:nvGrpSpPr>
          <p:cNvPr id="71" name="Group 70">
            <a:extLst>
              <a:ext uri="{FF2B5EF4-FFF2-40B4-BE49-F238E27FC236}">
                <a16:creationId xmlns:a16="http://schemas.microsoft.com/office/drawing/2014/main" id="{0DCA020E-7B88-4A61-B64F-C7F537B5144D}"/>
              </a:ext>
            </a:extLst>
          </p:cNvPr>
          <p:cNvGrpSpPr/>
          <p:nvPr/>
        </p:nvGrpSpPr>
        <p:grpSpPr>
          <a:xfrm>
            <a:off x="9209091" y="5469683"/>
            <a:ext cx="530331" cy="530331"/>
            <a:chOff x="5787946" y="3946367"/>
            <a:chExt cx="533558" cy="533558"/>
          </a:xfrm>
        </p:grpSpPr>
        <p:sp>
          <p:nvSpPr>
            <p:cNvPr id="73" name="Oval 72">
              <a:extLst>
                <a:ext uri="{FF2B5EF4-FFF2-40B4-BE49-F238E27FC236}">
                  <a16:creationId xmlns:a16="http://schemas.microsoft.com/office/drawing/2014/main" id="{64D0B20E-65D8-47F2-899B-F67B1BA91B35}"/>
                </a:ext>
              </a:extLst>
            </p:cNvPr>
            <p:cNvSpPr/>
            <p:nvPr/>
          </p:nvSpPr>
          <p:spPr>
            <a:xfrm>
              <a:off x="5787946" y="3946367"/>
              <a:ext cx="533558" cy="533558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609570" fontAlgn="base">
                <a:spcBef>
                  <a:spcPct val="0"/>
                </a:spcBef>
                <a:spcAft>
                  <a:spcPts val="800"/>
                </a:spcAft>
                <a:defRPr/>
              </a:pPr>
              <a:endParaRPr lang="en-US" sz="1467">
                <a:solidFill>
                  <a:srgbClr val="FFFFFF"/>
                </a:solidFill>
                <a:latin typeface="CiscoSansTT ExtraLight"/>
              </a:endParaRPr>
            </a:p>
          </p:txBody>
        </p:sp>
        <p:pic>
          <p:nvPicPr>
            <p:cNvPr id="74" name="Picture 73">
              <a:extLst>
                <a:ext uri="{FF2B5EF4-FFF2-40B4-BE49-F238E27FC236}">
                  <a16:creationId xmlns:a16="http://schemas.microsoft.com/office/drawing/2014/main" id="{78036BA1-6121-4878-9ADE-BF20CAD771D3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826047" y="3984468"/>
              <a:ext cx="457358" cy="457358"/>
            </a:xfrm>
            <a:prstGeom prst="rect">
              <a:avLst/>
            </a:prstGeom>
          </p:spPr>
        </p:pic>
      </p:grpSp>
      <p:sp>
        <p:nvSpPr>
          <p:cNvPr id="72" name="Text Box 56" descr="© INSCALE GmbH, 26.05.2010&#10;http://www.presentationload.com/">
            <a:extLst>
              <a:ext uri="{FF2B5EF4-FFF2-40B4-BE49-F238E27FC236}">
                <a16:creationId xmlns:a16="http://schemas.microsoft.com/office/drawing/2014/main" id="{27D67CDC-4B5E-4046-83B6-8EE929421E76}"/>
              </a:ext>
            </a:extLst>
          </p:cNvPr>
          <p:cNvSpPr txBox="1">
            <a:spLocks noChangeArrowheads="1"/>
          </p:cNvSpPr>
          <p:nvPr/>
        </p:nvSpPr>
        <p:spPr bwMode="gray">
          <a:xfrm>
            <a:off x="9796356" y="5630575"/>
            <a:ext cx="1018697" cy="20854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anchor="t" anchorCtr="0">
            <a:noAutofit/>
          </a:bodyPr>
          <a:lstStyle/>
          <a:p>
            <a:pPr defTabSz="609555" fontAlgn="base">
              <a:lnSpc>
                <a:spcPct val="110000"/>
              </a:lnSpc>
              <a:spcAft>
                <a:spcPts val="1600"/>
              </a:spcAft>
              <a:defRPr/>
            </a:pPr>
            <a:r>
              <a:rPr lang="en-GB" sz="1333" kern="0" noProof="1">
                <a:solidFill>
                  <a:srgbClr val="14284A"/>
                </a:solidFill>
                <a:latin typeface="CiscoSansTT ExtraLight"/>
                <a:ea typeface="ＭＳ Ｐゴシック" charset="0"/>
                <a:cs typeface="Calibri" pitchFamily="34" charset="0"/>
              </a:rPr>
              <a:t>Collaboration</a:t>
            </a:r>
          </a:p>
        </p:txBody>
      </p:sp>
      <p:sp>
        <p:nvSpPr>
          <p:cNvPr id="43" name="Rectangle: Rounded Corners 24">
            <a:extLst>
              <a:ext uri="{FF2B5EF4-FFF2-40B4-BE49-F238E27FC236}">
                <a16:creationId xmlns:a16="http://schemas.microsoft.com/office/drawing/2014/main" id="{EE43AC97-9074-364D-83EC-B04E4FD764B6}"/>
              </a:ext>
            </a:extLst>
          </p:cNvPr>
          <p:cNvSpPr/>
          <p:nvPr/>
        </p:nvSpPr>
        <p:spPr>
          <a:xfrm>
            <a:off x="351296" y="4918709"/>
            <a:ext cx="11727049" cy="395831"/>
          </a:xfrm>
          <a:prstGeom prst="roundRect">
            <a:avLst>
              <a:gd name="adj" fmla="val 50000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rtlCol="0" anchor="ctr"/>
          <a:lstStyle/>
          <a:p>
            <a:pPr algn="ctr" defTabSz="914354">
              <a:defRPr/>
            </a:pPr>
            <a:r>
              <a:rPr lang="en-US" sz="1867" b="1">
                <a:solidFill>
                  <a:srgbClr val="00BCEB"/>
                </a:solidFill>
                <a:latin typeface="CiscoSansTT ExtraLight"/>
                <a:cs typeface="CiscoSansTT" panose="020B0503020201020303" pitchFamily="34" charset="0"/>
              </a:rPr>
              <a:t>Expertise powered by the analytics, insights, and automation of CX Collaborative Intelligence </a:t>
            </a:r>
          </a:p>
        </p:txBody>
      </p:sp>
      <p:sp>
        <p:nvSpPr>
          <p:cNvPr id="45" name="Title 2">
            <a:extLst>
              <a:ext uri="{FF2B5EF4-FFF2-40B4-BE49-F238E27FC236}">
                <a16:creationId xmlns:a16="http://schemas.microsoft.com/office/drawing/2014/main" id="{0B2A2A5A-0034-1541-B7D3-C7C5D57DE856}"/>
              </a:ext>
            </a:extLst>
          </p:cNvPr>
          <p:cNvSpPr txBox="1">
            <a:spLocks/>
          </p:cNvSpPr>
          <p:nvPr/>
        </p:nvSpPr>
        <p:spPr>
          <a:xfrm>
            <a:off x="719667" y="709085"/>
            <a:ext cx="10752667" cy="56121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3000" b="0" i="0" u="none" strike="noStrike" cap="none">
                <a:solidFill>
                  <a:schemeClr val="bg2"/>
                </a:solidFill>
                <a:latin typeface="+mj-lt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defTabSz="1219170">
              <a:defRPr/>
            </a:pPr>
            <a:r>
              <a:rPr lang="en-US" sz="4000" kern="0">
                <a:solidFill>
                  <a:srgbClr val="14284A"/>
                </a:solidFill>
                <a:latin typeface="CiscoSansTT ExtraLight"/>
              </a:rPr>
              <a:t>Business Critical Services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B4407530-1557-2C41-8B01-24B029EFA0A6}"/>
              </a:ext>
            </a:extLst>
          </p:cNvPr>
          <p:cNvSpPr txBox="1"/>
          <p:nvPr/>
        </p:nvSpPr>
        <p:spPr>
          <a:xfrm>
            <a:off x="735747" y="1240461"/>
            <a:ext cx="8095488" cy="3019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609570" fontAlgn="base">
              <a:lnSpc>
                <a:spcPct val="110000"/>
              </a:lnSpc>
              <a:spcBef>
                <a:spcPct val="0"/>
              </a:spcBef>
              <a:spcAft>
                <a:spcPts val="1600"/>
              </a:spcAft>
              <a:defRPr/>
            </a:pPr>
            <a:r>
              <a:rPr lang="en-GB" sz="2400">
                <a:solidFill>
                  <a:srgbClr val="00BCEB"/>
                </a:solidFill>
                <a:latin typeface="CiscoSansTT ExtraLight"/>
                <a:ea typeface="ＭＳ Ｐゴシック" charset="0"/>
              </a:rPr>
              <a:t>Create a resilient, adaptive, and transformative IT</a:t>
            </a:r>
            <a:endParaRPr lang="en-US" sz="2400">
              <a:solidFill>
                <a:srgbClr val="00BCEB"/>
              </a:solidFill>
              <a:latin typeface="CiscoSansTT ExtraLight"/>
              <a:ea typeface="ＭＳ Ｐゴシック" charset="0"/>
            </a:endParaRP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9F19F9BA-50D1-004F-A0BB-181782AE50EA}"/>
              </a:ext>
            </a:extLst>
          </p:cNvPr>
          <p:cNvSpPr txBox="1"/>
          <p:nvPr/>
        </p:nvSpPr>
        <p:spPr>
          <a:xfrm>
            <a:off x="2482149" y="6570231"/>
            <a:ext cx="6592715" cy="348813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defTabSz="609570" fontAlgn="base">
              <a:lnSpc>
                <a:spcPct val="110000"/>
              </a:lnSpc>
              <a:spcBef>
                <a:spcPct val="0"/>
              </a:spcBef>
              <a:spcAft>
                <a:spcPts val="1600"/>
              </a:spcAft>
              <a:defRPr/>
            </a:pPr>
            <a:r>
              <a:rPr lang="en-US" sz="1600" i="1">
                <a:solidFill>
                  <a:srgbClr val="2F446B"/>
                </a:solidFill>
                <a:latin typeface="Arial" charset="0"/>
                <a:ea typeface="ＭＳ Ｐゴシック" charset="0"/>
              </a:rPr>
              <a:t>New: Premier and Add-Ons available on June 26, 2020 in the U.S. and Canada</a:t>
            </a:r>
          </a:p>
          <a:p>
            <a:pPr defTabSz="609570" fontAlgn="base">
              <a:lnSpc>
                <a:spcPct val="110000"/>
              </a:lnSpc>
              <a:spcBef>
                <a:spcPct val="0"/>
              </a:spcBef>
              <a:spcAft>
                <a:spcPts val="1600"/>
              </a:spcAft>
              <a:defRPr/>
            </a:pPr>
            <a:endParaRPr lang="en-US" sz="1867">
              <a:solidFill>
                <a:srgbClr val="2F446B"/>
              </a:solidFill>
              <a:latin typeface="CiscoSansTT ExtraLight"/>
              <a:ea typeface="ＭＳ Ｐゴシック" charset="0"/>
            </a:endParaRPr>
          </a:p>
        </p:txBody>
      </p:sp>
      <p:sp>
        <p:nvSpPr>
          <p:cNvPr id="25" name="Rectangle: Rounded Corners 24">
            <a:extLst>
              <a:ext uri="{FF2B5EF4-FFF2-40B4-BE49-F238E27FC236}">
                <a16:creationId xmlns:a16="http://schemas.microsoft.com/office/drawing/2014/main" id="{DE30DACB-A38C-4B69-B4DD-3DC7FE7A178C}"/>
              </a:ext>
            </a:extLst>
          </p:cNvPr>
          <p:cNvSpPr/>
          <p:nvPr/>
        </p:nvSpPr>
        <p:spPr>
          <a:xfrm>
            <a:off x="1166488" y="1934843"/>
            <a:ext cx="5952067" cy="601277"/>
          </a:xfrm>
          <a:prstGeom prst="roundRect">
            <a:avLst>
              <a:gd name="adj" fmla="val 50000"/>
            </a:avLst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rtlCol="0" anchor="ctr"/>
          <a:lstStyle/>
          <a:p>
            <a:pPr defTabSz="914354">
              <a:lnSpc>
                <a:spcPct val="110000"/>
              </a:lnSpc>
              <a:spcAft>
                <a:spcPts val="1600"/>
              </a:spcAft>
              <a:defRPr/>
            </a:pPr>
            <a:r>
              <a:rPr lang="en-US" sz="1600">
                <a:solidFill>
                  <a:srgbClr val="FFFFFF"/>
                </a:solidFill>
                <a:latin typeface="CiscoSansTT Light" panose="020B0503020201020303" pitchFamily="34" charset="0"/>
                <a:cs typeface="CiscoSansTT Light" panose="020B0503020201020303" pitchFamily="34" charset="0"/>
              </a:rPr>
              <a:t> </a:t>
            </a:r>
            <a:r>
              <a:rPr lang="en-US" sz="1600" b="1">
                <a:solidFill>
                  <a:srgbClr val="FFFFFF"/>
                </a:solidFill>
                <a:latin typeface="CiscoSansTT" panose="020B0503020201020303" pitchFamily="34" charset="0"/>
                <a:cs typeface="CiscoSansTT" panose="020B0503020201020303" pitchFamily="34" charset="0"/>
              </a:rPr>
              <a:t>Premier</a:t>
            </a:r>
            <a:r>
              <a:rPr lang="en-US" sz="1600">
                <a:solidFill>
                  <a:srgbClr val="FFFFFF"/>
                </a:solidFill>
                <a:latin typeface="CiscoSansTT Light" panose="020B0503020201020303" pitchFamily="34" charset="0"/>
                <a:cs typeface="CiscoSansTT Light" panose="020B0503020201020303" pitchFamily="34" charset="0"/>
              </a:rPr>
              <a:t> </a:t>
            </a:r>
          </a:p>
        </p:txBody>
      </p:sp>
      <p:grpSp>
        <p:nvGrpSpPr>
          <p:cNvPr id="55" name="Group 54">
            <a:extLst>
              <a:ext uri="{FF2B5EF4-FFF2-40B4-BE49-F238E27FC236}">
                <a16:creationId xmlns:a16="http://schemas.microsoft.com/office/drawing/2014/main" id="{211B822E-D625-9C4C-8B3D-48B3C1B866E6}"/>
              </a:ext>
            </a:extLst>
          </p:cNvPr>
          <p:cNvGrpSpPr/>
          <p:nvPr/>
        </p:nvGrpSpPr>
        <p:grpSpPr>
          <a:xfrm>
            <a:off x="646934" y="1829159"/>
            <a:ext cx="743381" cy="764925"/>
            <a:chOff x="10661972" y="330401"/>
            <a:chExt cx="723254" cy="723254"/>
          </a:xfrm>
        </p:grpSpPr>
        <p:sp>
          <p:nvSpPr>
            <p:cNvPr id="65" name="Oval 64">
              <a:extLst>
                <a:ext uri="{FF2B5EF4-FFF2-40B4-BE49-F238E27FC236}">
                  <a16:creationId xmlns:a16="http://schemas.microsoft.com/office/drawing/2014/main" id="{461D2DB9-F59A-3C46-A81C-B1396A08A01D}"/>
                </a:ext>
              </a:extLst>
            </p:cNvPr>
            <p:cNvSpPr/>
            <p:nvPr/>
          </p:nvSpPr>
          <p:spPr>
            <a:xfrm>
              <a:off x="10661972" y="330401"/>
              <a:ext cx="723254" cy="723254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609570" fontAlgn="base">
                <a:spcBef>
                  <a:spcPct val="0"/>
                </a:spcBef>
                <a:spcAft>
                  <a:spcPts val="800"/>
                </a:spcAft>
                <a:defRPr/>
              </a:pPr>
              <a:endParaRPr lang="en-US" sz="1467" b="1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70" name="Freeform: Shape 38">
              <a:extLst>
                <a:ext uri="{FF2B5EF4-FFF2-40B4-BE49-F238E27FC236}">
                  <a16:creationId xmlns:a16="http://schemas.microsoft.com/office/drawing/2014/main" id="{5A424883-55EB-0145-9E3A-7D7D3897C820}"/>
                </a:ext>
              </a:extLst>
            </p:cNvPr>
            <p:cNvSpPr/>
            <p:nvPr/>
          </p:nvSpPr>
          <p:spPr>
            <a:xfrm>
              <a:off x="10714392" y="384329"/>
              <a:ext cx="617813" cy="615399"/>
            </a:xfrm>
            <a:custGeom>
              <a:avLst/>
              <a:gdLst>
                <a:gd name="connsiteX0" fmla="*/ 618176 w 617814"/>
                <a:gd name="connsiteY0" fmla="*/ 307820 h 615399"/>
                <a:gd name="connsiteX1" fmla="*/ 309088 w 617814"/>
                <a:gd name="connsiteY1" fmla="*/ 615641 h 615399"/>
                <a:gd name="connsiteX2" fmla="*/ 0 w 617814"/>
                <a:gd name="connsiteY2" fmla="*/ 307820 h 615399"/>
                <a:gd name="connsiteX3" fmla="*/ 309088 w 617814"/>
                <a:gd name="connsiteY3" fmla="*/ 0 h 615399"/>
                <a:gd name="connsiteX4" fmla="*/ 618176 w 617814"/>
                <a:gd name="connsiteY4" fmla="*/ 307820 h 6153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17814" h="615399">
                  <a:moveTo>
                    <a:pt x="618176" y="307820"/>
                  </a:moveTo>
                  <a:cubicBezTo>
                    <a:pt x="618176" y="477825"/>
                    <a:pt x="479817" y="615641"/>
                    <a:pt x="309088" y="615641"/>
                  </a:cubicBezTo>
                  <a:cubicBezTo>
                    <a:pt x="138359" y="615641"/>
                    <a:pt x="0" y="477825"/>
                    <a:pt x="0" y="307820"/>
                  </a:cubicBezTo>
                  <a:cubicBezTo>
                    <a:pt x="0" y="137816"/>
                    <a:pt x="138359" y="0"/>
                    <a:pt x="309088" y="0"/>
                  </a:cubicBezTo>
                  <a:cubicBezTo>
                    <a:pt x="479757" y="0"/>
                    <a:pt x="618176" y="137816"/>
                    <a:pt x="618176" y="307820"/>
                  </a:cubicBezTo>
                </a:path>
              </a:pathLst>
            </a:custGeom>
            <a:solidFill>
              <a:schemeClr val="accent5"/>
            </a:solidFill>
            <a:ln w="59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0957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 b="1">
                <a:solidFill>
                  <a:srgbClr val="FFFFFF"/>
                </a:solidFill>
                <a:latin typeface="Arial" charset="0"/>
                <a:ea typeface="ＭＳ Ｐゴシック" charset="0"/>
              </a:endParaRPr>
            </a:p>
          </p:txBody>
        </p:sp>
        <p:grpSp>
          <p:nvGrpSpPr>
            <p:cNvPr id="75" name="Graphic 2">
              <a:extLst>
                <a:ext uri="{FF2B5EF4-FFF2-40B4-BE49-F238E27FC236}">
                  <a16:creationId xmlns:a16="http://schemas.microsoft.com/office/drawing/2014/main" id="{BAB00F0F-A58A-3D49-8073-6C140B43A0D9}"/>
                </a:ext>
              </a:extLst>
            </p:cNvPr>
            <p:cNvGrpSpPr/>
            <p:nvPr/>
          </p:nvGrpSpPr>
          <p:grpSpPr>
            <a:xfrm>
              <a:off x="10798335" y="582977"/>
              <a:ext cx="450312" cy="218144"/>
              <a:chOff x="10798335" y="582977"/>
              <a:chExt cx="450312" cy="218144"/>
            </a:xfrm>
            <a:solidFill>
              <a:srgbClr val="FFFFFF"/>
            </a:solidFill>
          </p:grpSpPr>
          <p:sp>
            <p:nvSpPr>
              <p:cNvPr id="76" name="Freeform: Shape 40">
                <a:extLst>
                  <a:ext uri="{FF2B5EF4-FFF2-40B4-BE49-F238E27FC236}">
                    <a16:creationId xmlns:a16="http://schemas.microsoft.com/office/drawing/2014/main" id="{066DF6CD-93E0-E649-9A5A-54445FC8B4C4}"/>
                  </a:ext>
                </a:extLst>
              </p:cNvPr>
              <p:cNvSpPr/>
              <p:nvPr/>
            </p:nvSpPr>
            <p:spPr>
              <a:xfrm>
                <a:off x="10941406" y="583080"/>
                <a:ext cx="109913" cy="218017"/>
              </a:xfrm>
              <a:custGeom>
                <a:avLst/>
                <a:gdLst>
                  <a:gd name="connsiteX0" fmla="*/ 89260 w 109914"/>
                  <a:gd name="connsiteY0" fmla="*/ 130085 h 218016"/>
                  <a:gd name="connsiteX1" fmla="*/ 110156 w 109914"/>
                  <a:gd name="connsiteY1" fmla="*/ 109129 h 218016"/>
                  <a:gd name="connsiteX2" fmla="*/ 89260 w 109914"/>
                  <a:gd name="connsiteY2" fmla="*/ 88173 h 218016"/>
                  <a:gd name="connsiteX3" fmla="*/ 41792 w 109914"/>
                  <a:gd name="connsiteY3" fmla="*/ 88173 h 218016"/>
                  <a:gd name="connsiteX4" fmla="*/ 41792 w 109914"/>
                  <a:gd name="connsiteY4" fmla="*/ 41912 h 218016"/>
                  <a:gd name="connsiteX5" fmla="*/ 89260 w 109914"/>
                  <a:gd name="connsiteY5" fmla="*/ 41912 h 218016"/>
                  <a:gd name="connsiteX6" fmla="*/ 110156 w 109914"/>
                  <a:gd name="connsiteY6" fmla="*/ 20956 h 218016"/>
                  <a:gd name="connsiteX7" fmla="*/ 89260 w 109914"/>
                  <a:gd name="connsiteY7" fmla="*/ 0 h 218016"/>
                  <a:gd name="connsiteX8" fmla="*/ 20896 w 109914"/>
                  <a:gd name="connsiteY8" fmla="*/ 0 h 218016"/>
                  <a:gd name="connsiteX9" fmla="*/ 0 w 109914"/>
                  <a:gd name="connsiteY9" fmla="*/ 20956 h 218016"/>
                  <a:gd name="connsiteX10" fmla="*/ 0 w 109914"/>
                  <a:gd name="connsiteY10" fmla="*/ 197242 h 218016"/>
                  <a:gd name="connsiteX11" fmla="*/ 20896 w 109914"/>
                  <a:gd name="connsiteY11" fmla="*/ 218198 h 218016"/>
                  <a:gd name="connsiteX12" fmla="*/ 89260 w 109914"/>
                  <a:gd name="connsiteY12" fmla="*/ 218198 h 218016"/>
                  <a:gd name="connsiteX13" fmla="*/ 110156 w 109914"/>
                  <a:gd name="connsiteY13" fmla="*/ 197242 h 218016"/>
                  <a:gd name="connsiteX14" fmla="*/ 89260 w 109914"/>
                  <a:gd name="connsiteY14" fmla="*/ 176286 h 218016"/>
                  <a:gd name="connsiteX15" fmla="*/ 41792 w 109914"/>
                  <a:gd name="connsiteY15" fmla="*/ 176286 h 218016"/>
                  <a:gd name="connsiteX16" fmla="*/ 41792 w 109914"/>
                  <a:gd name="connsiteY16" fmla="*/ 130025 h 218016"/>
                  <a:gd name="connsiteX17" fmla="*/ 89260 w 109914"/>
                  <a:gd name="connsiteY17" fmla="*/ 130025 h 218016"/>
                  <a:gd name="connsiteX18" fmla="*/ 89260 w 109914"/>
                  <a:gd name="connsiteY18" fmla="*/ 130085 h 2180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109914" h="218016">
                    <a:moveTo>
                      <a:pt x="89260" y="130085"/>
                    </a:moveTo>
                    <a:cubicBezTo>
                      <a:pt x="100735" y="130085"/>
                      <a:pt x="110156" y="120664"/>
                      <a:pt x="110156" y="109129"/>
                    </a:cubicBezTo>
                    <a:cubicBezTo>
                      <a:pt x="110156" y="97594"/>
                      <a:pt x="100735" y="88173"/>
                      <a:pt x="89260" y="88173"/>
                    </a:cubicBezTo>
                    <a:lnTo>
                      <a:pt x="41792" y="88173"/>
                    </a:lnTo>
                    <a:lnTo>
                      <a:pt x="41792" y="41912"/>
                    </a:lnTo>
                    <a:lnTo>
                      <a:pt x="89260" y="41912"/>
                    </a:lnTo>
                    <a:cubicBezTo>
                      <a:pt x="100735" y="41912"/>
                      <a:pt x="110156" y="32491"/>
                      <a:pt x="110156" y="20956"/>
                    </a:cubicBezTo>
                    <a:cubicBezTo>
                      <a:pt x="110156" y="9421"/>
                      <a:pt x="100735" y="0"/>
                      <a:pt x="89260" y="0"/>
                    </a:cubicBezTo>
                    <a:lnTo>
                      <a:pt x="20896" y="0"/>
                    </a:lnTo>
                    <a:cubicBezTo>
                      <a:pt x="9421" y="0"/>
                      <a:pt x="0" y="9421"/>
                      <a:pt x="0" y="20956"/>
                    </a:cubicBezTo>
                    <a:lnTo>
                      <a:pt x="0" y="197242"/>
                    </a:lnTo>
                    <a:cubicBezTo>
                      <a:pt x="0" y="208777"/>
                      <a:pt x="9361" y="218198"/>
                      <a:pt x="20896" y="218198"/>
                    </a:cubicBezTo>
                    <a:lnTo>
                      <a:pt x="89260" y="218198"/>
                    </a:lnTo>
                    <a:cubicBezTo>
                      <a:pt x="100735" y="218198"/>
                      <a:pt x="110156" y="208777"/>
                      <a:pt x="110156" y="197242"/>
                    </a:cubicBezTo>
                    <a:cubicBezTo>
                      <a:pt x="110156" y="185707"/>
                      <a:pt x="100735" y="176286"/>
                      <a:pt x="89260" y="176286"/>
                    </a:cubicBezTo>
                    <a:lnTo>
                      <a:pt x="41792" y="176286"/>
                    </a:lnTo>
                    <a:lnTo>
                      <a:pt x="41792" y="130025"/>
                    </a:lnTo>
                    <a:lnTo>
                      <a:pt x="89260" y="130025"/>
                    </a:lnTo>
                    <a:lnTo>
                      <a:pt x="89260" y="130085"/>
                    </a:lnTo>
                    <a:close/>
                  </a:path>
                </a:pathLst>
              </a:custGeom>
              <a:solidFill>
                <a:srgbClr val="FFFFFF"/>
              </a:solidFill>
              <a:ln w="59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09570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2400" b="1">
                  <a:solidFill>
                    <a:srgbClr val="FFFFFF"/>
                  </a:solidFill>
                  <a:latin typeface="Arial" charset="0"/>
                  <a:ea typeface="ＭＳ Ｐゴシック" charset="0"/>
                </a:endParaRPr>
              </a:p>
            </p:txBody>
          </p:sp>
          <p:grpSp>
            <p:nvGrpSpPr>
              <p:cNvPr id="77" name="Graphic 2">
                <a:extLst>
                  <a:ext uri="{FF2B5EF4-FFF2-40B4-BE49-F238E27FC236}">
                    <a16:creationId xmlns:a16="http://schemas.microsoft.com/office/drawing/2014/main" id="{69B77906-AE69-474C-9C91-8C45D1E71D8E}"/>
                  </a:ext>
                </a:extLst>
              </p:cNvPr>
              <p:cNvGrpSpPr/>
              <p:nvPr/>
            </p:nvGrpSpPr>
            <p:grpSpPr>
              <a:xfrm>
                <a:off x="10798335" y="582977"/>
                <a:ext cx="120785" cy="218017"/>
                <a:chOff x="10798335" y="582977"/>
                <a:chExt cx="120785" cy="218017"/>
              </a:xfrm>
              <a:solidFill>
                <a:srgbClr val="FFFFFF"/>
              </a:solidFill>
            </p:grpSpPr>
            <p:sp>
              <p:nvSpPr>
                <p:cNvPr id="83" name="Freeform: Shape 47">
                  <a:extLst>
                    <a:ext uri="{FF2B5EF4-FFF2-40B4-BE49-F238E27FC236}">
                      <a16:creationId xmlns:a16="http://schemas.microsoft.com/office/drawing/2014/main" id="{247FF7DD-23D1-3542-A7D9-B2D1C7460268}"/>
                    </a:ext>
                  </a:extLst>
                </p:cNvPr>
                <p:cNvSpPr/>
                <p:nvPr/>
              </p:nvSpPr>
              <p:spPr>
                <a:xfrm>
                  <a:off x="10877449" y="583081"/>
                  <a:ext cx="41671" cy="218017"/>
                </a:xfrm>
                <a:custGeom>
                  <a:avLst/>
                  <a:gdLst>
                    <a:gd name="connsiteX0" fmla="*/ 0 w 41670"/>
                    <a:gd name="connsiteY0" fmla="*/ 197302 h 218016"/>
                    <a:gd name="connsiteX1" fmla="*/ 0 w 41670"/>
                    <a:gd name="connsiteY1" fmla="*/ 20956 h 218016"/>
                    <a:gd name="connsiteX2" fmla="*/ 20896 w 41670"/>
                    <a:gd name="connsiteY2" fmla="*/ 0 h 218016"/>
                    <a:gd name="connsiteX3" fmla="*/ 41792 w 41670"/>
                    <a:gd name="connsiteY3" fmla="*/ 20956 h 218016"/>
                    <a:gd name="connsiteX4" fmla="*/ 41792 w 41670"/>
                    <a:gd name="connsiteY4" fmla="*/ 197242 h 218016"/>
                    <a:gd name="connsiteX5" fmla="*/ 20896 w 41670"/>
                    <a:gd name="connsiteY5" fmla="*/ 218198 h 218016"/>
                    <a:gd name="connsiteX6" fmla="*/ 0 w 41670"/>
                    <a:gd name="connsiteY6" fmla="*/ 197302 h 21801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41670" h="218016">
                      <a:moveTo>
                        <a:pt x="0" y="197302"/>
                      </a:moveTo>
                      <a:lnTo>
                        <a:pt x="0" y="20956"/>
                      </a:lnTo>
                      <a:cubicBezTo>
                        <a:pt x="0" y="9421"/>
                        <a:pt x="9361" y="0"/>
                        <a:pt x="20896" y="0"/>
                      </a:cubicBezTo>
                      <a:cubicBezTo>
                        <a:pt x="32370" y="0"/>
                        <a:pt x="41792" y="9421"/>
                        <a:pt x="41792" y="20956"/>
                      </a:cubicBezTo>
                      <a:lnTo>
                        <a:pt x="41792" y="197242"/>
                      </a:lnTo>
                      <a:cubicBezTo>
                        <a:pt x="41792" y="208777"/>
                        <a:pt x="32431" y="218198"/>
                        <a:pt x="20896" y="218198"/>
                      </a:cubicBezTo>
                      <a:cubicBezTo>
                        <a:pt x="9421" y="218198"/>
                        <a:pt x="0" y="208777"/>
                        <a:pt x="0" y="197302"/>
                      </a:cubicBezTo>
                    </a:path>
                  </a:pathLst>
                </a:custGeom>
                <a:solidFill>
                  <a:srgbClr val="FFFFFF"/>
                </a:solidFill>
                <a:ln w="59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defTabSz="609570" fontAlgn="base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US" sz="2400" b="1">
                    <a:solidFill>
                      <a:srgbClr val="FFFFFF"/>
                    </a:solidFill>
                    <a:latin typeface="Arial" charset="0"/>
                    <a:ea typeface="ＭＳ Ｐゴシック" charset="0"/>
                  </a:endParaRPr>
                </a:p>
              </p:txBody>
            </p:sp>
            <p:sp>
              <p:nvSpPr>
                <p:cNvPr id="84" name="Freeform: Shape 48">
                  <a:extLst>
                    <a:ext uri="{FF2B5EF4-FFF2-40B4-BE49-F238E27FC236}">
                      <a16:creationId xmlns:a16="http://schemas.microsoft.com/office/drawing/2014/main" id="{5A936F23-D2EF-7B4F-8ECD-ECBF087D8010}"/>
                    </a:ext>
                  </a:extLst>
                </p:cNvPr>
                <p:cNvSpPr/>
                <p:nvPr/>
              </p:nvSpPr>
              <p:spPr>
                <a:xfrm>
                  <a:off x="10798335" y="583081"/>
                  <a:ext cx="41671" cy="218017"/>
                </a:xfrm>
                <a:custGeom>
                  <a:avLst/>
                  <a:gdLst>
                    <a:gd name="connsiteX0" fmla="*/ 0 w 41670"/>
                    <a:gd name="connsiteY0" fmla="*/ 197302 h 218016"/>
                    <a:gd name="connsiteX1" fmla="*/ 0 w 41670"/>
                    <a:gd name="connsiteY1" fmla="*/ 20956 h 218016"/>
                    <a:gd name="connsiteX2" fmla="*/ 20896 w 41670"/>
                    <a:gd name="connsiteY2" fmla="*/ 0 h 218016"/>
                    <a:gd name="connsiteX3" fmla="*/ 41792 w 41670"/>
                    <a:gd name="connsiteY3" fmla="*/ 20956 h 218016"/>
                    <a:gd name="connsiteX4" fmla="*/ 41792 w 41670"/>
                    <a:gd name="connsiteY4" fmla="*/ 197242 h 218016"/>
                    <a:gd name="connsiteX5" fmla="*/ 20896 w 41670"/>
                    <a:gd name="connsiteY5" fmla="*/ 218198 h 218016"/>
                    <a:gd name="connsiteX6" fmla="*/ 0 w 41670"/>
                    <a:gd name="connsiteY6" fmla="*/ 197302 h 21801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41670" h="218016">
                      <a:moveTo>
                        <a:pt x="0" y="197302"/>
                      </a:moveTo>
                      <a:lnTo>
                        <a:pt x="0" y="20956"/>
                      </a:lnTo>
                      <a:cubicBezTo>
                        <a:pt x="0" y="9421"/>
                        <a:pt x="9361" y="0"/>
                        <a:pt x="20896" y="0"/>
                      </a:cubicBezTo>
                      <a:cubicBezTo>
                        <a:pt x="32431" y="0"/>
                        <a:pt x="41792" y="9421"/>
                        <a:pt x="41792" y="20956"/>
                      </a:cubicBezTo>
                      <a:lnTo>
                        <a:pt x="41792" y="197242"/>
                      </a:lnTo>
                      <a:cubicBezTo>
                        <a:pt x="41792" y="208777"/>
                        <a:pt x="32370" y="218198"/>
                        <a:pt x="20896" y="218198"/>
                      </a:cubicBezTo>
                      <a:cubicBezTo>
                        <a:pt x="9421" y="218198"/>
                        <a:pt x="0" y="208777"/>
                        <a:pt x="0" y="197302"/>
                      </a:cubicBezTo>
                    </a:path>
                  </a:pathLst>
                </a:custGeom>
                <a:solidFill>
                  <a:srgbClr val="FFFFFF"/>
                </a:solidFill>
                <a:ln w="59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defTabSz="609570" fontAlgn="base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US" sz="2400" b="1">
                    <a:solidFill>
                      <a:srgbClr val="FFFFFF"/>
                    </a:solidFill>
                    <a:latin typeface="Arial" charset="0"/>
                    <a:ea typeface="ＭＳ Ｐゴシック" charset="0"/>
                  </a:endParaRPr>
                </a:p>
              </p:txBody>
            </p:sp>
            <p:sp>
              <p:nvSpPr>
                <p:cNvPr id="85" name="Freeform: Shape 49">
                  <a:extLst>
                    <a:ext uri="{FF2B5EF4-FFF2-40B4-BE49-F238E27FC236}">
                      <a16:creationId xmlns:a16="http://schemas.microsoft.com/office/drawing/2014/main" id="{DEC74EF4-5D19-D04B-A90C-2E1220B6981C}"/>
                    </a:ext>
                  </a:extLst>
                </p:cNvPr>
                <p:cNvSpPr/>
                <p:nvPr/>
              </p:nvSpPr>
              <p:spPr>
                <a:xfrm>
                  <a:off x="10798533" y="582977"/>
                  <a:ext cx="120181" cy="218017"/>
                </a:xfrm>
                <a:custGeom>
                  <a:avLst/>
                  <a:gdLst>
                    <a:gd name="connsiteX0" fmla="*/ 80728 w 120180"/>
                    <a:gd name="connsiteY0" fmla="*/ 205921 h 218016"/>
                    <a:gd name="connsiteX1" fmla="*/ 1735 w 120180"/>
                    <a:gd name="connsiteY1" fmla="*/ 29334 h 218016"/>
                    <a:gd name="connsiteX2" fmla="*/ 12545 w 120180"/>
                    <a:gd name="connsiteY2" fmla="*/ 1735 h 218016"/>
                    <a:gd name="connsiteX3" fmla="*/ 40023 w 120180"/>
                    <a:gd name="connsiteY3" fmla="*/ 12545 h 218016"/>
                    <a:gd name="connsiteX4" fmla="*/ 118896 w 120180"/>
                    <a:gd name="connsiteY4" fmla="*/ 188830 h 218016"/>
                    <a:gd name="connsiteX5" fmla="*/ 108327 w 120180"/>
                    <a:gd name="connsiteY5" fmla="*/ 216490 h 218016"/>
                    <a:gd name="connsiteX6" fmla="*/ 80728 w 120180"/>
                    <a:gd name="connsiteY6" fmla="*/ 205921 h 21801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20180" h="218016">
                      <a:moveTo>
                        <a:pt x="80728" y="205921"/>
                      </a:moveTo>
                      <a:lnTo>
                        <a:pt x="1735" y="29334"/>
                      </a:lnTo>
                      <a:cubicBezTo>
                        <a:pt x="-2855" y="18765"/>
                        <a:pt x="1976" y="6385"/>
                        <a:pt x="12545" y="1735"/>
                      </a:cubicBezTo>
                      <a:cubicBezTo>
                        <a:pt x="23053" y="-2855"/>
                        <a:pt x="35433" y="1976"/>
                        <a:pt x="40023" y="12545"/>
                      </a:cubicBezTo>
                      <a:lnTo>
                        <a:pt x="118896" y="188830"/>
                      </a:lnTo>
                      <a:cubicBezTo>
                        <a:pt x="123546" y="199339"/>
                        <a:pt x="118775" y="211779"/>
                        <a:pt x="108327" y="216490"/>
                      </a:cubicBezTo>
                      <a:cubicBezTo>
                        <a:pt x="97819" y="221201"/>
                        <a:pt x="85378" y="216430"/>
                        <a:pt x="80728" y="205921"/>
                      </a:cubicBezTo>
                    </a:path>
                  </a:pathLst>
                </a:custGeom>
                <a:solidFill>
                  <a:srgbClr val="FFFFFF"/>
                </a:solidFill>
                <a:ln w="59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defTabSz="609570" fontAlgn="base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US" sz="2400" b="1">
                    <a:solidFill>
                      <a:srgbClr val="FFFFFF"/>
                    </a:solidFill>
                    <a:latin typeface="Arial" charset="0"/>
                    <a:ea typeface="ＭＳ Ｐゴシック" charset="0"/>
                  </a:endParaRPr>
                </a:p>
              </p:txBody>
            </p:sp>
          </p:grpSp>
          <p:grpSp>
            <p:nvGrpSpPr>
              <p:cNvPr id="78" name="Graphic 2">
                <a:extLst>
                  <a:ext uri="{FF2B5EF4-FFF2-40B4-BE49-F238E27FC236}">
                    <a16:creationId xmlns:a16="http://schemas.microsoft.com/office/drawing/2014/main" id="{0A52D9F0-CD69-044F-B1A8-6DDC9B60E604}"/>
                  </a:ext>
                </a:extLst>
              </p:cNvPr>
              <p:cNvGrpSpPr/>
              <p:nvPr/>
            </p:nvGrpSpPr>
            <p:grpSpPr>
              <a:xfrm>
                <a:off x="11066262" y="583104"/>
                <a:ext cx="182385" cy="218017"/>
                <a:chOff x="11066262" y="583104"/>
                <a:chExt cx="182385" cy="218017"/>
              </a:xfrm>
              <a:solidFill>
                <a:srgbClr val="FFFFFF"/>
              </a:solidFill>
            </p:grpSpPr>
            <p:sp>
              <p:nvSpPr>
                <p:cNvPr id="79" name="Freeform: Shape 43">
                  <a:extLst>
                    <a:ext uri="{FF2B5EF4-FFF2-40B4-BE49-F238E27FC236}">
                      <a16:creationId xmlns:a16="http://schemas.microsoft.com/office/drawing/2014/main" id="{EB961B27-0E27-414D-AA4C-856B04F91889}"/>
                    </a:ext>
                  </a:extLst>
                </p:cNvPr>
                <p:cNvSpPr/>
                <p:nvPr/>
              </p:nvSpPr>
              <p:spPr>
                <a:xfrm>
                  <a:off x="11066262" y="583104"/>
                  <a:ext cx="76698" cy="218017"/>
                </a:xfrm>
                <a:custGeom>
                  <a:avLst/>
                  <a:gdLst>
                    <a:gd name="connsiteX0" fmla="*/ 35545 w 76698"/>
                    <a:gd name="connsiteY0" fmla="*/ 201325 h 218016"/>
                    <a:gd name="connsiteX1" fmla="*/ 397 w 76698"/>
                    <a:gd name="connsiteY1" fmla="*/ 25039 h 218016"/>
                    <a:gd name="connsiteX2" fmla="*/ 16884 w 76698"/>
                    <a:gd name="connsiteY2" fmla="*/ 399 h 218016"/>
                    <a:gd name="connsiteX3" fmla="*/ 41524 w 76698"/>
                    <a:gd name="connsiteY3" fmla="*/ 16886 h 218016"/>
                    <a:gd name="connsiteX4" fmla="*/ 76612 w 76698"/>
                    <a:gd name="connsiteY4" fmla="*/ 193172 h 218016"/>
                    <a:gd name="connsiteX5" fmla="*/ 60125 w 76698"/>
                    <a:gd name="connsiteY5" fmla="*/ 217812 h 218016"/>
                    <a:gd name="connsiteX6" fmla="*/ 35545 w 76698"/>
                    <a:gd name="connsiteY6" fmla="*/ 201325 h 21801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6698" h="218016">
                      <a:moveTo>
                        <a:pt x="35545" y="201325"/>
                      </a:moveTo>
                      <a:lnTo>
                        <a:pt x="397" y="25039"/>
                      </a:lnTo>
                      <a:cubicBezTo>
                        <a:pt x="-1838" y="13746"/>
                        <a:pt x="5591" y="2634"/>
                        <a:pt x="16884" y="399"/>
                      </a:cubicBezTo>
                      <a:cubicBezTo>
                        <a:pt x="28178" y="-1835"/>
                        <a:pt x="39290" y="5533"/>
                        <a:pt x="41524" y="16886"/>
                      </a:cubicBezTo>
                      <a:lnTo>
                        <a:pt x="76612" y="193172"/>
                      </a:lnTo>
                      <a:cubicBezTo>
                        <a:pt x="78847" y="204465"/>
                        <a:pt x="71418" y="215578"/>
                        <a:pt x="60125" y="217812"/>
                      </a:cubicBezTo>
                      <a:cubicBezTo>
                        <a:pt x="48832" y="220047"/>
                        <a:pt x="37780" y="212618"/>
                        <a:pt x="35545" y="201325"/>
                      </a:cubicBezTo>
                    </a:path>
                  </a:pathLst>
                </a:custGeom>
                <a:solidFill>
                  <a:srgbClr val="FFFFFF"/>
                </a:solidFill>
                <a:ln w="59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defTabSz="609570" fontAlgn="base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US" sz="2400" b="1">
                    <a:solidFill>
                      <a:srgbClr val="FFFFFF"/>
                    </a:solidFill>
                    <a:latin typeface="Arial" charset="0"/>
                    <a:ea typeface="ＭＳ Ｐゴシック" charset="0"/>
                  </a:endParaRPr>
                </a:p>
              </p:txBody>
            </p:sp>
            <p:sp>
              <p:nvSpPr>
                <p:cNvPr id="80" name="Freeform: Shape 44">
                  <a:extLst>
                    <a:ext uri="{FF2B5EF4-FFF2-40B4-BE49-F238E27FC236}">
                      <a16:creationId xmlns:a16="http://schemas.microsoft.com/office/drawing/2014/main" id="{04BF8B3D-4766-9345-8535-A011B31214E8}"/>
                    </a:ext>
                  </a:extLst>
                </p:cNvPr>
                <p:cNvSpPr/>
                <p:nvPr/>
              </p:nvSpPr>
              <p:spPr>
                <a:xfrm>
                  <a:off x="11101408" y="583104"/>
                  <a:ext cx="76698" cy="218017"/>
                </a:xfrm>
                <a:custGeom>
                  <a:avLst/>
                  <a:gdLst>
                    <a:gd name="connsiteX0" fmla="*/ 41466 w 76698"/>
                    <a:gd name="connsiteY0" fmla="*/ 201325 h 218016"/>
                    <a:gd name="connsiteX1" fmla="*/ 76615 w 76698"/>
                    <a:gd name="connsiteY1" fmla="*/ 25039 h 218016"/>
                    <a:gd name="connsiteX2" fmla="*/ 60128 w 76698"/>
                    <a:gd name="connsiteY2" fmla="*/ 399 h 218016"/>
                    <a:gd name="connsiteX3" fmla="*/ 35487 w 76698"/>
                    <a:gd name="connsiteY3" fmla="*/ 16886 h 218016"/>
                    <a:gd name="connsiteX4" fmla="*/ 399 w 76698"/>
                    <a:gd name="connsiteY4" fmla="*/ 193172 h 218016"/>
                    <a:gd name="connsiteX5" fmla="*/ 16826 w 76698"/>
                    <a:gd name="connsiteY5" fmla="*/ 217812 h 218016"/>
                    <a:gd name="connsiteX6" fmla="*/ 41466 w 76698"/>
                    <a:gd name="connsiteY6" fmla="*/ 201325 h 21801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6698" h="218016">
                      <a:moveTo>
                        <a:pt x="41466" y="201325"/>
                      </a:moveTo>
                      <a:lnTo>
                        <a:pt x="76615" y="25039"/>
                      </a:lnTo>
                      <a:cubicBezTo>
                        <a:pt x="78849" y="13746"/>
                        <a:pt x="71421" y="2634"/>
                        <a:pt x="60128" y="399"/>
                      </a:cubicBezTo>
                      <a:cubicBezTo>
                        <a:pt x="48834" y="-1835"/>
                        <a:pt x="37782" y="5533"/>
                        <a:pt x="35487" y="16886"/>
                      </a:cubicBezTo>
                      <a:lnTo>
                        <a:pt x="399" y="193172"/>
                      </a:lnTo>
                      <a:cubicBezTo>
                        <a:pt x="-1835" y="204465"/>
                        <a:pt x="5533" y="215578"/>
                        <a:pt x="16826" y="217812"/>
                      </a:cubicBezTo>
                      <a:cubicBezTo>
                        <a:pt x="28120" y="220047"/>
                        <a:pt x="39232" y="212618"/>
                        <a:pt x="41466" y="201325"/>
                      </a:cubicBezTo>
                    </a:path>
                  </a:pathLst>
                </a:custGeom>
                <a:solidFill>
                  <a:srgbClr val="FFFFFF"/>
                </a:solidFill>
                <a:ln w="59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defTabSz="609570" fontAlgn="base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US" sz="2400" b="1">
                    <a:solidFill>
                      <a:srgbClr val="FFFFFF"/>
                    </a:solidFill>
                    <a:latin typeface="Arial" charset="0"/>
                    <a:ea typeface="ＭＳ Ｐゴシック" charset="0"/>
                  </a:endParaRPr>
                </a:p>
              </p:txBody>
            </p:sp>
            <p:sp>
              <p:nvSpPr>
                <p:cNvPr id="81" name="Freeform: Shape 45">
                  <a:extLst>
                    <a:ext uri="{FF2B5EF4-FFF2-40B4-BE49-F238E27FC236}">
                      <a16:creationId xmlns:a16="http://schemas.microsoft.com/office/drawing/2014/main" id="{8315500F-3593-0545-B77C-496B452D29EB}"/>
                    </a:ext>
                  </a:extLst>
                </p:cNvPr>
                <p:cNvSpPr/>
                <p:nvPr/>
              </p:nvSpPr>
              <p:spPr>
                <a:xfrm>
                  <a:off x="11136438" y="583104"/>
                  <a:ext cx="76698" cy="218017"/>
                </a:xfrm>
                <a:custGeom>
                  <a:avLst/>
                  <a:gdLst>
                    <a:gd name="connsiteX0" fmla="*/ 35545 w 76698"/>
                    <a:gd name="connsiteY0" fmla="*/ 201325 h 218016"/>
                    <a:gd name="connsiteX1" fmla="*/ 397 w 76698"/>
                    <a:gd name="connsiteY1" fmla="*/ 25039 h 218016"/>
                    <a:gd name="connsiteX2" fmla="*/ 16884 w 76698"/>
                    <a:gd name="connsiteY2" fmla="*/ 399 h 218016"/>
                    <a:gd name="connsiteX3" fmla="*/ 41524 w 76698"/>
                    <a:gd name="connsiteY3" fmla="*/ 16886 h 218016"/>
                    <a:gd name="connsiteX4" fmla="*/ 76673 w 76698"/>
                    <a:gd name="connsiteY4" fmla="*/ 193172 h 218016"/>
                    <a:gd name="connsiteX5" fmla="*/ 60185 w 76698"/>
                    <a:gd name="connsiteY5" fmla="*/ 217812 h 218016"/>
                    <a:gd name="connsiteX6" fmla="*/ 35545 w 76698"/>
                    <a:gd name="connsiteY6" fmla="*/ 201325 h 21801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6698" h="218016">
                      <a:moveTo>
                        <a:pt x="35545" y="201325"/>
                      </a:moveTo>
                      <a:lnTo>
                        <a:pt x="397" y="25039"/>
                      </a:lnTo>
                      <a:cubicBezTo>
                        <a:pt x="-1838" y="13746"/>
                        <a:pt x="5591" y="2634"/>
                        <a:pt x="16884" y="399"/>
                      </a:cubicBezTo>
                      <a:cubicBezTo>
                        <a:pt x="28178" y="-1835"/>
                        <a:pt x="39229" y="5533"/>
                        <a:pt x="41524" y="16886"/>
                      </a:cubicBezTo>
                      <a:lnTo>
                        <a:pt x="76673" y="193172"/>
                      </a:lnTo>
                      <a:cubicBezTo>
                        <a:pt x="78907" y="204465"/>
                        <a:pt x="71479" y="215578"/>
                        <a:pt x="60185" y="217812"/>
                      </a:cubicBezTo>
                      <a:cubicBezTo>
                        <a:pt x="48892" y="220047"/>
                        <a:pt x="37780" y="212618"/>
                        <a:pt x="35545" y="201325"/>
                      </a:cubicBezTo>
                    </a:path>
                  </a:pathLst>
                </a:custGeom>
                <a:solidFill>
                  <a:srgbClr val="FFFFFF"/>
                </a:solidFill>
                <a:ln w="59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defTabSz="609570" fontAlgn="base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US" sz="2400" b="1">
                    <a:solidFill>
                      <a:srgbClr val="FFFFFF"/>
                    </a:solidFill>
                    <a:latin typeface="Arial" charset="0"/>
                    <a:ea typeface="ＭＳ Ｐゴシック" charset="0"/>
                  </a:endParaRPr>
                </a:p>
              </p:txBody>
            </p:sp>
            <p:sp>
              <p:nvSpPr>
                <p:cNvPr id="82" name="Freeform: Shape 46">
                  <a:extLst>
                    <a:ext uri="{FF2B5EF4-FFF2-40B4-BE49-F238E27FC236}">
                      <a16:creationId xmlns:a16="http://schemas.microsoft.com/office/drawing/2014/main" id="{4EAD6E41-8BFC-304F-9A1C-D2610271181B}"/>
                    </a:ext>
                  </a:extLst>
                </p:cNvPr>
                <p:cNvSpPr/>
                <p:nvPr/>
              </p:nvSpPr>
              <p:spPr>
                <a:xfrm>
                  <a:off x="11171584" y="583104"/>
                  <a:ext cx="76698" cy="218017"/>
                </a:xfrm>
                <a:custGeom>
                  <a:avLst/>
                  <a:gdLst>
                    <a:gd name="connsiteX0" fmla="*/ 41527 w 76698"/>
                    <a:gd name="connsiteY0" fmla="*/ 201325 h 218016"/>
                    <a:gd name="connsiteX1" fmla="*/ 76675 w 76698"/>
                    <a:gd name="connsiteY1" fmla="*/ 25039 h 218016"/>
                    <a:gd name="connsiteX2" fmla="*/ 60188 w 76698"/>
                    <a:gd name="connsiteY2" fmla="*/ 399 h 218016"/>
                    <a:gd name="connsiteX3" fmla="*/ 35548 w 76698"/>
                    <a:gd name="connsiteY3" fmla="*/ 16886 h 218016"/>
                    <a:gd name="connsiteX4" fmla="*/ 399 w 76698"/>
                    <a:gd name="connsiteY4" fmla="*/ 193172 h 218016"/>
                    <a:gd name="connsiteX5" fmla="*/ 16886 w 76698"/>
                    <a:gd name="connsiteY5" fmla="*/ 217812 h 218016"/>
                    <a:gd name="connsiteX6" fmla="*/ 41527 w 76698"/>
                    <a:gd name="connsiteY6" fmla="*/ 201325 h 21801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6698" h="218016">
                      <a:moveTo>
                        <a:pt x="41527" y="201325"/>
                      </a:moveTo>
                      <a:lnTo>
                        <a:pt x="76675" y="25039"/>
                      </a:lnTo>
                      <a:cubicBezTo>
                        <a:pt x="78909" y="13746"/>
                        <a:pt x="71481" y="2634"/>
                        <a:pt x="60188" y="399"/>
                      </a:cubicBezTo>
                      <a:cubicBezTo>
                        <a:pt x="48894" y="-1835"/>
                        <a:pt x="37782" y="5533"/>
                        <a:pt x="35548" y="16886"/>
                      </a:cubicBezTo>
                      <a:lnTo>
                        <a:pt x="399" y="193172"/>
                      </a:lnTo>
                      <a:cubicBezTo>
                        <a:pt x="-1835" y="204465"/>
                        <a:pt x="5533" y="215578"/>
                        <a:pt x="16886" y="217812"/>
                      </a:cubicBezTo>
                      <a:cubicBezTo>
                        <a:pt x="28180" y="220047"/>
                        <a:pt x="39292" y="212618"/>
                        <a:pt x="41527" y="201325"/>
                      </a:cubicBezTo>
                    </a:path>
                  </a:pathLst>
                </a:custGeom>
                <a:solidFill>
                  <a:srgbClr val="FFFFFF"/>
                </a:solidFill>
                <a:ln w="59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defTabSz="609570" fontAlgn="base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US" sz="2400" b="1">
                    <a:solidFill>
                      <a:srgbClr val="FFFFFF"/>
                    </a:solidFill>
                    <a:latin typeface="Arial" charset="0"/>
                    <a:ea typeface="ＭＳ Ｐゴシック" charset="0"/>
                  </a:endParaRPr>
                </a:p>
              </p:txBody>
            </p:sp>
          </p:grpSp>
        </p:grpSp>
      </p:grpSp>
      <p:sp>
        <p:nvSpPr>
          <p:cNvPr id="29" name="Rectangle: Rounded Corners 24">
            <a:extLst>
              <a:ext uri="{FF2B5EF4-FFF2-40B4-BE49-F238E27FC236}">
                <a16:creationId xmlns:a16="http://schemas.microsoft.com/office/drawing/2014/main" id="{4D45F230-6037-804C-BB94-F0E5AB2E33AE}"/>
              </a:ext>
            </a:extLst>
          </p:cNvPr>
          <p:cNvSpPr/>
          <p:nvPr/>
        </p:nvSpPr>
        <p:spPr>
          <a:xfrm>
            <a:off x="7695351" y="1934843"/>
            <a:ext cx="3765592" cy="626532"/>
          </a:xfrm>
          <a:prstGeom prst="roundRect">
            <a:avLst>
              <a:gd name="adj" fmla="val 50000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rtlCol="0" anchor="t"/>
          <a:lstStyle/>
          <a:p>
            <a:pPr defTabSz="914354">
              <a:lnSpc>
                <a:spcPct val="110000"/>
              </a:lnSpc>
              <a:spcAft>
                <a:spcPts val="1600"/>
              </a:spcAft>
              <a:defRPr/>
            </a:pPr>
            <a:r>
              <a:rPr lang="en-US" sz="1600">
                <a:solidFill>
                  <a:srgbClr val="FFFFFF"/>
                </a:solidFill>
                <a:latin typeface="CiscoSansTT Light"/>
                <a:cs typeface="CiscoSansTT Light" panose="020B0503020201020303" pitchFamily="34" charset="0"/>
              </a:rPr>
              <a:t>                                 </a:t>
            </a:r>
            <a:endParaRPr lang="en-US" sz="1200">
              <a:solidFill>
                <a:srgbClr val="FFFFFF"/>
              </a:solidFill>
              <a:latin typeface="CiscoSansTT Light" panose="020B0503020201020303" pitchFamily="34" charset="0"/>
              <a:cs typeface="CiscoSansTT Light" panose="020B0503020201020303" pitchFamily="34" charset="0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2FC6B8AE-78DD-934F-91B8-A3AE2713BB08}"/>
              </a:ext>
            </a:extLst>
          </p:cNvPr>
          <p:cNvSpPr txBox="1"/>
          <p:nvPr/>
        </p:nvSpPr>
        <p:spPr>
          <a:xfrm>
            <a:off x="8024447" y="1359091"/>
            <a:ext cx="3429948" cy="235527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defTabSz="609570" fontAlgn="base">
              <a:lnSpc>
                <a:spcPct val="110000"/>
              </a:lnSpc>
              <a:spcBef>
                <a:spcPct val="0"/>
              </a:spcBef>
              <a:spcAft>
                <a:spcPts val="1600"/>
              </a:spcAft>
              <a:defRPr/>
            </a:pPr>
            <a:endParaRPr lang="en-US" sz="1467">
              <a:solidFill>
                <a:srgbClr val="FFFFFF"/>
              </a:solidFill>
              <a:latin typeface="CiscoSansTT ExtraLight"/>
              <a:ea typeface="ＭＳ Ｐゴシック" charset="0"/>
            </a:endParaRPr>
          </a:p>
        </p:txBody>
      </p:sp>
      <p:grpSp>
        <p:nvGrpSpPr>
          <p:cNvPr id="86" name="Group 85">
            <a:extLst>
              <a:ext uri="{FF2B5EF4-FFF2-40B4-BE49-F238E27FC236}">
                <a16:creationId xmlns:a16="http://schemas.microsoft.com/office/drawing/2014/main" id="{D4C6196E-221C-0047-8170-0A2AE680DC0B}"/>
              </a:ext>
            </a:extLst>
          </p:cNvPr>
          <p:cNvGrpSpPr/>
          <p:nvPr/>
        </p:nvGrpSpPr>
        <p:grpSpPr>
          <a:xfrm>
            <a:off x="7229815" y="1829159"/>
            <a:ext cx="725837" cy="737191"/>
            <a:chOff x="10661972" y="330401"/>
            <a:chExt cx="723254" cy="723254"/>
          </a:xfrm>
        </p:grpSpPr>
        <p:sp>
          <p:nvSpPr>
            <p:cNvPr id="88" name="Oval 87">
              <a:extLst>
                <a:ext uri="{FF2B5EF4-FFF2-40B4-BE49-F238E27FC236}">
                  <a16:creationId xmlns:a16="http://schemas.microsoft.com/office/drawing/2014/main" id="{140AC5F2-FB91-EA41-8946-BBAB2D400A36}"/>
                </a:ext>
              </a:extLst>
            </p:cNvPr>
            <p:cNvSpPr/>
            <p:nvPr/>
          </p:nvSpPr>
          <p:spPr>
            <a:xfrm>
              <a:off x="10661972" y="330401"/>
              <a:ext cx="723254" cy="723254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 defTabSz="609570" fontAlgn="base">
                <a:spcBef>
                  <a:spcPct val="0"/>
                </a:spcBef>
                <a:spcAft>
                  <a:spcPts val="800"/>
                </a:spcAft>
                <a:defRPr/>
              </a:pPr>
              <a:endParaRPr lang="en-US" sz="1467">
                <a:solidFill>
                  <a:srgbClr val="FFFFFF"/>
                </a:solidFill>
                <a:latin typeface="CiscoSansTT ExtraLight"/>
              </a:endParaRPr>
            </a:p>
          </p:txBody>
        </p:sp>
        <p:sp>
          <p:nvSpPr>
            <p:cNvPr id="89" name="Freeform: Shape 38">
              <a:extLst>
                <a:ext uri="{FF2B5EF4-FFF2-40B4-BE49-F238E27FC236}">
                  <a16:creationId xmlns:a16="http://schemas.microsoft.com/office/drawing/2014/main" id="{0DD3A487-40C2-0445-8114-6453F62C65E4}"/>
                </a:ext>
              </a:extLst>
            </p:cNvPr>
            <p:cNvSpPr/>
            <p:nvPr/>
          </p:nvSpPr>
          <p:spPr>
            <a:xfrm>
              <a:off x="10714390" y="384329"/>
              <a:ext cx="617814" cy="615399"/>
            </a:xfrm>
            <a:custGeom>
              <a:avLst/>
              <a:gdLst>
                <a:gd name="connsiteX0" fmla="*/ 618176 w 617814"/>
                <a:gd name="connsiteY0" fmla="*/ 307820 h 615399"/>
                <a:gd name="connsiteX1" fmla="*/ 309088 w 617814"/>
                <a:gd name="connsiteY1" fmla="*/ 615641 h 615399"/>
                <a:gd name="connsiteX2" fmla="*/ 0 w 617814"/>
                <a:gd name="connsiteY2" fmla="*/ 307820 h 615399"/>
                <a:gd name="connsiteX3" fmla="*/ 309088 w 617814"/>
                <a:gd name="connsiteY3" fmla="*/ 0 h 615399"/>
                <a:gd name="connsiteX4" fmla="*/ 618176 w 617814"/>
                <a:gd name="connsiteY4" fmla="*/ 307820 h 6153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17814" h="615399">
                  <a:moveTo>
                    <a:pt x="618176" y="307820"/>
                  </a:moveTo>
                  <a:cubicBezTo>
                    <a:pt x="618176" y="477825"/>
                    <a:pt x="479817" y="615641"/>
                    <a:pt x="309088" y="615641"/>
                  </a:cubicBezTo>
                  <a:cubicBezTo>
                    <a:pt x="138359" y="615641"/>
                    <a:pt x="0" y="477825"/>
                    <a:pt x="0" y="307820"/>
                  </a:cubicBezTo>
                  <a:cubicBezTo>
                    <a:pt x="0" y="137816"/>
                    <a:pt x="138359" y="0"/>
                    <a:pt x="309088" y="0"/>
                  </a:cubicBezTo>
                  <a:cubicBezTo>
                    <a:pt x="479757" y="0"/>
                    <a:pt x="618176" y="137816"/>
                    <a:pt x="618176" y="307820"/>
                  </a:cubicBezTo>
                </a:path>
              </a:pathLst>
            </a:custGeom>
            <a:solidFill>
              <a:schemeClr val="bg2"/>
            </a:solidFill>
            <a:ln w="59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609570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2400">
                <a:solidFill>
                  <a:srgbClr val="2F446B"/>
                </a:solidFill>
                <a:latin typeface="Arial" charset="0"/>
                <a:ea typeface="ＭＳ Ｐゴシック" charset="0"/>
              </a:endParaRPr>
            </a:p>
          </p:txBody>
        </p:sp>
        <p:grpSp>
          <p:nvGrpSpPr>
            <p:cNvPr id="90" name="Graphic 2">
              <a:extLst>
                <a:ext uri="{FF2B5EF4-FFF2-40B4-BE49-F238E27FC236}">
                  <a16:creationId xmlns:a16="http://schemas.microsoft.com/office/drawing/2014/main" id="{5C9E3FCF-EF43-FE4A-8924-28B9D190ACB9}"/>
                </a:ext>
              </a:extLst>
            </p:cNvPr>
            <p:cNvGrpSpPr/>
            <p:nvPr/>
          </p:nvGrpSpPr>
          <p:grpSpPr>
            <a:xfrm>
              <a:off x="10798335" y="582977"/>
              <a:ext cx="450312" cy="218144"/>
              <a:chOff x="10798335" y="582977"/>
              <a:chExt cx="450312" cy="218144"/>
            </a:xfrm>
            <a:solidFill>
              <a:srgbClr val="FFFFFF"/>
            </a:solidFill>
          </p:grpSpPr>
          <p:sp>
            <p:nvSpPr>
              <p:cNvPr id="91" name="Freeform: Shape 40">
                <a:extLst>
                  <a:ext uri="{FF2B5EF4-FFF2-40B4-BE49-F238E27FC236}">
                    <a16:creationId xmlns:a16="http://schemas.microsoft.com/office/drawing/2014/main" id="{1BCE132C-3A15-154E-9AA4-0211683C3156}"/>
                  </a:ext>
                </a:extLst>
              </p:cNvPr>
              <p:cNvSpPr/>
              <p:nvPr/>
            </p:nvSpPr>
            <p:spPr>
              <a:xfrm>
                <a:off x="10941405" y="583081"/>
                <a:ext cx="109914" cy="218017"/>
              </a:xfrm>
              <a:custGeom>
                <a:avLst/>
                <a:gdLst>
                  <a:gd name="connsiteX0" fmla="*/ 89260 w 109914"/>
                  <a:gd name="connsiteY0" fmla="*/ 130085 h 218016"/>
                  <a:gd name="connsiteX1" fmla="*/ 110156 w 109914"/>
                  <a:gd name="connsiteY1" fmla="*/ 109129 h 218016"/>
                  <a:gd name="connsiteX2" fmla="*/ 89260 w 109914"/>
                  <a:gd name="connsiteY2" fmla="*/ 88173 h 218016"/>
                  <a:gd name="connsiteX3" fmla="*/ 41792 w 109914"/>
                  <a:gd name="connsiteY3" fmla="*/ 88173 h 218016"/>
                  <a:gd name="connsiteX4" fmla="*/ 41792 w 109914"/>
                  <a:gd name="connsiteY4" fmla="*/ 41912 h 218016"/>
                  <a:gd name="connsiteX5" fmla="*/ 89260 w 109914"/>
                  <a:gd name="connsiteY5" fmla="*/ 41912 h 218016"/>
                  <a:gd name="connsiteX6" fmla="*/ 110156 w 109914"/>
                  <a:gd name="connsiteY6" fmla="*/ 20956 h 218016"/>
                  <a:gd name="connsiteX7" fmla="*/ 89260 w 109914"/>
                  <a:gd name="connsiteY7" fmla="*/ 0 h 218016"/>
                  <a:gd name="connsiteX8" fmla="*/ 20896 w 109914"/>
                  <a:gd name="connsiteY8" fmla="*/ 0 h 218016"/>
                  <a:gd name="connsiteX9" fmla="*/ 0 w 109914"/>
                  <a:gd name="connsiteY9" fmla="*/ 20956 h 218016"/>
                  <a:gd name="connsiteX10" fmla="*/ 0 w 109914"/>
                  <a:gd name="connsiteY10" fmla="*/ 197242 h 218016"/>
                  <a:gd name="connsiteX11" fmla="*/ 20896 w 109914"/>
                  <a:gd name="connsiteY11" fmla="*/ 218198 h 218016"/>
                  <a:gd name="connsiteX12" fmla="*/ 89260 w 109914"/>
                  <a:gd name="connsiteY12" fmla="*/ 218198 h 218016"/>
                  <a:gd name="connsiteX13" fmla="*/ 110156 w 109914"/>
                  <a:gd name="connsiteY13" fmla="*/ 197242 h 218016"/>
                  <a:gd name="connsiteX14" fmla="*/ 89260 w 109914"/>
                  <a:gd name="connsiteY14" fmla="*/ 176286 h 218016"/>
                  <a:gd name="connsiteX15" fmla="*/ 41792 w 109914"/>
                  <a:gd name="connsiteY15" fmla="*/ 176286 h 218016"/>
                  <a:gd name="connsiteX16" fmla="*/ 41792 w 109914"/>
                  <a:gd name="connsiteY16" fmla="*/ 130025 h 218016"/>
                  <a:gd name="connsiteX17" fmla="*/ 89260 w 109914"/>
                  <a:gd name="connsiteY17" fmla="*/ 130025 h 218016"/>
                  <a:gd name="connsiteX18" fmla="*/ 89260 w 109914"/>
                  <a:gd name="connsiteY18" fmla="*/ 130085 h 2180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109914" h="218016">
                    <a:moveTo>
                      <a:pt x="89260" y="130085"/>
                    </a:moveTo>
                    <a:cubicBezTo>
                      <a:pt x="100735" y="130085"/>
                      <a:pt x="110156" y="120664"/>
                      <a:pt x="110156" y="109129"/>
                    </a:cubicBezTo>
                    <a:cubicBezTo>
                      <a:pt x="110156" y="97594"/>
                      <a:pt x="100735" y="88173"/>
                      <a:pt x="89260" y="88173"/>
                    </a:cubicBezTo>
                    <a:lnTo>
                      <a:pt x="41792" y="88173"/>
                    </a:lnTo>
                    <a:lnTo>
                      <a:pt x="41792" y="41912"/>
                    </a:lnTo>
                    <a:lnTo>
                      <a:pt x="89260" y="41912"/>
                    </a:lnTo>
                    <a:cubicBezTo>
                      <a:pt x="100735" y="41912"/>
                      <a:pt x="110156" y="32491"/>
                      <a:pt x="110156" y="20956"/>
                    </a:cubicBezTo>
                    <a:cubicBezTo>
                      <a:pt x="110156" y="9421"/>
                      <a:pt x="100735" y="0"/>
                      <a:pt x="89260" y="0"/>
                    </a:cubicBezTo>
                    <a:lnTo>
                      <a:pt x="20896" y="0"/>
                    </a:lnTo>
                    <a:cubicBezTo>
                      <a:pt x="9421" y="0"/>
                      <a:pt x="0" y="9421"/>
                      <a:pt x="0" y="20956"/>
                    </a:cubicBezTo>
                    <a:lnTo>
                      <a:pt x="0" y="197242"/>
                    </a:lnTo>
                    <a:cubicBezTo>
                      <a:pt x="0" y="208777"/>
                      <a:pt x="9361" y="218198"/>
                      <a:pt x="20896" y="218198"/>
                    </a:cubicBezTo>
                    <a:lnTo>
                      <a:pt x="89260" y="218198"/>
                    </a:lnTo>
                    <a:cubicBezTo>
                      <a:pt x="100735" y="218198"/>
                      <a:pt x="110156" y="208777"/>
                      <a:pt x="110156" y="197242"/>
                    </a:cubicBezTo>
                    <a:cubicBezTo>
                      <a:pt x="110156" y="185707"/>
                      <a:pt x="100735" y="176286"/>
                      <a:pt x="89260" y="176286"/>
                    </a:cubicBezTo>
                    <a:lnTo>
                      <a:pt x="41792" y="176286"/>
                    </a:lnTo>
                    <a:lnTo>
                      <a:pt x="41792" y="130025"/>
                    </a:lnTo>
                    <a:lnTo>
                      <a:pt x="89260" y="130025"/>
                    </a:lnTo>
                    <a:lnTo>
                      <a:pt x="89260" y="130085"/>
                    </a:lnTo>
                    <a:close/>
                  </a:path>
                </a:pathLst>
              </a:custGeom>
              <a:solidFill>
                <a:srgbClr val="FFFFFF"/>
              </a:solidFill>
              <a:ln w="59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609570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2400">
                  <a:solidFill>
                    <a:srgbClr val="2F446B"/>
                  </a:solidFill>
                  <a:latin typeface="Arial" charset="0"/>
                  <a:ea typeface="ＭＳ Ｐゴシック" charset="0"/>
                </a:endParaRPr>
              </a:p>
            </p:txBody>
          </p:sp>
          <p:grpSp>
            <p:nvGrpSpPr>
              <p:cNvPr id="92" name="Graphic 2">
                <a:extLst>
                  <a:ext uri="{FF2B5EF4-FFF2-40B4-BE49-F238E27FC236}">
                    <a16:creationId xmlns:a16="http://schemas.microsoft.com/office/drawing/2014/main" id="{0E2AD954-19C9-8846-A8C7-2F86E1E69B59}"/>
                  </a:ext>
                </a:extLst>
              </p:cNvPr>
              <p:cNvGrpSpPr/>
              <p:nvPr/>
            </p:nvGrpSpPr>
            <p:grpSpPr>
              <a:xfrm>
                <a:off x="10798335" y="582977"/>
                <a:ext cx="120785" cy="218017"/>
                <a:chOff x="10798335" y="582977"/>
                <a:chExt cx="120785" cy="218017"/>
              </a:xfrm>
              <a:solidFill>
                <a:srgbClr val="FFFFFF"/>
              </a:solidFill>
            </p:grpSpPr>
            <p:sp>
              <p:nvSpPr>
                <p:cNvPr id="98" name="Freeform: Shape 47">
                  <a:extLst>
                    <a:ext uri="{FF2B5EF4-FFF2-40B4-BE49-F238E27FC236}">
                      <a16:creationId xmlns:a16="http://schemas.microsoft.com/office/drawing/2014/main" id="{EA069974-D468-D547-AE3D-920245E025FA}"/>
                    </a:ext>
                  </a:extLst>
                </p:cNvPr>
                <p:cNvSpPr/>
                <p:nvPr/>
              </p:nvSpPr>
              <p:spPr>
                <a:xfrm>
                  <a:off x="10877449" y="583081"/>
                  <a:ext cx="41671" cy="218017"/>
                </a:xfrm>
                <a:custGeom>
                  <a:avLst/>
                  <a:gdLst>
                    <a:gd name="connsiteX0" fmla="*/ 0 w 41670"/>
                    <a:gd name="connsiteY0" fmla="*/ 197302 h 218016"/>
                    <a:gd name="connsiteX1" fmla="*/ 0 w 41670"/>
                    <a:gd name="connsiteY1" fmla="*/ 20956 h 218016"/>
                    <a:gd name="connsiteX2" fmla="*/ 20896 w 41670"/>
                    <a:gd name="connsiteY2" fmla="*/ 0 h 218016"/>
                    <a:gd name="connsiteX3" fmla="*/ 41792 w 41670"/>
                    <a:gd name="connsiteY3" fmla="*/ 20956 h 218016"/>
                    <a:gd name="connsiteX4" fmla="*/ 41792 w 41670"/>
                    <a:gd name="connsiteY4" fmla="*/ 197242 h 218016"/>
                    <a:gd name="connsiteX5" fmla="*/ 20896 w 41670"/>
                    <a:gd name="connsiteY5" fmla="*/ 218198 h 218016"/>
                    <a:gd name="connsiteX6" fmla="*/ 0 w 41670"/>
                    <a:gd name="connsiteY6" fmla="*/ 197302 h 21801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41670" h="218016">
                      <a:moveTo>
                        <a:pt x="0" y="197302"/>
                      </a:moveTo>
                      <a:lnTo>
                        <a:pt x="0" y="20956"/>
                      </a:lnTo>
                      <a:cubicBezTo>
                        <a:pt x="0" y="9421"/>
                        <a:pt x="9361" y="0"/>
                        <a:pt x="20896" y="0"/>
                      </a:cubicBezTo>
                      <a:cubicBezTo>
                        <a:pt x="32370" y="0"/>
                        <a:pt x="41792" y="9421"/>
                        <a:pt x="41792" y="20956"/>
                      </a:cubicBezTo>
                      <a:lnTo>
                        <a:pt x="41792" y="197242"/>
                      </a:lnTo>
                      <a:cubicBezTo>
                        <a:pt x="41792" y="208777"/>
                        <a:pt x="32431" y="218198"/>
                        <a:pt x="20896" y="218198"/>
                      </a:cubicBezTo>
                      <a:cubicBezTo>
                        <a:pt x="9421" y="218198"/>
                        <a:pt x="0" y="208777"/>
                        <a:pt x="0" y="197302"/>
                      </a:cubicBezTo>
                    </a:path>
                  </a:pathLst>
                </a:custGeom>
                <a:solidFill>
                  <a:srgbClr val="FFFFFF"/>
                </a:solidFill>
                <a:ln w="59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defTabSz="609570" fontAlgn="base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US" sz="2400">
                    <a:solidFill>
                      <a:srgbClr val="2F446B"/>
                    </a:solidFill>
                    <a:latin typeface="Arial" charset="0"/>
                    <a:ea typeface="ＭＳ Ｐゴシック" charset="0"/>
                  </a:endParaRPr>
                </a:p>
              </p:txBody>
            </p:sp>
            <p:sp>
              <p:nvSpPr>
                <p:cNvPr id="99" name="Freeform: Shape 48">
                  <a:extLst>
                    <a:ext uri="{FF2B5EF4-FFF2-40B4-BE49-F238E27FC236}">
                      <a16:creationId xmlns:a16="http://schemas.microsoft.com/office/drawing/2014/main" id="{1815998C-94E8-3E47-A902-BCDD15542E70}"/>
                    </a:ext>
                  </a:extLst>
                </p:cNvPr>
                <p:cNvSpPr/>
                <p:nvPr/>
              </p:nvSpPr>
              <p:spPr>
                <a:xfrm>
                  <a:off x="10798335" y="583081"/>
                  <a:ext cx="41671" cy="218017"/>
                </a:xfrm>
                <a:custGeom>
                  <a:avLst/>
                  <a:gdLst>
                    <a:gd name="connsiteX0" fmla="*/ 0 w 41670"/>
                    <a:gd name="connsiteY0" fmla="*/ 197302 h 218016"/>
                    <a:gd name="connsiteX1" fmla="*/ 0 w 41670"/>
                    <a:gd name="connsiteY1" fmla="*/ 20956 h 218016"/>
                    <a:gd name="connsiteX2" fmla="*/ 20896 w 41670"/>
                    <a:gd name="connsiteY2" fmla="*/ 0 h 218016"/>
                    <a:gd name="connsiteX3" fmla="*/ 41792 w 41670"/>
                    <a:gd name="connsiteY3" fmla="*/ 20956 h 218016"/>
                    <a:gd name="connsiteX4" fmla="*/ 41792 w 41670"/>
                    <a:gd name="connsiteY4" fmla="*/ 197242 h 218016"/>
                    <a:gd name="connsiteX5" fmla="*/ 20896 w 41670"/>
                    <a:gd name="connsiteY5" fmla="*/ 218198 h 218016"/>
                    <a:gd name="connsiteX6" fmla="*/ 0 w 41670"/>
                    <a:gd name="connsiteY6" fmla="*/ 197302 h 21801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41670" h="218016">
                      <a:moveTo>
                        <a:pt x="0" y="197302"/>
                      </a:moveTo>
                      <a:lnTo>
                        <a:pt x="0" y="20956"/>
                      </a:lnTo>
                      <a:cubicBezTo>
                        <a:pt x="0" y="9421"/>
                        <a:pt x="9361" y="0"/>
                        <a:pt x="20896" y="0"/>
                      </a:cubicBezTo>
                      <a:cubicBezTo>
                        <a:pt x="32431" y="0"/>
                        <a:pt x="41792" y="9421"/>
                        <a:pt x="41792" y="20956"/>
                      </a:cubicBezTo>
                      <a:lnTo>
                        <a:pt x="41792" y="197242"/>
                      </a:lnTo>
                      <a:cubicBezTo>
                        <a:pt x="41792" y="208777"/>
                        <a:pt x="32370" y="218198"/>
                        <a:pt x="20896" y="218198"/>
                      </a:cubicBezTo>
                      <a:cubicBezTo>
                        <a:pt x="9421" y="218198"/>
                        <a:pt x="0" y="208777"/>
                        <a:pt x="0" y="197302"/>
                      </a:cubicBezTo>
                    </a:path>
                  </a:pathLst>
                </a:custGeom>
                <a:solidFill>
                  <a:srgbClr val="FFFFFF"/>
                </a:solidFill>
                <a:ln w="59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defTabSz="609570" fontAlgn="base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US" sz="2400">
                    <a:solidFill>
                      <a:srgbClr val="2F446B"/>
                    </a:solidFill>
                    <a:latin typeface="Arial" charset="0"/>
                    <a:ea typeface="ＭＳ Ｐゴシック" charset="0"/>
                  </a:endParaRPr>
                </a:p>
              </p:txBody>
            </p:sp>
            <p:sp>
              <p:nvSpPr>
                <p:cNvPr id="100" name="Freeform: Shape 49">
                  <a:extLst>
                    <a:ext uri="{FF2B5EF4-FFF2-40B4-BE49-F238E27FC236}">
                      <a16:creationId xmlns:a16="http://schemas.microsoft.com/office/drawing/2014/main" id="{BD536981-F159-1145-9FE5-C6E24C3E1178}"/>
                    </a:ext>
                  </a:extLst>
                </p:cNvPr>
                <p:cNvSpPr/>
                <p:nvPr/>
              </p:nvSpPr>
              <p:spPr>
                <a:xfrm>
                  <a:off x="10798533" y="582977"/>
                  <a:ext cx="120181" cy="218017"/>
                </a:xfrm>
                <a:custGeom>
                  <a:avLst/>
                  <a:gdLst>
                    <a:gd name="connsiteX0" fmla="*/ 80728 w 120180"/>
                    <a:gd name="connsiteY0" fmla="*/ 205921 h 218016"/>
                    <a:gd name="connsiteX1" fmla="*/ 1735 w 120180"/>
                    <a:gd name="connsiteY1" fmla="*/ 29334 h 218016"/>
                    <a:gd name="connsiteX2" fmla="*/ 12545 w 120180"/>
                    <a:gd name="connsiteY2" fmla="*/ 1735 h 218016"/>
                    <a:gd name="connsiteX3" fmla="*/ 40023 w 120180"/>
                    <a:gd name="connsiteY3" fmla="*/ 12545 h 218016"/>
                    <a:gd name="connsiteX4" fmla="*/ 118896 w 120180"/>
                    <a:gd name="connsiteY4" fmla="*/ 188830 h 218016"/>
                    <a:gd name="connsiteX5" fmla="*/ 108327 w 120180"/>
                    <a:gd name="connsiteY5" fmla="*/ 216490 h 218016"/>
                    <a:gd name="connsiteX6" fmla="*/ 80728 w 120180"/>
                    <a:gd name="connsiteY6" fmla="*/ 205921 h 21801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120180" h="218016">
                      <a:moveTo>
                        <a:pt x="80728" y="205921"/>
                      </a:moveTo>
                      <a:lnTo>
                        <a:pt x="1735" y="29334"/>
                      </a:lnTo>
                      <a:cubicBezTo>
                        <a:pt x="-2855" y="18765"/>
                        <a:pt x="1976" y="6385"/>
                        <a:pt x="12545" y="1735"/>
                      </a:cubicBezTo>
                      <a:cubicBezTo>
                        <a:pt x="23053" y="-2855"/>
                        <a:pt x="35433" y="1976"/>
                        <a:pt x="40023" y="12545"/>
                      </a:cubicBezTo>
                      <a:lnTo>
                        <a:pt x="118896" y="188830"/>
                      </a:lnTo>
                      <a:cubicBezTo>
                        <a:pt x="123546" y="199339"/>
                        <a:pt x="118775" y="211779"/>
                        <a:pt x="108327" y="216490"/>
                      </a:cubicBezTo>
                      <a:cubicBezTo>
                        <a:pt x="97819" y="221201"/>
                        <a:pt x="85378" y="216430"/>
                        <a:pt x="80728" y="205921"/>
                      </a:cubicBezTo>
                    </a:path>
                  </a:pathLst>
                </a:custGeom>
                <a:solidFill>
                  <a:srgbClr val="FFFFFF"/>
                </a:solidFill>
                <a:ln w="59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defTabSz="609570" fontAlgn="base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US" sz="2400">
                    <a:solidFill>
                      <a:srgbClr val="2F446B"/>
                    </a:solidFill>
                    <a:latin typeface="Arial" charset="0"/>
                    <a:ea typeface="ＭＳ Ｐゴシック" charset="0"/>
                  </a:endParaRPr>
                </a:p>
              </p:txBody>
            </p:sp>
          </p:grpSp>
          <p:grpSp>
            <p:nvGrpSpPr>
              <p:cNvPr id="93" name="Graphic 2">
                <a:extLst>
                  <a:ext uri="{FF2B5EF4-FFF2-40B4-BE49-F238E27FC236}">
                    <a16:creationId xmlns:a16="http://schemas.microsoft.com/office/drawing/2014/main" id="{F144289D-EDBD-1245-B5D5-8F9B6D47B945}"/>
                  </a:ext>
                </a:extLst>
              </p:cNvPr>
              <p:cNvGrpSpPr/>
              <p:nvPr/>
            </p:nvGrpSpPr>
            <p:grpSpPr>
              <a:xfrm>
                <a:off x="11066262" y="583104"/>
                <a:ext cx="182385" cy="218017"/>
                <a:chOff x="11066262" y="583104"/>
                <a:chExt cx="182385" cy="218017"/>
              </a:xfrm>
              <a:solidFill>
                <a:srgbClr val="FFFFFF"/>
              </a:solidFill>
            </p:grpSpPr>
            <p:sp>
              <p:nvSpPr>
                <p:cNvPr id="94" name="Freeform: Shape 43">
                  <a:extLst>
                    <a:ext uri="{FF2B5EF4-FFF2-40B4-BE49-F238E27FC236}">
                      <a16:creationId xmlns:a16="http://schemas.microsoft.com/office/drawing/2014/main" id="{BC43E231-93B6-AF45-9698-EDBE585C76D3}"/>
                    </a:ext>
                  </a:extLst>
                </p:cNvPr>
                <p:cNvSpPr/>
                <p:nvPr/>
              </p:nvSpPr>
              <p:spPr>
                <a:xfrm>
                  <a:off x="11066262" y="583104"/>
                  <a:ext cx="76698" cy="218017"/>
                </a:xfrm>
                <a:custGeom>
                  <a:avLst/>
                  <a:gdLst>
                    <a:gd name="connsiteX0" fmla="*/ 35545 w 76698"/>
                    <a:gd name="connsiteY0" fmla="*/ 201325 h 218016"/>
                    <a:gd name="connsiteX1" fmla="*/ 397 w 76698"/>
                    <a:gd name="connsiteY1" fmla="*/ 25039 h 218016"/>
                    <a:gd name="connsiteX2" fmla="*/ 16884 w 76698"/>
                    <a:gd name="connsiteY2" fmla="*/ 399 h 218016"/>
                    <a:gd name="connsiteX3" fmla="*/ 41524 w 76698"/>
                    <a:gd name="connsiteY3" fmla="*/ 16886 h 218016"/>
                    <a:gd name="connsiteX4" fmla="*/ 76612 w 76698"/>
                    <a:gd name="connsiteY4" fmla="*/ 193172 h 218016"/>
                    <a:gd name="connsiteX5" fmla="*/ 60125 w 76698"/>
                    <a:gd name="connsiteY5" fmla="*/ 217812 h 218016"/>
                    <a:gd name="connsiteX6" fmla="*/ 35545 w 76698"/>
                    <a:gd name="connsiteY6" fmla="*/ 201325 h 21801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6698" h="218016">
                      <a:moveTo>
                        <a:pt x="35545" y="201325"/>
                      </a:moveTo>
                      <a:lnTo>
                        <a:pt x="397" y="25039"/>
                      </a:lnTo>
                      <a:cubicBezTo>
                        <a:pt x="-1838" y="13746"/>
                        <a:pt x="5591" y="2634"/>
                        <a:pt x="16884" y="399"/>
                      </a:cubicBezTo>
                      <a:cubicBezTo>
                        <a:pt x="28178" y="-1835"/>
                        <a:pt x="39290" y="5533"/>
                        <a:pt x="41524" y="16886"/>
                      </a:cubicBezTo>
                      <a:lnTo>
                        <a:pt x="76612" y="193172"/>
                      </a:lnTo>
                      <a:cubicBezTo>
                        <a:pt x="78847" y="204465"/>
                        <a:pt x="71418" y="215578"/>
                        <a:pt x="60125" y="217812"/>
                      </a:cubicBezTo>
                      <a:cubicBezTo>
                        <a:pt x="48832" y="220047"/>
                        <a:pt x="37780" y="212618"/>
                        <a:pt x="35545" y="201325"/>
                      </a:cubicBezTo>
                    </a:path>
                  </a:pathLst>
                </a:custGeom>
                <a:solidFill>
                  <a:srgbClr val="FFFFFF"/>
                </a:solidFill>
                <a:ln w="59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defTabSz="609570" fontAlgn="base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US" sz="2400">
                    <a:solidFill>
                      <a:srgbClr val="2F446B"/>
                    </a:solidFill>
                    <a:latin typeface="Arial" charset="0"/>
                    <a:ea typeface="ＭＳ Ｐゴシック" charset="0"/>
                  </a:endParaRPr>
                </a:p>
              </p:txBody>
            </p:sp>
            <p:sp>
              <p:nvSpPr>
                <p:cNvPr id="95" name="Freeform: Shape 44">
                  <a:extLst>
                    <a:ext uri="{FF2B5EF4-FFF2-40B4-BE49-F238E27FC236}">
                      <a16:creationId xmlns:a16="http://schemas.microsoft.com/office/drawing/2014/main" id="{3A9B2AA8-B943-B340-88E2-C437255E98DB}"/>
                    </a:ext>
                  </a:extLst>
                </p:cNvPr>
                <p:cNvSpPr/>
                <p:nvPr/>
              </p:nvSpPr>
              <p:spPr>
                <a:xfrm>
                  <a:off x="11101408" y="583104"/>
                  <a:ext cx="76698" cy="218017"/>
                </a:xfrm>
                <a:custGeom>
                  <a:avLst/>
                  <a:gdLst>
                    <a:gd name="connsiteX0" fmla="*/ 41466 w 76698"/>
                    <a:gd name="connsiteY0" fmla="*/ 201325 h 218016"/>
                    <a:gd name="connsiteX1" fmla="*/ 76615 w 76698"/>
                    <a:gd name="connsiteY1" fmla="*/ 25039 h 218016"/>
                    <a:gd name="connsiteX2" fmla="*/ 60128 w 76698"/>
                    <a:gd name="connsiteY2" fmla="*/ 399 h 218016"/>
                    <a:gd name="connsiteX3" fmla="*/ 35487 w 76698"/>
                    <a:gd name="connsiteY3" fmla="*/ 16886 h 218016"/>
                    <a:gd name="connsiteX4" fmla="*/ 399 w 76698"/>
                    <a:gd name="connsiteY4" fmla="*/ 193172 h 218016"/>
                    <a:gd name="connsiteX5" fmla="*/ 16826 w 76698"/>
                    <a:gd name="connsiteY5" fmla="*/ 217812 h 218016"/>
                    <a:gd name="connsiteX6" fmla="*/ 41466 w 76698"/>
                    <a:gd name="connsiteY6" fmla="*/ 201325 h 21801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6698" h="218016">
                      <a:moveTo>
                        <a:pt x="41466" y="201325"/>
                      </a:moveTo>
                      <a:lnTo>
                        <a:pt x="76615" y="25039"/>
                      </a:lnTo>
                      <a:cubicBezTo>
                        <a:pt x="78849" y="13746"/>
                        <a:pt x="71421" y="2634"/>
                        <a:pt x="60128" y="399"/>
                      </a:cubicBezTo>
                      <a:cubicBezTo>
                        <a:pt x="48834" y="-1835"/>
                        <a:pt x="37782" y="5533"/>
                        <a:pt x="35487" y="16886"/>
                      </a:cubicBezTo>
                      <a:lnTo>
                        <a:pt x="399" y="193172"/>
                      </a:lnTo>
                      <a:cubicBezTo>
                        <a:pt x="-1835" y="204465"/>
                        <a:pt x="5533" y="215578"/>
                        <a:pt x="16826" y="217812"/>
                      </a:cubicBezTo>
                      <a:cubicBezTo>
                        <a:pt x="28120" y="220047"/>
                        <a:pt x="39232" y="212618"/>
                        <a:pt x="41466" y="201325"/>
                      </a:cubicBezTo>
                    </a:path>
                  </a:pathLst>
                </a:custGeom>
                <a:solidFill>
                  <a:srgbClr val="FFFFFF"/>
                </a:solidFill>
                <a:ln w="59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defTabSz="609570" fontAlgn="base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US" sz="2400">
                    <a:solidFill>
                      <a:srgbClr val="2F446B"/>
                    </a:solidFill>
                    <a:latin typeface="Arial" charset="0"/>
                    <a:ea typeface="ＭＳ Ｐゴシック" charset="0"/>
                  </a:endParaRPr>
                </a:p>
              </p:txBody>
            </p:sp>
            <p:sp>
              <p:nvSpPr>
                <p:cNvPr id="96" name="Freeform: Shape 45">
                  <a:extLst>
                    <a:ext uri="{FF2B5EF4-FFF2-40B4-BE49-F238E27FC236}">
                      <a16:creationId xmlns:a16="http://schemas.microsoft.com/office/drawing/2014/main" id="{939182E2-A211-0F46-8CBC-AFB2925FE86F}"/>
                    </a:ext>
                  </a:extLst>
                </p:cNvPr>
                <p:cNvSpPr/>
                <p:nvPr/>
              </p:nvSpPr>
              <p:spPr>
                <a:xfrm>
                  <a:off x="11136438" y="583104"/>
                  <a:ext cx="76698" cy="218017"/>
                </a:xfrm>
                <a:custGeom>
                  <a:avLst/>
                  <a:gdLst>
                    <a:gd name="connsiteX0" fmla="*/ 35545 w 76698"/>
                    <a:gd name="connsiteY0" fmla="*/ 201325 h 218016"/>
                    <a:gd name="connsiteX1" fmla="*/ 397 w 76698"/>
                    <a:gd name="connsiteY1" fmla="*/ 25039 h 218016"/>
                    <a:gd name="connsiteX2" fmla="*/ 16884 w 76698"/>
                    <a:gd name="connsiteY2" fmla="*/ 399 h 218016"/>
                    <a:gd name="connsiteX3" fmla="*/ 41524 w 76698"/>
                    <a:gd name="connsiteY3" fmla="*/ 16886 h 218016"/>
                    <a:gd name="connsiteX4" fmla="*/ 76673 w 76698"/>
                    <a:gd name="connsiteY4" fmla="*/ 193172 h 218016"/>
                    <a:gd name="connsiteX5" fmla="*/ 60185 w 76698"/>
                    <a:gd name="connsiteY5" fmla="*/ 217812 h 218016"/>
                    <a:gd name="connsiteX6" fmla="*/ 35545 w 76698"/>
                    <a:gd name="connsiteY6" fmla="*/ 201325 h 21801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6698" h="218016">
                      <a:moveTo>
                        <a:pt x="35545" y="201325"/>
                      </a:moveTo>
                      <a:lnTo>
                        <a:pt x="397" y="25039"/>
                      </a:lnTo>
                      <a:cubicBezTo>
                        <a:pt x="-1838" y="13746"/>
                        <a:pt x="5591" y="2634"/>
                        <a:pt x="16884" y="399"/>
                      </a:cubicBezTo>
                      <a:cubicBezTo>
                        <a:pt x="28178" y="-1835"/>
                        <a:pt x="39229" y="5533"/>
                        <a:pt x="41524" y="16886"/>
                      </a:cubicBezTo>
                      <a:lnTo>
                        <a:pt x="76673" y="193172"/>
                      </a:lnTo>
                      <a:cubicBezTo>
                        <a:pt x="78907" y="204465"/>
                        <a:pt x="71479" y="215578"/>
                        <a:pt x="60185" y="217812"/>
                      </a:cubicBezTo>
                      <a:cubicBezTo>
                        <a:pt x="48892" y="220047"/>
                        <a:pt x="37780" y="212618"/>
                        <a:pt x="35545" y="201325"/>
                      </a:cubicBezTo>
                    </a:path>
                  </a:pathLst>
                </a:custGeom>
                <a:solidFill>
                  <a:srgbClr val="FFFFFF"/>
                </a:solidFill>
                <a:ln w="59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defTabSz="609570" fontAlgn="base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US" sz="2400">
                    <a:solidFill>
                      <a:srgbClr val="2F446B"/>
                    </a:solidFill>
                    <a:latin typeface="Arial" charset="0"/>
                    <a:ea typeface="ＭＳ Ｐゴシック" charset="0"/>
                  </a:endParaRPr>
                </a:p>
              </p:txBody>
            </p:sp>
            <p:sp>
              <p:nvSpPr>
                <p:cNvPr id="97" name="Freeform: Shape 46">
                  <a:extLst>
                    <a:ext uri="{FF2B5EF4-FFF2-40B4-BE49-F238E27FC236}">
                      <a16:creationId xmlns:a16="http://schemas.microsoft.com/office/drawing/2014/main" id="{A6FFEF79-4D78-A04B-9C05-58C3DE9E3F21}"/>
                    </a:ext>
                  </a:extLst>
                </p:cNvPr>
                <p:cNvSpPr/>
                <p:nvPr/>
              </p:nvSpPr>
              <p:spPr>
                <a:xfrm>
                  <a:off x="11171584" y="583104"/>
                  <a:ext cx="76698" cy="218017"/>
                </a:xfrm>
                <a:custGeom>
                  <a:avLst/>
                  <a:gdLst>
                    <a:gd name="connsiteX0" fmla="*/ 41527 w 76698"/>
                    <a:gd name="connsiteY0" fmla="*/ 201325 h 218016"/>
                    <a:gd name="connsiteX1" fmla="*/ 76675 w 76698"/>
                    <a:gd name="connsiteY1" fmla="*/ 25039 h 218016"/>
                    <a:gd name="connsiteX2" fmla="*/ 60188 w 76698"/>
                    <a:gd name="connsiteY2" fmla="*/ 399 h 218016"/>
                    <a:gd name="connsiteX3" fmla="*/ 35548 w 76698"/>
                    <a:gd name="connsiteY3" fmla="*/ 16886 h 218016"/>
                    <a:gd name="connsiteX4" fmla="*/ 399 w 76698"/>
                    <a:gd name="connsiteY4" fmla="*/ 193172 h 218016"/>
                    <a:gd name="connsiteX5" fmla="*/ 16886 w 76698"/>
                    <a:gd name="connsiteY5" fmla="*/ 217812 h 218016"/>
                    <a:gd name="connsiteX6" fmla="*/ 41527 w 76698"/>
                    <a:gd name="connsiteY6" fmla="*/ 201325 h 21801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76698" h="218016">
                      <a:moveTo>
                        <a:pt x="41527" y="201325"/>
                      </a:moveTo>
                      <a:lnTo>
                        <a:pt x="76675" y="25039"/>
                      </a:lnTo>
                      <a:cubicBezTo>
                        <a:pt x="78909" y="13746"/>
                        <a:pt x="71481" y="2634"/>
                        <a:pt x="60188" y="399"/>
                      </a:cubicBezTo>
                      <a:cubicBezTo>
                        <a:pt x="48894" y="-1835"/>
                        <a:pt x="37782" y="5533"/>
                        <a:pt x="35548" y="16886"/>
                      </a:cubicBezTo>
                      <a:lnTo>
                        <a:pt x="399" y="193172"/>
                      </a:lnTo>
                      <a:cubicBezTo>
                        <a:pt x="-1835" y="204465"/>
                        <a:pt x="5533" y="215578"/>
                        <a:pt x="16886" y="217812"/>
                      </a:cubicBezTo>
                      <a:cubicBezTo>
                        <a:pt x="28180" y="220047"/>
                        <a:pt x="39292" y="212618"/>
                        <a:pt x="41527" y="201325"/>
                      </a:cubicBezTo>
                    </a:path>
                  </a:pathLst>
                </a:custGeom>
                <a:solidFill>
                  <a:srgbClr val="FFFFFF"/>
                </a:solidFill>
                <a:ln w="59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defTabSz="609570" fontAlgn="base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US" sz="2400">
                    <a:solidFill>
                      <a:srgbClr val="2F446B"/>
                    </a:solidFill>
                    <a:latin typeface="Arial" charset="0"/>
                    <a:ea typeface="ＭＳ Ｐゴシック" charset="0"/>
                  </a:endParaRPr>
                </a:p>
              </p:txBody>
            </p:sp>
          </p:grpSp>
        </p:grpSp>
      </p:grpSp>
      <p:sp>
        <p:nvSpPr>
          <p:cNvPr id="6" name="TextBox 5">
            <a:extLst>
              <a:ext uri="{FF2B5EF4-FFF2-40B4-BE49-F238E27FC236}">
                <a16:creationId xmlns:a16="http://schemas.microsoft.com/office/drawing/2014/main" id="{9B19E763-5709-4447-A7A3-AF1C20F2C510}"/>
              </a:ext>
            </a:extLst>
          </p:cNvPr>
          <p:cNvSpPr txBox="1"/>
          <p:nvPr/>
        </p:nvSpPr>
        <p:spPr>
          <a:xfrm>
            <a:off x="8037409" y="1987209"/>
            <a:ext cx="1219200" cy="377499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defTabSz="609570" fontAlgn="base">
              <a:lnSpc>
                <a:spcPct val="110000"/>
              </a:lnSpc>
              <a:spcBef>
                <a:spcPct val="0"/>
              </a:spcBef>
              <a:spcAft>
                <a:spcPts val="1600"/>
              </a:spcAft>
              <a:defRPr/>
            </a:pPr>
            <a:r>
              <a:rPr lang="en-US" sz="1600" b="1">
                <a:solidFill>
                  <a:srgbClr val="FFFFFF"/>
                </a:solidFill>
                <a:latin typeface="CiscoSansTT" panose="020B0503020201020303" pitchFamily="34" charset="0"/>
                <a:ea typeface="ＭＳ Ｐゴシック" charset="0"/>
                <a:cs typeface="CiscoSansTT" panose="020B0503020201020303" pitchFamily="34" charset="0"/>
              </a:rPr>
              <a:t>Add-Ons</a:t>
            </a:r>
            <a:r>
              <a:rPr lang="en-US" sz="1600">
                <a:solidFill>
                  <a:srgbClr val="FFFFFF"/>
                </a:solidFill>
                <a:latin typeface="CiscoSansTT Light"/>
                <a:ea typeface="ＭＳ Ｐゴシック" charset="0"/>
                <a:cs typeface="CiscoSansTT Light" panose="020B0503020201020303" pitchFamily="34" charset="0"/>
              </a:rPr>
              <a:t> </a:t>
            </a:r>
            <a:r>
              <a:rPr lang="en-US" sz="1467">
                <a:solidFill>
                  <a:srgbClr val="FFFFFF"/>
                </a:solidFill>
                <a:latin typeface="CiscoSansTT Light"/>
                <a:ea typeface="ＭＳ Ｐゴシック" charset="0"/>
                <a:cs typeface="CiscoSansTT Light" panose="020B0503020201020303" pitchFamily="34" charset="0"/>
              </a:rPr>
              <a:t>    </a:t>
            </a:r>
            <a:endParaRPr lang="en-US" sz="1467">
              <a:solidFill>
                <a:srgbClr val="2F446B"/>
              </a:solidFill>
              <a:latin typeface="CiscoSansTT ExtraLight"/>
              <a:ea typeface="ＭＳ Ｐゴシック" charset="0"/>
            </a:endParaRPr>
          </a:p>
        </p:txBody>
      </p:sp>
      <p:sp>
        <p:nvSpPr>
          <p:cNvPr id="87" name="TextBox 1">
            <a:extLst>
              <a:ext uri="{FF2B5EF4-FFF2-40B4-BE49-F238E27FC236}">
                <a16:creationId xmlns:a16="http://schemas.microsoft.com/office/drawing/2014/main" id="{9213EED7-DC73-D847-AEC4-2387E1DC5F66}"/>
              </a:ext>
            </a:extLst>
          </p:cNvPr>
          <p:cNvSpPr txBox="1"/>
          <p:nvPr/>
        </p:nvSpPr>
        <p:spPr>
          <a:xfrm>
            <a:off x="8065651" y="2281689"/>
            <a:ext cx="4573264" cy="314036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defTabSz="812740" fontAlgn="base">
              <a:lnSpc>
                <a:spcPct val="110000"/>
              </a:lnSpc>
              <a:spcBef>
                <a:spcPct val="0"/>
              </a:spcBef>
              <a:spcAft>
                <a:spcPts val="2133"/>
              </a:spcAft>
              <a:buClrTx/>
              <a:defRPr/>
            </a:pPr>
            <a:r>
              <a:rPr lang="en-US">
                <a:solidFill>
                  <a:srgbClr val="FFFFFF"/>
                </a:solidFill>
                <a:latin typeface="CiscoSansTT ExtraLight"/>
                <a:ea typeface="ＭＳ Ｐゴシック" charset="0"/>
              </a:rPr>
              <a:t>from Cisco and CX Specialized Partners</a:t>
            </a:r>
          </a:p>
        </p:txBody>
      </p:sp>
    </p:spTree>
    <p:extLst>
      <p:ext uri="{BB962C8B-B14F-4D97-AF65-F5344CB8AC3E}">
        <p14:creationId xmlns:p14="http://schemas.microsoft.com/office/powerpoint/2010/main" val="295259864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oy_D0d1j0VjYBQVZ3Wi0A"/>
</p:tagLst>
</file>

<file path=ppt/theme/theme1.xml><?xml version="1.0" encoding="utf-8"?>
<a:theme xmlns:a="http://schemas.openxmlformats.org/drawingml/2006/main" name="Cisco CX Template_16x9_March Apparent">
  <a:themeElements>
    <a:clrScheme name="CX Template Oct 2019">
      <a:dk1>
        <a:srgbClr val="2F446B"/>
      </a:dk1>
      <a:lt1>
        <a:srgbClr val="FFFFFF"/>
      </a:lt1>
      <a:dk2>
        <a:srgbClr val="14284A"/>
      </a:dk2>
      <a:lt2>
        <a:srgbClr val="FFFFFF"/>
      </a:lt2>
      <a:accent1>
        <a:srgbClr val="00BCEB"/>
      </a:accent1>
      <a:accent2>
        <a:srgbClr val="6EBE4A"/>
      </a:accent2>
      <a:accent3>
        <a:srgbClr val="2F446B"/>
      </a:accent3>
      <a:accent4>
        <a:srgbClr val="142849"/>
      </a:accent4>
      <a:accent5>
        <a:srgbClr val="FBAB18"/>
      </a:accent5>
      <a:accent6>
        <a:srgbClr val="EDF1F6"/>
      </a:accent6>
      <a:hlink>
        <a:srgbClr val="00BCEB"/>
      </a:hlink>
      <a:folHlink>
        <a:srgbClr val="2F446B"/>
      </a:folHlink>
    </a:clrScheme>
    <a:fontScheme name="CiscoSans ExtraLight">
      <a:majorFont>
        <a:latin typeface="CiscoSansTT ExtraLight"/>
        <a:ea typeface=""/>
        <a:cs typeface=""/>
      </a:majorFont>
      <a:minorFont>
        <a:latin typeface="CiscoSansTT Extra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spcAft>
            <a:spcPts val="600"/>
          </a:spcAft>
          <a:defRPr sz="11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 cap="rnd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 algn="l">
          <a:lnSpc>
            <a:spcPct val="110000"/>
          </a:lnSpc>
          <a:spcAft>
            <a:spcPts val="1200"/>
          </a:spcAft>
          <a:defRPr sz="1100" dirty="0" err="1" smtClean="0">
            <a:solidFill>
              <a:schemeClr val="tx1"/>
            </a:solidFill>
            <a:latin typeface="+mn-lt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Cisco_Customer_Experience_Template_June_2019 v.2" id="{67EEC87D-99A1-C94D-8139-7B5529EF37A3}" vid="{611C52A7-F72E-FD41-8BD4-79571D342F77}"/>
    </a:ext>
  </a:extLst>
</a:theme>
</file>

<file path=ppt/theme/theme2.xml><?xml version="1.0" encoding="utf-8"?>
<a:theme xmlns:a="http://schemas.openxmlformats.org/drawingml/2006/main" name="1_Cisco CX Template_16x9_March Apparent">
  <a:themeElements>
    <a:clrScheme name="CX Template Oct 2019">
      <a:dk1>
        <a:srgbClr val="2F446B"/>
      </a:dk1>
      <a:lt1>
        <a:srgbClr val="FFFFFF"/>
      </a:lt1>
      <a:dk2>
        <a:srgbClr val="14284A"/>
      </a:dk2>
      <a:lt2>
        <a:srgbClr val="FFFFFF"/>
      </a:lt2>
      <a:accent1>
        <a:srgbClr val="00BCEB"/>
      </a:accent1>
      <a:accent2>
        <a:srgbClr val="6EBE4A"/>
      </a:accent2>
      <a:accent3>
        <a:srgbClr val="2F446B"/>
      </a:accent3>
      <a:accent4>
        <a:srgbClr val="142849"/>
      </a:accent4>
      <a:accent5>
        <a:srgbClr val="FBAB18"/>
      </a:accent5>
      <a:accent6>
        <a:srgbClr val="EDF1F6"/>
      </a:accent6>
      <a:hlink>
        <a:srgbClr val="00BCEB"/>
      </a:hlink>
      <a:folHlink>
        <a:srgbClr val="2F446B"/>
      </a:folHlink>
    </a:clrScheme>
    <a:fontScheme name="CiscoSans ExtraLight">
      <a:majorFont>
        <a:latin typeface="CiscoSansTT ExtraLight"/>
        <a:ea typeface=""/>
        <a:cs typeface=""/>
      </a:majorFont>
      <a:minorFont>
        <a:latin typeface="CiscoSansTT Extra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spcAft>
            <a:spcPts val="600"/>
          </a:spcAft>
          <a:defRPr sz="11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 cap="rnd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 algn="l">
          <a:lnSpc>
            <a:spcPct val="110000"/>
          </a:lnSpc>
          <a:spcAft>
            <a:spcPts val="1200"/>
          </a:spcAft>
          <a:defRPr sz="1100" dirty="0" err="1" smtClean="0">
            <a:solidFill>
              <a:schemeClr val="tx1"/>
            </a:solidFill>
            <a:latin typeface="+mn-lt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Cisco_Customer_Experience_Template_June_2019 v.2" id="{67EEC87D-99A1-C94D-8139-7B5529EF37A3}" vid="{611C52A7-F72E-FD41-8BD4-79571D342F77}"/>
    </a:ext>
  </a:extLst>
</a:theme>
</file>

<file path=ppt/theme/theme3.xml><?xml version="1.0" encoding="utf-8"?>
<a:theme xmlns:a="http://schemas.openxmlformats.org/drawingml/2006/main" name="7_Blue theme 2015 16x9">
  <a:themeElements>
    <a:clrScheme name="CX Template Oct 2019">
      <a:dk1>
        <a:srgbClr val="2F446B"/>
      </a:dk1>
      <a:lt1>
        <a:srgbClr val="FFFFFF"/>
      </a:lt1>
      <a:dk2>
        <a:srgbClr val="14284A"/>
      </a:dk2>
      <a:lt2>
        <a:srgbClr val="FFFFFF"/>
      </a:lt2>
      <a:accent1>
        <a:srgbClr val="00BCEB"/>
      </a:accent1>
      <a:accent2>
        <a:srgbClr val="6EBE4A"/>
      </a:accent2>
      <a:accent3>
        <a:srgbClr val="2F446B"/>
      </a:accent3>
      <a:accent4>
        <a:srgbClr val="142849"/>
      </a:accent4>
      <a:accent5>
        <a:srgbClr val="FBAB18"/>
      </a:accent5>
      <a:accent6>
        <a:srgbClr val="EDF1F6"/>
      </a:accent6>
      <a:hlink>
        <a:srgbClr val="00BCEB"/>
      </a:hlink>
      <a:folHlink>
        <a:srgbClr val="2F446B"/>
      </a:folHlink>
    </a:clrScheme>
    <a:fontScheme name="CiscoSans TT ExtraLight">
      <a:majorFont>
        <a:latin typeface="CiscoSansTT ExtraLight"/>
        <a:ea typeface=""/>
        <a:cs typeface=""/>
      </a:majorFont>
      <a:minorFont>
        <a:latin typeface="CiscoSansTT Extra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>
        <a:noFill/>
      </a:spPr>
      <a:bodyPr wrap="square" lIns="0" tIns="0" rIns="0" bIns="0" rtlCol="0">
        <a:noAutofit/>
      </a:bodyPr>
      <a:lstStyle>
        <a:defPPr algn="l">
          <a:defRPr sz="1100" dirty="0" err="1" smtClean="0">
            <a:solidFill>
              <a:schemeClr val="tx1"/>
            </a:solidFill>
            <a:latin typeface="+mn-lt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Cisco_Customer_Experience_Template_June_2019 v.2" id="{67EEC87D-99A1-C94D-8139-7B5529EF37A3}" vid="{611C52A7-F72E-FD41-8BD4-79571D342F77}"/>
    </a:ext>
  </a:extLst>
</a:theme>
</file>

<file path=ppt/theme/theme4.xml><?xml version="1.0" encoding="utf-8"?>
<a:theme xmlns:a="http://schemas.openxmlformats.org/drawingml/2006/main" name="2_Cisco CX Template_16x9_March Apparent">
  <a:themeElements>
    <a:clrScheme name="CX Template Oct 2019">
      <a:dk1>
        <a:srgbClr val="2F446B"/>
      </a:dk1>
      <a:lt1>
        <a:srgbClr val="FFFFFF"/>
      </a:lt1>
      <a:dk2>
        <a:srgbClr val="14284A"/>
      </a:dk2>
      <a:lt2>
        <a:srgbClr val="FFFFFF"/>
      </a:lt2>
      <a:accent1>
        <a:srgbClr val="00BCEB"/>
      </a:accent1>
      <a:accent2>
        <a:srgbClr val="6EBE4A"/>
      </a:accent2>
      <a:accent3>
        <a:srgbClr val="2F446B"/>
      </a:accent3>
      <a:accent4>
        <a:srgbClr val="142849"/>
      </a:accent4>
      <a:accent5>
        <a:srgbClr val="FBAB18"/>
      </a:accent5>
      <a:accent6>
        <a:srgbClr val="EDF1F6"/>
      </a:accent6>
      <a:hlink>
        <a:srgbClr val="00BCEB"/>
      </a:hlink>
      <a:folHlink>
        <a:srgbClr val="2F446B"/>
      </a:folHlink>
    </a:clrScheme>
    <a:fontScheme name="CiscoSans ExtraLight">
      <a:majorFont>
        <a:latin typeface="CiscoSansTT ExtraLight"/>
        <a:ea typeface=""/>
        <a:cs typeface=""/>
      </a:majorFont>
      <a:minorFont>
        <a:latin typeface="CiscoSansTT Extra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spcAft>
            <a:spcPts val="600"/>
          </a:spcAft>
          <a:defRPr sz="11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 cap="rnd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 algn="l">
          <a:lnSpc>
            <a:spcPct val="110000"/>
          </a:lnSpc>
          <a:spcAft>
            <a:spcPts val="1200"/>
          </a:spcAft>
          <a:defRPr sz="1100" dirty="0" err="1" smtClean="0">
            <a:solidFill>
              <a:schemeClr val="bg2"/>
            </a:solidFill>
            <a:latin typeface="+mn-lt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Cisco_Customer_Experience_Template_June_2019 v.2" id="{67EEC87D-99A1-C94D-8139-7B5529EF37A3}" vid="{611C52A7-F72E-FD41-8BD4-79571D342F77}"/>
    </a:ext>
  </a:extLst>
</a:theme>
</file>

<file path=ppt/theme/theme5.xml><?xml version="1.0" encoding="utf-8"?>
<a:theme xmlns:a="http://schemas.openxmlformats.org/drawingml/2006/main" name="9_Blue theme 2015 16x9">
  <a:themeElements>
    <a:clrScheme name="Cisco White Template Colors_FINAL">
      <a:dk1>
        <a:srgbClr val="282828"/>
      </a:dk1>
      <a:lt1>
        <a:srgbClr val="005073"/>
      </a:lt1>
      <a:dk2>
        <a:srgbClr val="005073"/>
      </a:dk2>
      <a:lt2>
        <a:srgbClr val="FFFFFF"/>
      </a:lt2>
      <a:accent1>
        <a:srgbClr val="00BCEB"/>
      </a:accent1>
      <a:accent2>
        <a:srgbClr val="6EBE4A"/>
      </a:accent2>
      <a:accent3>
        <a:srgbClr val="005073"/>
      </a:accent3>
      <a:accent4>
        <a:srgbClr val="676767"/>
      </a:accent4>
      <a:accent5>
        <a:srgbClr val="FBAB18"/>
      </a:accent5>
      <a:accent6>
        <a:srgbClr val="E3241B"/>
      </a:accent6>
      <a:hlink>
        <a:srgbClr val="00BCEB"/>
      </a:hlink>
      <a:folHlink>
        <a:srgbClr val="005073"/>
      </a:folHlink>
    </a:clrScheme>
    <a:fontScheme name="CiscoSans True Type">
      <a:majorFont>
        <a:latin typeface="CiscoSansTT ExtraLight"/>
        <a:ea typeface=""/>
        <a:cs typeface=""/>
      </a:majorFont>
      <a:minorFont>
        <a:latin typeface="CiscoSansTT Extra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tlCol="0" anchor="ctr"/>
      <a:lstStyle>
        <a:defPPr algn="ctr"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rtlCol="0">
        <a:spAutoFit/>
      </a:bodyPr>
      <a:lstStyle>
        <a:defPPr>
          <a:defRPr dirty="0" smtClean="0">
            <a:latin typeface="+mn-lt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Cisco Corporate Template Prototype_Aug_2017" id="{4E692306-BB5E-4389-8512-B70B45577D04}" vid="{BDAD62F5-9CDD-42BF-A677-E02F4F07310C}"/>
    </a:ext>
  </a:extLst>
</a:theme>
</file>

<file path=ppt/theme/theme6.xml><?xml version="1.0" encoding="utf-8"?>
<a:theme xmlns:a="http://schemas.openxmlformats.org/drawingml/2006/main" name="3_Cisco CX Template_16x9_March Apparent">
  <a:themeElements>
    <a:clrScheme name="CX Template Oct 2019">
      <a:dk1>
        <a:srgbClr val="2F446B"/>
      </a:dk1>
      <a:lt1>
        <a:srgbClr val="FFFFFF"/>
      </a:lt1>
      <a:dk2>
        <a:srgbClr val="14284A"/>
      </a:dk2>
      <a:lt2>
        <a:srgbClr val="FFFFFF"/>
      </a:lt2>
      <a:accent1>
        <a:srgbClr val="00BCEB"/>
      </a:accent1>
      <a:accent2>
        <a:srgbClr val="6EBE4A"/>
      </a:accent2>
      <a:accent3>
        <a:srgbClr val="2F446B"/>
      </a:accent3>
      <a:accent4>
        <a:srgbClr val="142849"/>
      </a:accent4>
      <a:accent5>
        <a:srgbClr val="FBAB18"/>
      </a:accent5>
      <a:accent6>
        <a:srgbClr val="EDF1F6"/>
      </a:accent6>
      <a:hlink>
        <a:srgbClr val="00BCEB"/>
      </a:hlink>
      <a:folHlink>
        <a:srgbClr val="2F446B"/>
      </a:folHlink>
    </a:clrScheme>
    <a:fontScheme name="CiscoSans ExtraLight">
      <a:majorFont>
        <a:latin typeface="CiscoSansTT ExtraLight"/>
        <a:ea typeface=""/>
        <a:cs typeface=""/>
      </a:majorFont>
      <a:minorFont>
        <a:latin typeface="CiscoSansTT Extra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spcAft>
            <a:spcPts val="600"/>
          </a:spcAft>
          <a:defRPr sz="11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 cap="rnd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 algn="l">
          <a:lnSpc>
            <a:spcPct val="110000"/>
          </a:lnSpc>
          <a:spcAft>
            <a:spcPts val="1200"/>
          </a:spcAft>
          <a:defRPr sz="1100" dirty="0" err="1" smtClean="0">
            <a:solidFill>
              <a:schemeClr val="bg2"/>
            </a:solidFill>
            <a:latin typeface="+mn-lt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Cisco_Customer_Experience_Template_June_2019 v.2" id="{67EEC87D-99A1-C94D-8139-7B5529EF37A3}" vid="{611C52A7-F72E-FD41-8BD4-79571D342F77}"/>
    </a:ext>
  </a:extLst>
</a:theme>
</file>

<file path=ppt/theme/theme7.xml><?xml version="1.0" encoding="utf-8"?>
<a:theme xmlns:a="http://schemas.openxmlformats.org/drawingml/2006/main" name="Blue theme 2015 16x9">
  <a:themeElements>
    <a:clrScheme name="Cisco White Template Colors_FINAL">
      <a:dk1>
        <a:srgbClr val="282828"/>
      </a:dk1>
      <a:lt1>
        <a:srgbClr val="005073"/>
      </a:lt1>
      <a:dk2>
        <a:srgbClr val="005073"/>
      </a:dk2>
      <a:lt2>
        <a:srgbClr val="FFFFFF"/>
      </a:lt2>
      <a:accent1>
        <a:srgbClr val="00BCEB"/>
      </a:accent1>
      <a:accent2>
        <a:srgbClr val="6EBE4A"/>
      </a:accent2>
      <a:accent3>
        <a:srgbClr val="005073"/>
      </a:accent3>
      <a:accent4>
        <a:srgbClr val="676767"/>
      </a:accent4>
      <a:accent5>
        <a:srgbClr val="FBAB18"/>
      </a:accent5>
      <a:accent6>
        <a:srgbClr val="E3241B"/>
      </a:accent6>
      <a:hlink>
        <a:srgbClr val="00BCEB"/>
      </a:hlink>
      <a:folHlink>
        <a:srgbClr val="005073"/>
      </a:folHlink>
    </a:clrScheme>
    <a:fontScheme name="CiscoSans True Type">
      <a:majorFont>
        <a:latin typeface="CiscoSansTT ExtraLight"/>
        <a:ea typeface=""/>
        <a:cs typeface=""/>
      </a:majorFont>
      <a:minorFont>
        <a:latin typeface="CiscoSansTT Extra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tlCol="0" anchor="ctr"/>
      <a:lstStyle>
        <a:defPPr algn="ctr"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rtlCol="0">
        <a:spAutoFit/>
      </a:bodyPr>
      <a:lstStyle>
        <a:defPPr>
          <a:defRPr dirty="0" smtClean="0">
            <a:latin typeface="+mn-lt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Cisco Corporate Template Prototype_Aug_2017" id="{4E692306-BB5E-4389-8512-B70B45577D04}" vid="{BDAD62F5-9CDD-42BF-A677-E02F4F07310C}"/>
    </a:ext>
  </a:extLst>
</a:theme>
</file>

<file path=ppt/theme/theme8.xml><?xml version="1.0" encoding="utf-8"?>
<a:theme xmlns:a="http://schemas.openxmlformats.org/drawingml/2006/main" name="7_Cisco CX Template_16x9_March Apparent">
  <a:themeElements>
    <a:clrScheme name="CX Template Oct 2019">
      <a:dk1>
        <a:srgbClr val="2F446B"/>
      </a:dk1>
      <a:lt1>
        <a:srgbClr val="FFFFFF"/>
      </a:lt1>
      <a:dk2>
        <a:srgbClr val="14284A"/>
      </a:dk2>
      <a:lt2>
        <a:srgbClr val="FFFFFF"/>
      </a:lt2>
      <a:accent1>
        <a:srgbClr val="00BCEB"/>
      </a:accent1>
      <a:accent2>
        <a:srgbClr val="6EBE4A"/>
      </a:accent2>
      <a:accent3>
        <a:srgbClr val="2F446B"/>
      </a:accent3>
      <a:accent4>
        <a:srgbClr val="142849"/>
      </a:accent4>
      <a:accent5>
        <a:srgbClr val="FBAB18"/>
      </a:accent5>
      <a:accent6>
        <a:srgbClr val="EDF1F6"/>
      </a:accent6>
      <a:hlink>
        <a:srgbClr val="00BCEB"/>
      </a:hlink>
      <a:folHlink>
        <a:srgbClr val="2F446B"/>
      </a:folHlink>
    </a:clrScheme>
    <a:fontScheme name="CiscoSans ExtraLight">
      <a:majorFont>
        <a:latin typeface="CiscoSansTT ExtraLight"/>
        <a:ea typeface=""/>
        <a:cs typeface=""/>
      </a:majorFont>
      <a:minorFont>
        <a:latin typeface="CiscoSansTT Extra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spcAft>
            <a:spcPts val="600"/>
          </a:spcAft>
          <a:defRPr sz="11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 cap="rnd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 algn="l">
          <a:lnSpc>
            <a:spcPct val="110000"/>
          </a:lnSpc>
          <a:spcAft>
            <a:spcPts val="1200"/>
          </a:spcAft>
          <a:defRPr sz="1100" dirty="0" err="1" smtClean="0">
            <a:solidFill>
              <a:schemeClr val="bg2"/>
            </a:solidFill>
            <a:latin typeface="+mn-lt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Cisco_Customer_Experience_Template_June_2019 v.2" id="{67EEC87D-99A1-C94D-8139-7B5529EF37A3}" vid="{611C52A7-F72E-FD41-8BD4-79571D342F77}"/>
    </a:ext>
  </a:extLst>
</a:theme>
</file>

<file path=ppt/theme/theme9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073BDF098FFD134998E7A3857FF0295A" ma:contentTypeVersion="11" ma:contentTypeDescription="Create a new document." ma:contentTypeScope="" ma:versionID="eee34c2e4459e13d22fa3cab64c068ed">
  <xsd:schema xmlns:xsd="http://www.w3.org/2001/XMLSchema" xmlns:xs="http://www.w3.org/2001/XMLSchema" xmlns:p="http://schemas.microsoft.com/office/2006/metadata/properties" xmlns:ns2="f1fc8769-4631-4f2b-9c60-234d29d55643" xmlns:ns3="3a53e3e1-79fd-4920-b992-ef3537004c15" targetNamespace="http://schemas.microsoft.com/office/2006/metadata/properties" ma:root="true" ma:fieldsID="72b950e4eacf9197db704df756f5b6df" ns2:_="" ns3:_="">
    <xsd:import namespace="f1fc8769-4631-4f2b-9c60-234d29d55643"/>
    <xsd:import namespace="3a53e3e1-79fd-4920-b992-ef3537004c15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2:MediaServiceAutoKeyPoints" minOccurs="0"/>
                <xsd:element ref="ns2:MediaServiceKeyPoints" minOccurs="0"/>
                <xsd:element ref="ns2:MediaServiceAutoTags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MediaServiceDateTake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1fc8769-4631-4f2b-9c60-234d29d55643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2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3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AutoTags" ma:index="14" nillable="true" ma:displayName="Tags" ma:internalName="MediaServiceAutoTags" ma:readOnly="true">
      <xsd:simpleType>
        <xsd:restriction base="dms:Text"/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7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DateTaken" ma:index="18" nillable="true" ma:displayName="MediaServiceDateTaken" ma:hidden="true" ma:internalName="MediaServiceDateTake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a53e3e1-79fd-4920-b992-ef3537004c15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haredWithUsers xmlns="3a53e3e1-79fd-4920-b992-ef3537004c15">
      <UserInfo>
        <DisplayName>SharingLinks.33409e0b-03f3-43cf-8f4d-a9a012059f6f.OrganizationEdit.cf118c6e-56ac-4370-896a-3fba1d33e2d7</DisplayName>
        <AccountId>24</AccountId>
        <AccountType/>
      </UserInfo>
      <UserInfo>
        <DisplayName>Chris Rittler (crittler)</DisplayName>
        <AccountId>44</AccountId>
        <AccountType/>
      </UserInfo>
      <UserInfo>
        <DisplayName>Nicole Amsler (namsler)</DisplayName>
        <AccountId>75</AccountId>
        <AccountType/>
      </UserInfo>
    </SharedWithUsers>
  </documentManagement>
</p:properties>
</file>

<file path=customXml/itemProps1.xml><?xml version="1.0" encoding="utf-8"?>
<ds:datastoreItem xmlns:ds="http://schemas.openxmlformats.org/officeDocument/2006/customXml" ds:itemID="{D06AF53A-A670-4287-9260-26145AABE013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f1fc8769-4631-4f2b-9c60-234d29d55643"/>
    <ds:schemaRef ds:uri="3a53e3e1-79fd-4920-b992-ef3537004c15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25A1EF15-8AE2-49BD-BC05-C37F23D83130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571781DE-193F-4F5A-A802-0A76AA5E1395}">
  <ds:schemaRefs>
    <ds:schemaRef ds:uri="http://purl.org/dc/dcmitype/"/>
    <ds:schemaRef ds:uri="http://schemas.microsoft.com/office/2006/metadata/properties"/>
    <ds:schemaRef ds:uri="http://schemas.microsoft.com/office/2006/documentManagement/types"/>
    <ds:schemaRef ds:uri="http://purl.org/dc/elements/1.1/"/>
    <ds:schemaRef ds:uri="http://purl.org/dc/terms/"/>
    <ds:schemaRef ds:uri="http://schemas.microsoft.com/office/infopath/2007/PartnerControls"/>
    <ds:schemaRef ds:uri="http://schemas.openxmlformats.org/package/2006/metadata/core-properties"/>
    <ds:schemaRef ds:uri="3a53e3e1-79fd-4920-b992-ef3537004c15"/>
    <ds:schemaRef ds:uri="f1fc8769-4631-4f2b-9c60-234d29d55643"/>
    <ds:schemaRef ds:uri="http://www.w3.org/XML/1998/namespac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9</TotalTime>
  <Words>3353</Words>
  <Application>Microsoft Office PowerPoint</Application>
  <PresentationFormat>Widescreen</PresentationFormat>
  <Paragraphs>823</Paragraphs>
  <Slides>35</Slides>
  <Notes>35</Notes>
  <HiddenSlides>0</HiddenSlides>
  <MMClips>0</MMClips>
  <ScaleCrop>false</ScaleCrop>
  <HeadingPairs>
    <vt:vector size="8" baseType="variant">
      <vt:variant>
        <vt:lpstr>Fonts Used</vt:lpstr>
      </vt:variant>
      <vt:variant>
        <vt:i4>9</vt:i4>
      </vt:variant>
      <vt:variant>
        <vt:lpstr>Theme</vt:lpstr>
      </vt:variant>
      <vt:variant>
        <vt:i4>8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5</vt:i4>
      </vt:variant>
    </vt:vector>
  </HeadingPairs>
  <TitlesOfParts>
    <vt:vector size="53" baseType="lpstr">
      <vt:lpstr>Arial</vt:lpstr>
      <vt:lpstr>Arial,Sans-Serif</vt:lpstr>
      <vt:lpstr>Calibri</vt:lpstr>
      <vt:lpstr>CiscoSansTT</vt:lpstr>
      <vt:lpstr>CiscoSansTT ExtraLight</vt:lpstr>
      <vt:lpstr>CiscoSansTT Light</vt:lpstr>
      <vt:lpstr>Helvetica Neue</vt:lpstr>
      <vt:lpstr>Helvetica Neue Light</vt:lpstr>
      <vt:lpstr>Source Sans Pro</vt:lpstr>
      <vt:lpstr>Cisco CX Template_16x9_March Apparent</vt:lpstr>
      <vt:lpstr>1_Cisco CX Template_16x9_March Apparent</vt:lpstr>
      <vt:lpstr>7_Blue theme 2015 16x9</vt:lpstr>
      <vt:lpstr>2_Cisco CX Template_16x9_March Apparent</vt:lpstr>
      <vt:lpstr>9_Blue theme 2015 16x9</vt:lpstr>
      <vt:lpstr>3_Cisco CX Template_16x9_March Apparent</vt:lpstr>
      <vt:lpstr>Blue theme 2015 16x9</vt:lpstr>
      <vt:lpstr>7_Cisco CX Template_16x9_March Apparent</vt:lpstr>
      <vt:lpstr>think-cell Slide</vt:lpstr>
      <vt:lpstr>PowerPoint Presentation</vt:lpstr>
      <vt:lpstr>Your top IT challenges</vt:lpstr>
      <vt:lpstr>PowerPoint Presentation</vt:lpstr>
      <vt:lpstr>Proactive steps to success:  Four critical factors</vt:lpstr>
      <vt:lpstr>PowerPoint Presentation</vt:lpstr>
      <vt:lpstr>Introducing Business Critical Services Trusted experts powered by analytics, insights, and automation</vt:lpstr>
      <vt:lpstr>Address risk more efficiently With the Collaborative Intelligence of Business Critical Services</vt:lpstr>
      <vt:lpstr>Business Critical Services A model for business continuity in the new world reality</vt:lpstr>
      <vt:lpstr>PowerPoint Presentation</vt:lpstr>
      <vt:lpstr>Business Critical Services Architectures and technologies supported</vt:lpstr>
      <vt:lpstr>What’s in the tiers  CX BCS lifecycle pre-packaged portfolio</vt:lpstr>
      <vt:lpstr>Selecting the right coverage  Examples</vt:lpstr>
      <vt:lpstr>Add-Ons CX BCS Lifecycle  Add-Ons</vt:lpstr>
      <vt:lpstr>Resilient, adaptive, and transformative IT  A history of strong customer results</vt:lpstr>
      <vt:lpstr>PowerPoint Presentation</vt:lpstr>
      <vt:lpstr>PowerPoint Presentation</vt:lpstr>
      <vt:lpstr>Essentials: Deliverables Value for key IT roles</vt:lpstr>
      <vt:lpstr>PowerPoint Presentation</vt:lpstr>
      <vt:lpstr>Operational Insights Review Capturing Value</vt:lpstr>
      <vt:lpstr>Essentials use case Business Critical Services Stabilize and enhance performance</vt:lpstr>
      <vt:lpstr>PowerPoint Presentation</vt:lpstr>
      <vt:lpstr>Advantage and Premier Deliverables Value for key IT roles </vt:lpstr>
      <vt:lpstr>Frequency of engagements CX BCS lifecycle pre-packaged portfolio</vt:lpstr>
      <vt:lpstr>Business Critical Services Engagement   Customer-Directed Flexible Consumption</vt:lpstr>
      <vt:lpstr>Operational Insights Review Capturing Value</vt:lpstr>
      <vt:lpstr>Advantage use case Business Critical Services Transform to Cisco DNA, SD-WAN, SD-A  </vt:lpstr>
      <vt:lpstr>Premier use case Business Critical Services Transform to Cisco DNA, SD-WAN, SD-A  </vt:lpstr>
      <vt:lpstr>Specialized Expertise Example projects: acquisition and IT merger Urgent need to enable communications and business applications </vt:lpstr>
      <vt:lpstr>Specialized Expertise Example use case: Acquisition and IT merger Urgent need to enable communications and business applications </vt:lpstr>
      <vt:lpstr>Specialized Expertise Example use case: Data center expansion Urgent need to expand capacity and reduce costs </vt:lpstr>
      <vt:lpstr>Specialized Expertise Example use case: architectural transformation Urgent need to implement Intent-based Networking across the enterprise </vt:lpstr>
      <vt:lpstr>Expert-as-a-Service Example use case: Optimize collaboration Urgent need to address communications performance issues </vt:lpstr>
      <vt:lpstr>PowerPoint Presentation</vt:lpstr>
      <vt:lpstr>CX Portfolio Examples of how we work together to achieve more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How to use this presentation:  This deck is modular. Customize the slide set based on your specific customer’s needs.</dc:title>
  <dc:creator>Apparent Office10</dc:creator>
  <cp:lastModifiedBy>dylan larocque</cp:lastModifiedBy>
  <cp:revision>5</cp:revision>
  <cp:lastPrinted>2020-06-24T18:08:32Z</cp:lastPrinted>
  <dcterms:created xsi:type="dcterms:W3CDTF">2019-08-16T08:08:07Z</dcterms:created>
  <dcterms:modified xsi:type="dcterms:W3CDTF">2020-11-30T17:55:1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073BDF098FFD134998E7A3857FF0295A</vt:lpwstr>
  </property>
</Properties>
</file>